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1.xml" ContentType="application/vnd.openxmlformats-officedocument.drawingml.chartshape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5" r:id="rId2"/>
    <p:sldMasterId id="2147483708" r:id="rId3"/>
  </p:sldMasterIdLst>
  <p:notesMasterIdLst>
    <p:notesMasterId r:id="rId11"/>
  </p:notesMasterIdLst>
  <p:sldIdLst>
    <p:sldId id="282" r:id="rId4"/>
    <p:sldId id="281" r:id="rId5"/>
    <p:sldId id="278" r:id="rId6"/>
    <p:sldId id="263" r:id="rId7"/>
    <p:sldId id="266" r:id="rId8"/>
    <p:sldId id="280" r:id="rId9"/>
    <p:sldId id="267" r:id="rId10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027"/>
    <a:srgbClr val="FFB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8" d="100"/>
          <a:sy n="68" d="100"/>
        </p:scale>
        <p:origin x="80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5" d="100"/>
        <a:sy n="14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T729391\AppData\Local\Microsoft\Windows\INetCache\Content.Outlook\IE8DNKZP\Dados_Demanda_Regiao_Segmento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C:\Users\T729391\AppData\Local\Microsoft\Windows\INetCache\Content.Outlook\IE8DNKZP\Dados_Demanda_Regiao_Segmento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C:\Users\T729391\AppData\Local\Microsoft\Windows\INetCache\Content.Outlook\IE8DNKZP\Dados_Demanda_Regiao_Segmento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C:\Users\T729391\AppData\Local\Microsoft\Windows\INetCache\Content.Outlook\IE8DNKZP\Dados_Demanda_Regiao_Segmento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Pasta3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petrobras.biz\petrobras\G&amp;E\G&amp;E_PMO_AO\NP-2\PMO_AO\23.%20Banco%20de%20Apresenta&#231;&#245;es\20200311_CERAWEEK_Anelise\Gr&#225;ficos%20CERA%20WEEK.xlsx" TargetMode="Externa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1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Produção Própria'!$B$1</c:f>
              <c:strCache>
                <c:ptCount val="1"/>
                <c:pt idx="0">
                  <c:v>Onshore</c:v>
                </c:pt>
              </c:strCache>
            </c:strRef>
          </c:tx>
          <c:spPr>
            <a:solidFill>
              <a:srgbClr val="A8B400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'Produção Própria'!$A$2:$A$68</c:f>
              <c:numCache>
                <c:formatCode>General</c:formatCode>
                <c:ptCount val="67"/>
                <c:pt idx="0">
                  <c:v>1953</c:v>
                </c:pt>
                <c:pt idx="1">
                  <c:v>1954</c:v>
                </c:pt>
                <c:pt idx="2">
                  <c:v>1955</c:v>
                </c:pt>
                <c:pt idx="3">
                  <c:v>1956</c:v>
                </c:pt>
                <c:pt idx="4">
                  <c:v>1957</c:v>
                </c:pt>
                <c:pt idx="5">
                  <c:v>1958</c:v>
                </c:pt>
                <c:pt idx="6">
                  <c:v>1959</c:v>
                </c:pt>
                <c:pt idx="7">
                  <c:v>1960</c:v>
                </c:pt>
                <c:pt idx="8">
                  <c:v>1961</c:v>
                </c:pt>
                <c:pt idx="9">
                  <c:v>1962</c:v>
                </c:pt>
                <c:pt idx="10">
                  <c:v>1963</c:v>
                </c:pt>
                <c:pt idx="11">
                  <c:v>1964</c:v>
                </c:pt>
                <c:pt idx="12">
                  <c:v>1965</c:v>
                </c:pt>
                <c:pt idx="13">
                  <c:v>1966</c:v>
                </c:pt>
                <c:pt idx="14">
                  <c:v>1967</c:v>
                </c:pt>
                <c:pt idx="15">
                  <c:v>1968</c:v>
                </c:pt>
                <c:pt idx="16">
                  <c:v>1969</c:v>
                </c:pt>
                <c:pt idx="17">
                  <c:v>1970</c:v>
                </c:pt>
                <c:pt idx="18">
                  <c:v>1971</c:v>
                </c:pt>
                <c:pt idx="19">
                  <c:v>1972</c:v>
                </c:pt>
                <c:pt idx="20">
                  <c:v>1973</c:v>
                </c:pt>
                <c:pt idx="21">
                  <c:v>1974</c:v>
                </c:pt>
                <c:pt idx="22">
                  <c:v>1975</c:v>
                </c:pt>
                <c:pt idx="23">
                  <c:v>1976</c:v>
                </c:pt>
                <c:pt idx="24">
                  <c:v>1977</c:v>
                </c:pt>
                <c:pt idx="25">
                  <c:v>1978</c:v>
                </c:pt>
                <c:pt idx="26">
                  <c:v>1979</c:v>
                </c:pt>
                <c:pt idx="27">
                  <c:v>1980</c:v>
                </c:pt>
                <c:pt idx="28">
                  <c:v>1981</c:v>
                </c:pt>
                <c:pt idx="29">
                  <c:v>1982</c:v>
                </c:pt>
                <c:pt idx="30">
                  <c:v>1983</c:v>
                </c:pt>
                <c:pt idx="31">
                  <c:v>1984</c:v>
                </c:pt>
                <c:pt idx="32">
                  <c:v>1985</c:v>
                </c:pt>
                <c:pt idx="33">
                  <c:v>1986</c:v>
                </c:pt>
                <c:pt idx="34">
                  <c:v>1987</c:v>
                </c:pt>
                <c:pt idx="35">
                  <c:v>1988</c:v>
                </c:pt>
                <c:pt idx="36">
                  <c:v>1989</c:v>
                </c:pt>
                <c:pt idx="37">
                  <c:v>1990</c:v>
                </c:pt>
                <c:pt idx="38">
                  <c:v>1991</c:v>
                </c:pt>
                <c:pt idx="39">
                  <c:v>1992</c:v>
                </c:pt>
                <c:pt idx="40">
                  <c:v>1993</c:v>
                </c:pt>
                <c:pt idx="41">
                  <c:v>1994</c:v>
                </c:pt>
                <c:pt idx="42">
                  <c:v>1995</c:v>
                </c:pt>
                <c:pt idx="43">
                  <c:v>1996</c:v>
                </c:pt>
                <c:pt idx="44">
                  <c:v>1997</c:v>
                </c:pt>
                <c:pt idx="45">
                  <c:v>1998</c:v>
                </c:pt>
                <c:pt idx="46">
                  <c:v>1999</c:v>
                </c:pt>
                <c:pt idx="47">
                  <c:v>2000</c:v>
                </c:pt>
                <c:pt idx="48">
                  <c:v>2001</c:v>
                </c:pt>
                <c:pt idx="49">
                  <c:v>2002</c:v>
                </c:pt>
                <c:pt idx="50">
                  <c:v>2003</c:v>
                </c:pt>
                <c:pt idx="51">
                  <c:v>2004</c:v>
                </c:pt>
                <c:pt idx="52">
                  <c:v>2005</c:v>
                </c:pt>
                <c:pt idx="53">
                  <c:v>2006</c:v>
                </c:pt>
                <c:pt idx="54">
                  <c:v>2007</c:v>
                </c:pt>
                <c:pt idx="55">
                  <c:v>2008</c:v>
                </c:pt>
                <c:pt idx="56">
                  <c:v>2009</c:v>
                </c:pt>
                <c:pt idx="57">
                  <c:v>2010</c:v>
                </c:pt>
                <c:pt idx="58">
                  <c:v>2011</c:v>
                </c:pt>
                <c:pt idx="59">
                  <c:v>2012</c:v>
                </c:pt>
                <c:pt idx="60">
                  <c:v>2013</c:v>
                </c:pt>
                <c:pt idx="61">
                  <c:v>2014</c:v>
                </c:pt>
                <c:pt idx="62">
                  <c:v>2015</c:v>
                </c:pt>
                <c:pt idx="63">
                  <c:v>2016</c:v>
                </c:pt>
                <c:pt idx="64">
                  <c:v>2017</c:v>
                </c:pt>
                <c:pt idx="65">
                  <c:v>2018</c:v>
                </c:pt>
                <c:pt idx="66">
                  <c:v>2019</c:v>
                </c:pt>
              </c:numCache>
            </c:numRef>
          </c:cat>
          <c:val>
            <c:numRef>
              <c:f>'Produção Própria'!$B$2:$B$68</c:f>
              <c:numCache>
                <c:formatCode>#,##0</c:formatCode>
                <c:ptCount val="67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11</c:v>
                </c:pt>
                <c:pt idx="4">
                  <c:v>27</c:v>
                </c:pt>
                <c:pt idx="5">
                  <c:v>51</c:v>
                </c:pt>
                <c:pt idx="6">
                  <c:v>64</c:v>
                </c:pt>
                <c:pt idx="7">
                  <c:v>79</c:v>
                </c:pt>
                <c:pt idx="8">
                  <c:v>93</c:v>
                </c:pt>
                <c:pt idx="9">
                  <c:v>88</c:v>
                </c:pt>
                <c:pt idx="10">
                  <c:v>94</c:v>
                </c:pt>
                <c:pt idx="11">
                  <c:v>88</c:v>
                </c:pt>
                <c:pt idx="12">
                  <c:v>90</c:v>
                </c:pt>
                <c:pt idx="13">
                  <c:v>111</c:v>
                </c:pt>
                <c:pt idx="14">
                  <c:v>137</c:v>
                </c:pt>
                <c:pt idx="15">
                  <c:v>153</c:v>
                </c:pt>
                <c:pt idx="16">
                  <c:v>166</c:v>
                </c:pt>
                <c:pt idx="17">
                  <c:v>159</c:v>
                </c:pt>
                <c:pt idx="18">
                  <c:v>162</c:v>
                </c:pt>
                <c:pt idx="19">
                  <c:v>159</c:v>
                </c:pt>
                <c:pt idx="20">
                  <c:v>158</c:v>
                </c:pt>
                <c:pt idx="21">
                  <c:v>154</c:v>
                </c:pt>
                <c:pt idx="22">
                  <c:v>146</c:v>
                </c:pt>
                <c:pt idx="23">
                  <c:v>136</c:v>
                </c:pt>
                <c:pt idx="24">
                  <c:v>123</c:v>
                </c:pt>
                <c:pt idx="25">
                  <c:v>119</c:v>
                </c:pt>
                <c:pt idx="26">
                  <c:v>111</c:v>
                </c:pt>
                <c:pt idx="27">
                  <c:v>109</c:v>
                </c:pt>
                <c:pt idx="28">
                  <c:v>115</c:v>
                </c:pt>
                <c:pt idx="29">
                  <c:v>121</c:v>
                </c:pt>
                <c:pt idx="30">
                  <c:v>134</c:v>
                </c:pt>
                <c:pt idx="31">
                  <c:v>150</c:v>
                </c:pt>
                <c:pt idx="32">
                  <c:v>159</c:v>
                </c:pt>
                <c:pt idx="33">
                  <c:v>171</c:v>
                </c:pt>
                <c:pt idx="34">
                  <c:v>174</c:v>
                </c:pt>
                <c:pt idx="35">
                  <c:v>184</c:v>
                </c:pt>
                <c:pt idx="36">
                  <c:v>199</c:v>
                </c:pt>
                <c:pt idx="37">
                  <c:v>192</c:v>
                </c:pt>
                <c:pt idx="38">
                  <c:v>183</c:v>
                </c:pt>
                <c:pt idx="39">
                  <c:v>191</c:v>
                </c:pt>
                <c:pt idx="40">
                  <c:v>188</c:v>
                </c:pt>
                <c:pt idx="41">
                  <c:v>185</c:v>
                </c:pt>
                <c:pt idx="42">
                  <c:v>186</c:v>
                </c:pt>
                <c:pt idx="43">
                  <c:v>204</c:v>
                </c:pt>
                <c:pt idx="44">
                  <c:v>205</c:v>
                </c:pt>
                <c:pt idx="45">
                  <c:v>218</c:v>
                </c:pt>
                <c:pt idx="46">
                  <c:v>215</c:v>
                </c:pt>
                <c:pt idx="47">
                  <c:v>230</c:v>
                </c:pt>
                <c:pt idx="48">
                  <c:v>239</c:v>
                </c:pt>
                <c:pt idx="49">
                  <c:v>243</c:v>
                </c:pt>
                <c:pt idx="50">
                  <c:v>248</c:v>
                </c:pt>
                <c:pt idx="51">
                  <c:v>251</c:v>
                </c:pt>
                <c:pt idx="52">
                  <c:v>243</c:v>
                </c:pt>
                <c:pt idx="53">
                  <c:v>232</c:v>
                </c:pt>
                <c:pt idx="54">
                  <c:v>229</c:v>
                </c:pt>
                <c:pt idx="55">
                  <c:v>221</c:v>
                </c:pt>
                <c:pt idx="56">
                  <c:v>216</c:v>
                </c:pt>
                <c:pt idx="57">
                  <c:v>214</c:v>
                </c:pt>
                <c:pt idx="58">
                  <c:v>213</c:v>
                </c:pt>
                <c:pt idx="59">
                  <c:v>211</c:v>
                </c:pt>
                <c:pt idx="60">
                  <c:v>204</c:v>
                </c:pt>
                <c:pt idx="61">
                  <c:v>197</c:v>
                </c:pt>
                <c:pt idx="62">
                  <c:v>194</c:v>
                </c:pt>
                <c:pt idx="63">
                  <c:v>175.25911050597961</c:v>
                </c:pt>
                <c:pt idx="64">
                  <c:v>150.1</c:v>
                </c:pt>
                <c:pt idx="65">
                  <c:v>134.86294048253399</c:v>
                </c:pt>
                <c:pt idx="66">
                  <c:v>124.0821090954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9B-4750-93C9-179D99BAC3F0}"/>
            </c:ext>
          </c:extLst>
        </c:ser>
        <c:ser>
          <c:idx val="1"/>
          <c:order val="1"/>
          <c:tx>
            <c:strRef>
              <c:f>'Produção Própria'!$C$1</c:f>
              <c:strCache>
                <c:ptCount val="1"/>
                <c:pt idx="0">
                  <c:v>Shallow</c:v>
                </c:pt>
              </c:strCache>
            </c:strRef>
          </c:tx>
          <c:spPr>
            <a:solidFill>
              <a:srgbClr val="00B2A9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'Produção Própria'!$A$2:$A$68</c:f>
              <c:numCache>
                <c:formatCode>General</c:formatCode>
                <c:ptCount val="67"/>
                <c:pt idx="0">
                  <c:v>1953</c:v>
                </c:pt>
                <c:pt idx="1">
                  <c:v>1954</c:v>
                </c:pt>
                <c:pt idx="2">
                  <c:v>1955</c:v>
                </c:pt>
                <c:pt idx="3">
                  <c:v>1956</c:v>
                </c:pt>
                <c:pt idx="4">
                  <c:v>1957</c:v>
                </c:pt>
                <c:pt idx="5">
                  <c:v>1958</c:v>
                </c:pt>
                <c:pt idx="6">
                  <c:v>1959</c:v>
                </c:pt>
                <c:pt idx="7">
                  <c:v>1960</c:v>
                </c:pt>
                <c:pt idx="8">
                  <c:v>1961</c:v>
                </c:pt>
                <c:pt idx="9">
                  <c:v>1962</c:v>
                </c:pt>
                <c:pt idx="10">
                  <c:v>1963</c:v>
                </c:pt>
                <c:pt idx="11">
                  <c:v>1964</c:v>
                </c:pt>
                <c:pt idx="12">
                  <c:v>1965</c:v>
                </c:pt>
                <c:pt idx="13">
                  <c:v>1966</c:v>
                </c:pt>
                <c:pt idx="14">
                  <c:v>1967</c:v>
                </c:pt>
                <c:pt idx="15">
                  <c:v>1968</c:v>
                </c:pt>
                <c:pt idx="16">
                  <c:v>1969</c:v>
                </c:pt>
                <c:pt idx="17">
                  <c:v>1970</c:v>
                </c:pt>
                <c:pt idx="18">
                  <c:v>1971</c:v>
                </c:pt>
                <c:pt idx="19">
                  <c:v>1972</c:v>
                </c:pt>
                <c:pt idx="20">
                  <c:v>1973</c:v>
                </c:pt>
                <c:pt idx="21">
                  <c:v>1974</c:v>
                </c:pt>
                <c:pt idx="22">
                  <c:v>1975</c:v>
                </c:pt>
                <c:pt idx="23">
                  <c:v>1976</c:v>
                </c:pt>
                <c:pt idx="24">
                  <c:v>1977</c:v>
                </c:pt>
                <c:pt idx="25">
                  <c:v>1978</c:v>
                </c:pt>
                <c:pt idx="26">
                  <c:v>1979</c:v>
                </c:pt>
                <c:pt idx="27">
                  <c:v>1980</c:v>
                </c:pt>
                <c:pt idx="28">
                  <c:v>1981</c:v>
                </c:pt>
                <c:pt idx="29">
                  <c:v>1982</c:v>
                </c:pt>
                <c:pt idx="30">
                  <c:v>1983</c:v>
                </c:pt>
                <c:pt idx="31">
                  <c:v>1984</c:v>
                </c:pt>
                <c:pt idx="32">
                  <c:v>1985</c:v>
                </c:pt>
                <c:pt idx="33">
                  <c:v>1986</c:v>
                </c:pt>
                <c:pt idx="34">
                  <c:v>1987</c:v>
                </c:pt>
                <c:pt idx="35">
                  <c:v>1988</c:v>
                </c:pt>
                <c:pt idx="36">
                  <c:v>1989</c:v>
                </c:pt>
                <c:pt idx="37">
                  <c:v>1990</c:v>
                </c:pt>
                <c:pt idx="38">
                  <c:v>1991</c:v>
                </c:pt>
                <c:pt idx="39">
                  <c:v>1992</c:v>
                </c:pt>
                <c:pt idx="40">
                  <c:v>1993</c:v>
                </c:pt>
                <c:pt idx="41">
                  <c:v>1994</c:v>
                </c:pt>
                <c:pt idx="42">
                  <c:v>1995</c:v>
                </c:pt>
                <c:pt idx="43">
                  <c:v>1996</c:v>
                </c:pt>
                <c:pt idx="44">
                  <c:v>1997</c:v>
                </c:pt>
                <c:pt idx="45">
                  <c:v>1998</c:v>
                </c:pt>
                <c:pt idx="46">
                  <c:v>1999</c:v>
                </c:pt>
                <c:pt idx="47">
                  <c:v>2000</c:v>
                </c:pt>
                <c:pt idx="48">
                  <c:v>2001</c:v>
                </c:pt>
                <c:pt idx="49">
                  <c:v>2002</c:v>
                </c:pt>
                <c:pt idx="50">
                  <c:v>2003</c:v>
                </c:pt>
                <c:pt idx="51">
                  <c:v>2004</c:v>
                </c:pt>
                <c:pt idx="52">
                  <c:v>2005</c:v>
                </c:pt>
                <c:pt idx="53">
                  <c:v>2006</c:v>
                </c:pt>
                <c:pt idx="54">
                  <c:v>2007</c:v>
                </c:pt>
                <c:pt idx="55">
                  <c:v>2008</c:v>
                </c:pt>
                <c:pt idx="56">
                  <c:v>2009</c:v>
                </c:pt>
                <c:pt idx="57">
                  <c:v>2010</c:v>
                </c:pt>
                <c:pt idx="58">
                  <c:v>2011</c:v>
                </c:pt>
                <c:pt idx="59">
                  <c:v>2012</c:v>
                </c:pt>
                <c:pt idx="60">
                  <c:v>2013</c:v>
                </c:pt>
                <c:pt idx="61">
                  <c:v>2014</c:v>
                </c:pt>
                <c:pt idx="62">
                  <c:v>2015</c:v>
                </c:pt>
                <c:pt idx="63">
                  <c:v>2016</c:v>
                </c:pt>
                <c:pt idx="64">
                  <c:v>2017</c:v>
                </c:pt>
                <c:pt idx="65">
                  <c:v>2018</c:v>
                </c:pt>
                <c:pt idx="66">
                  <c:v>2019</c:v>
                </c:pt>
              </c:numCache>
            </c:numRef>
          </c:cat>
          <c:val>
            <c:numRef>
              <c:f>'Produção Própria'!$C$2:$C$68</c:f>
              <c:numCache>
                <c:formatCode>#,##0</c:formatCode>
                <c:ptCount val="6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4</c:v>
                </c:pt>
                <c:pt idx="11">
                  <c:v>3</c:v>
                </c:pt>
                <c:pt idx="12">
                  <c:v>3</c:v>
                </c:pt>
                <c:pt idx="13">
                  <c:v>6</c:v>
                </c:pt>
                <c:pt idx="14">
                  <c:v>9</c:v>
                </c:pt>
                <c:pt idx="15">
                  <c:v>8</c:v>
                </c:pt>
                <c:pt idx="16">
                  <c:v>6</c:v>
                </c:pt>
                <c:pt idx="17">
                  <c:v>6</c:v>
                </c:pt>
                <c:pt idx="18">
                  <c:v>8</c:v>
                </c:pt>
                <c:pt idx="19">
                  <c:v>8</c:v>
                </c:pt>
                <c:pt idx="20">
                  <c:v>12</c:v>
                </c:pt>
                <c:pt idx="21">
                  <c:v>23</c:v>
                </c:pt>
                <c:pt idx="22">
                  <c:v>26</c:v>
                </c:pt>
                <c:pt idx="23">
                  <c:v>30</c:v>
                </c:pt>
                <c:pt idx="24">
                  <c:v>36</c:v>
                </c:pt>
                <c:pt idx="25">
                  <c:v>41</c:v>
                </c:pt>
                <c:pt idx="26">
                  <c:v>55</c:v>
                </c:pt>
                <c:pt idx="27">
                  <c:v>72</c:v>
                </c:pt>
                <c:pt idx="28">
                  <c:v>98</c:v>
                </c:pt>
                <c:pt idx="29">
                  <c:v>139</c:v>
                </c:pt>
                <c:pt idx="30">
                  <c:v>195</c:v>
                </c:pt>
                <c:pt idx="31">
                  <c:v>316</c:v>
                </c:pt>
                <c:pt idx="32">
                  <c:v>395</c:v>
                </c:pt>
                <c:pt idx="33">
                  <c:v>413</c:v>
                </c:pt>
                <c:pt idx="34">
                  <c:v>398</c:v>
                </c:pt>
                <c:pt idx="35">
                  <c:v>360</c:v>
                </c:pt>
                <c:pt idx="36">
                  <c:v>383</c:v>
                </c:pt>
                <c:pt idx="37">
                  <c:v>415</c:v>
                </c:pt>
                <c:pt idx="38">
                  <c:v>408</c:v>
                </c:pt>
                <c:pt idx="39">
                  <c:v>380</c:v>
                </c:pt>
                <c:pt idx="40">
                  <c:v>359</c:v>
                </c:pt>
                <c:pt idx="41">
                  <c:v>330</c:v>
                </c:pt>
                <c:pt idx="42">
                  <c:v>322</c:v>
                </c:pt>
                <c:pt idx="43">
                  <c:v>359</c:v>
                </c:pt>
                <c:pt idx="44">
                  <c:v>331</c:v>
                </c:pt>
                <c:pt idx="45">
                  <c:v>322</c:v>
                </c:pt>
                <c:pt idx="46">
                  <c:v>315</c:v>
                </c:pt>
                <c:pt idx="47">
                  <c:v>273</c:v>
                </c:pt>
                <c:pt idx="48">
                  <c:v>243</c:v>
                </c:pt>
                <c:pt idx="49">
                  <c:v>244</c:v>
                </c:pt>
                <c:pt idx="50">
                  <c:v>253</c:v>
                </c:pt>
                <c:pt idx="51">
                  <c:v>254</c:v>
                </c:pt>
                <c:pt idx="52">
                  <c:v>253</c:v>
                </c:pt>
                <c:pt idx="53">
                  <c:v>242</c:v>
                </c:pt>
                <c:pt idx="54">
                  <c:v>220</c:v>
                </c:pt>
                <c:pt idx="55">
                  <c:v>201</c:v>
                </c:pt>
                <c:pt idx="56">
                  <c:v>184</c:v>
                </c:pt>
                <c:pt idx="57">
                  <c:v>189</c:v>
                </c:pt>
                <c:pt idx="58">
                  <c:v>174</c:v>
                </c:pt>
                <c:pt idx="59">
                  <c:v>164</c:v>
                </c:pt>
                <c:pt idx="60">
                  <c:v>175</c:v>
                </c:pt>
                <c:pt idx="61">
                  <c:v>186</c:v>
                </c:pt>
                <c:pt idx="62">
                  <c:v>170</c:v>
                </c:pt>
                <c:pt idx="63">
                  <c:v>139.19953907345649</c:v>
                </c:pt>
                <c:pt idx="64">
                  <c:v>117.86163248578886</c:v>
                </c:pt>
                <c:pt idx="65">
                  <c:v>89.904186671864096</c:v>
                </c:pt>
                <c:pt idx="66">
                  <c:v>66.4138288226366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9B-4750-93C9-179D99BAC3F0}"/>
            </c:ext>
          </c:extLst>
        </c:ser>
        <c:ser>
          <c:idx val="3"/>
          <c:order val="2"/>
          <c:tx>
            <c:strRef>
              <c:f>'Produção Própria'!$E$1</c:f>
              <c:strCache>
                <c:ptCount val="1"/>
                <c:pt idx="0">
                  <c:v>Deepwater</c:v>
                </c:pt>
              </c:strCache>
            </c:strRef>
          </c:tx>
          <c:spPr>
            <a:solidFill>
              <a:srgbClr val="006298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'Produção Própria'!$A$2:$A$68</c:f>
              <c:numCache>
                <c:formatCode>General</c:formatCode>
                <c:ptCount val="67"/>
                <c:pt idx="0">
                  <c:v>1953</c:v>
                </c:pt>
                <c:pt idx="1">
                  <c:v>1954</c:v>
                </c:pt>
                <c:pt idx="2">
                  <c:v>1955</c:v>
                </c:pt>
                <c:pt idx="3">
                  <c:v>1956</c:v>
                </c:pt>
                <c:pt idx="4">
                  <c:v>1957</c:v>
                </c:pt>
                <c:pt idx="5">
                  <c:v>1958</c:v>
                </c:pt>
                <c:pt idx="6">
                  <c:v>1959</c:v>
                </c:pt>
                <c:pt idx="7">
                  <c:v>1960</c:v>
                </c:pt>
                <c:pt idx="8">
                  <c:v>1961</c:v>
                </c:pt>
                <c:pt idx="9">
                  <c:v>1962</c:v>
                </c:pt>
                <c:pt idx="10">
                  <c:v>1963</c:v>
                </c:pt>
                <c:pt idx="11">
                  <c:v>1964</c:v>
                </c:pt>
                <c:pt idx="12">
                  <c:v>1965</c:v>
                </c:pt>
                <c:pt idx="13">
                  <c:v>1966</c:v>
                </c:pt>
                <c:pt idx="14">
                  <c:v>1967</c:v>
                </c:pt>
                <c:pt idx="15">
                  <c:v>1968</c:v>
                </c:pt>
                <c:pt idx="16">
                  <c:v>1969</c:v>
                </c:pt>
                <c:pt idx="17">
                  <c:v>1970</c:v>
                </c:pt>
                <c:pt idx="18">
                  <c:v>1971</c:v>
                </c:pt>
                <c:pt idx="19">
                  <c:v>1972</c:v>
                </c:pt>
                <c:pt idx="20">
                  <c:v>1973</c:v>
                </c:pt>
                <c:pt idx="21">
                  <c:v>1974</c:v>
                </c:pt>
                <c:pt idx="22">
                  <c:v>1975</c:v>
                </c:pt>
                <c:pt idx="23">
                  <c:v>1976</c:v>
                </c:pt>
                <c:pt idx="24">
                  <c:v>1977</c:v>
                </c:pt>
                <c:pt idx="25">
                  <c:v>1978</c:v>
                </c:pt>
                <c:pt idx="26">
                  <c:v>1979</c:v>
                </c:pt>
                <c:pt idx="27">
                  <c:v>1980</c:v>
                </c:pt>
                <c:pt idx="28">
                  <c:v>1981</c:v>
                </c:pt>
                <c:pt idx="29">
                  <c:v>1982</c:v>
                </c:pt>
                <c:pt idx="30">
                  <c:v>1983</c:v>
                </c:pt>
                <c:pt idx="31">
                  <c:v>1984</c:v>
                </c:pt>
                <c:pt idx="32">
                  <c:v>1985</c:v>
                </c:pt>
                <c:pt idx="33">
                  <c:v>1986</c:v>
                </c:pt>
                <c:pt idx="34">
                  <c:v>1987</c:v>
                </c:pt>
                <c:pt idx="35">
                  <c:v>1988</c:v>
                </c:pt>
                <c:pt idx="36">
                  <c:v>1989</c:v>
                </c:pt>
                <c:pt idx="37">
                  <c:v>1990</c:v>
                </c:pt>
                <c:pt idx="38">
                  <c:v>1991</c:v>
                </c:pt>
                <c:pt idx="39">
                  <c:v>1992</c:v>
                </c:pt>
                <c:pt idx="40">
                  <c:v>1993</c:v>
                </c:pt>
                <c:pt idx="41">
                  <c:v>1994</c:v>
                </c:pt>
                <c:pt idx="42">
                  <c:v>1995</c:v>
                </c:pt>
                <c:pt idx="43">
                  <c:v>1996</c:v>
                </c:pt>
                <c:pt idx="44">
                  <c:v>1997</c:v>
                </c:pt>
                <c:pt idx="45">
                  <c:v>1998</c:v>
                </c:pt>
                <c:pt idx="46">
                  <c:v>1999</c:v>
                </c:pt>
                <c:pt idx="47">
                  <c:v>2000</c:v>
                </c:pt>
                <c:pt idx="48">
                  <c:v>2001</c:v>
                </c:pt>
                <c:pt idx="49">
                  <c:v>2002</c:v>
                </c:pt>
                <c:pt idx="50">
                  <c:v>2003</c:v>
                </c:pt>
                <c:pt idx="51">
                  <c:v>2004</c:v>
                </c:pt>
                <c:pt idx="52">
                  <c:v>2005</c:v>
                </c:pt>
                <c:pt idx="53">
                  <c:v>2006</c:v>
                </c:pt>
                <c:pt idx="54">
                  <c:v>2007</c:v>
                </c:pt>
                <c:pt idx="55">
                  <c:v>2008</c:v>
                </c:pt>
                <c:pt idx="56">
                  <c:v>2009</c:v>
                </c:pt>
                <c:pt idx="57">
                  <c:v>2010</c:v>
                </c:pt>
                <c:pt idx="58">
                  <c:v>2011</c:v>
                </c:pt>
                <c:pt idx="59">
                  <c:v>2012</c:v>
                </c:pt>
                <c:pt idx="60">
                  <c:v>2013</c:v>
                </c:pt>
                <c:pt idx="61">
                  <c:v>2014</c:v>
                </c:pt>
                <c:pt idx="62">
                  <c:v>2015</c:v>
                </c:pt>
                <c:pt idx="63">
                  <c:v>2016</c:v>
                </c:pt>
                <c:pt idx="64">
                  <c:v>2017</c:v>
                </c:pt>
                <c:pt idx="65">
                  <c:v>2018</c:v>
                </c:pt>
                <c:pt idx="66">
                  <c:v>2019</c:v>
                </c:pt>
              </c:numCache>
            </c:numRef>
          </c:cat>
          <c:val>
            <c:numRef>
              <c:f>'Produção Própria'!$E$2:$E$68</c:f>
              <c:numCache>
                <c:formatCode>#,##0</c:formatCode>
                <c:ptCount val="6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5.5532616524879997E-4</c:v>
                </c:pt>
                <c:pt idx="30">
                  <c:v>3.6212865899523099E-2</c:v>
                </c:pt>
                <c:pt idx="31">
                  <c:v>1.26741666416275</c:v>
                </c:pt>
                <c:pt idx="32">
                  <c:v>5.6624146476048995</c:v>
                </c:pt>
                <c:pt idx="33">
                  <c:v>4.9148904728784499</c:v>
                </c:pt>
                <c:pt idx="34">
                  <c:v>16.833024402748201</c:v>
                </c:pt>
                <c:pt idx="35">
                  <c:v>33.323957750323601</c:v>
                </c:pt>
                <c:pt idx="36">
                  <c:v>35.015132787738303</c:v>
                </c:pt>
                <c:pt idx="37">
                  <c:v>46.3674728017848</c:v>
                </c:pt>
                <c:pt idx="38">
                  <c:v>56.259683544259403</c:v>
                </c:pt>
                <c:pt idx="39">
                  <c:v>82.147203513193503</c:v>
                </c:pt>
                <c:pt idx="40">
                  <c:v>121.48147596698999</c:v>
                </c:pt>
                <c:pt idx="41">
                  <c:v>177.51613422776259</c:v>
                </c:pt>
                <c:pt idx="42">
                  <c:v>208.15055921332083</c:v>
                </c:pt>
                <c:pt idx="43">
                  <c:v>246.62371123005329</c:v>
                </c:pt>
                <c:pt idx="44">
                  <c:v>331.99012012284754</c:v>
                </c:pt>
                <c:pt idx="45">
                  <c:v>463.2780812489334</c:v>
                </c:pt>
                <c:pt idx="46">
                  <c:v>585.33344786496878</c:v>
                </c:pt>
                <c:pt idx="47">
                  <c:v>726.19770562364431</c:v>
                </c:pt>
                <c:pt idx="48">
                  <c:v>826.70171350177782</c:v>
                </c:pt>
                <c:pt idx="49">
                  <c:v>1005.7002129563864</c:v>
                </c:pt>
                <c:pt idx="50">
                  <c:v>959.67017602331794</c:v>
                </c:pt>
                <c:pt idx="51">
                  <c:v>892.80087242126444</c:v>
                </c:pt>
                <c:pt idx="52">
                  <c:v>1098.2696052324764</c:v>
                </c:pt>
                <c:pt idx="53">
                  <c:v>1211.5721243265714</c:v>
                </c:pt>
                <c:pt idx="54">
                  <c:v>1253.3168025689451</c:v>
                </c:pt>
                <c:pt idx="55">
                  <c:v>1167.6243204487789</c:v>
                </c:pt>
                <c:pt idx="56">
                  <c:v>1182.8330633682112</c:v>
                </c:pt>
                <c:pt idx="57">
                  <c:v>1165.0546586889811</c:v>
                </c:pt>
                <c:pt idx="58">
                  <c:v>1179.4255074597995</c:v>
                </c:pt>
                <c:pt idx="59">
                  <c:v>1080.5756889006595</c:v>
                </c:pt>
                <c:pt idx="60">
                  <c:v>1028.6472696291451</c:v>
                </c:pt>
                <c:pt idx="61">
                  <c:v>869</c:v>
                </c:pt>
                <c:pt idx="62">
                  <c:v>836</c:v>
                </c:pt>
                <c:pt idx="63">
                  <c:v>735.21724556286199</c:v>
                </c:pt>
                <c:pt idx="64">
                  <c:v>650.54687269533804</c:v>
                </c:pt>
                <c:pt idx="65">
                  <c:v>585.25405761957506</c:v>
                </c:pt>
                <c:pt idx="66">
                  <c:v>535.33908831317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9B-4750-93C9-179D99BAC3F0}"/>
            </c:ext>
          </c:extLst>
        </c:ser>
        <c:ser>
          <c:idx val="4"/>
          <c:order val="3"/>
          <c:tx>
            <c:strRef>
              <c:f>'Produção Própria'!$F$1</c:f>
              <c:strCache>
                <c:ptCount val="1"/>
                <c:pt idx="0">
                  <c:v>Ultradeep</c:v>
                </c:pt>
              </c:strCache>
            </c:strRef>
          </c:tx>
          <c:spPr>
            <a:solidFill>
              <a:srgbClr val="004165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'Produção Própria'!$A$2:$A$68</c:f>
              <c:numCache>
                <c:formatCode>General</c:formatCode>
                <c:ptCount val="67"/>
                <c:pt idx="0">
                  <c:v>1953</c:v>
                </c:pt>
                <c:pt idx="1">
                  <c:v>1954</c:v>
                </c:pt>
                <c:pt idx="2">
                  <c:v>1955</c:v>
                </c:pt>
                <c:pt idx="3">
                  <c:v>1956</c:v>
                </c:pt>
                <c:pt idx="4">
                  <c:v>1957</c:v>
                </c:pt>
                <c:pt idx="5">
                  <c:v>1958</c:v>
                </c:pt>
                <c:pt idx="6">
                  <c:v>1959</c:v>
                </c:pt>
                <c:pt idx="7">
                  <c:v>1960</c:v>
                </c:pt>
                <c:pt idx="8">
                  <c:v>1961</c:v>
                </c:pt>
                <c:pt idx="9">
                  <c:v>1962</c:v>
                </c:pt>
                <c:pt idx="10">
                  <c:v>1963</c:v>
                </c:pt>
                <c:pt idx="11">
                  <c:v>1964</c:v>
                </c:pt>
                <c:pt idx="12">
                  <c:v>1965</c:v>
                </c:pt>
                <c:pt idx="13">
                  <c:v>1966</c:v>
                </c:pt>
                <c:pt idx="14">
                  <c:v>1967</c:v>
                </c:pt>
                <c:pt idx="15">
                  <c:v>1968</c:v>
                </c:pt>
                <c:pt idx="16">
                  <c:v>1969</c:v>
                </c:pt>
                <c:pt idx="17">
                  <c:v>1970</c:v>
                </c:pt>
                <c:pt idx="18">
                  <c:v>1971</c:v>
                </c:pt>
                <c:pt idx="19">
                  <c:v>1972</c:v>
                </c:pt>
                <c:pt idx="20">
                  <c:v>1973</c:v>
                </c:pt>
                <c:pt idx="21">
                  <c:v>1974</c:v>
                </c:pt>
                <c:pt idx="22">
                  <c:v>1975</c:v>
                </c:pt>
                <c:pt idx="23">
                  <c:v>1976</c:v>
                </c:pt>
                <c:pt idx="24">
                  <c:v>1977</c:v>
                </c:pt>
                <c:pt idx="25">
                  <c:v>1978</c:v>
                </c:pt>
                <c:pt idx="26">
                  <c:v>1979</c:v>
                </c:pt>
                <c:pt idx="27">
                  <c:v>1980</c:v>
                </c:pt>
                <c:pt idx="28">
                  <c:v>1981</c:v>
                </c:pt>
                <c:pt idx="29">
                  <c:v>1982</c:v>
                </c:pt>
                <c:pt idx="30">
                  <c:v>1983</c:v>
                </c:pt>
                <c:pt idx="31">
                  <c:v>1984</c:v>
                </c:pt>
                <c:pt idx="32">
                  <c:v>1985</c:v>
                </c:pt>
                <c:pt idx="33">
                  <c:v>1986</c:v>
                </c:pt>
                <c:pt idx="34">
                  <c:v>1987</c:v>
                </c:pt>
                <c:pt idx="35">
                  <c:v>1988</c:v>
                </c:pt>
                <c:pt idx="36">
                  <c:v>1989</c:v>
                </c:pt>
                <c:pt idx="37">
                  <c:v>1990</c:v>
                </c:pt>
                <c:pt idx="38">
                  <c:v>1991</c:v>
                </c:pt>
                <c:pt idx="39">
                  <c:v>1992</c:v>
                </c:pt>
                <c:pt idx="40">
                  <c:v>1993</c:v>
                </c:pt>
                <c:pt idx="41">
                  <c:v>1994</c:v>
                </c:pt>
                <c:pt idx="42">
                  <c:v>1995</c:v>
                </c:pt>
                <c:pt idx="43">
                  <c:v>1996</c:v>
                </c:pt>
                <c:pt idx="44">
                  <c:v>1997</c:v>
                </c:pt>
                <c:pt idx="45">
                  <c:v>1998</c:v>
                </c:pt>
                <c:pt idx="46">
                  <c:v>1999</c:v>
                </c:pt>
                <c:pt idx="47">
                  <c:v>2000</c:v>
                </c:pt>
                <c:pt idx="48">
                  <c:v>2001</c:v>
                </c:pt>
                <c:pt idx="49">
                  <c:v>2002</c:v>
                </c:pt>
                <c:pt idx="50">
                  <c:v>2003</c:v>
                </c:pt>
                <c:pt idx="51">
                  <c:v>2004</c:v>
                </c:pt>
                <c:pt idx="52">
                  <c:v>2005</c:v>
                </c:pt>
                <c:pt idx="53">
                  <c:v>2006</c:v>
                </c:pt>
                <c:pt idx="54">
                  <c:v>2007</c:v>
                </c:pt>
                <c:pt idx="55">
                  <c:v>2008</c:v>
                </c:pt>
                <c:pt idx="56">
                  <c:v>2009</c:v>
                </c:pt>
                <c:pt idx="57">
                  <c:v>2010</c:v>
                </c:pt>
                <c:pt idx="58">
                  <c:v>2011</c:v>
                </c:pt>
                <c:pt idx="59">
                  <c:v>2012</c:v>
                </c:pt>
                <c:pt idx="60">
                  <c:v>2013</c:v>
                </c:pt>
                <c:pt idx="61">
                  <c:v>2014</c:v>
                </c:pt>
                <c:pt idx="62">
                  <c:v>2015</c:v>
                </c:pt>
                <c:pt idx="63">
                  <c:v>2016</c:v>
                </c:pt>
                <c:pt idx="64">
                  <c:v>2017</c:v>
                </c:pt>
                <c:pt idx="65">
                  <c:v>2018</c:v>
                </c:pt>
                <c:pt idx="66">
                  <c:v>2019</c:v>
                </c:pt>
              </c:numCache>
            </c:numRef>
          </c:cat>
          <c:val>
            <c:numRef>
              <c:f>'Produção Própria'!$F$2:$F$68</c:f>
              <c:numCache>
                <c:formatCode>#,##0</c:formatCode>
                <c:ptCount val="6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 formatCode="#,##0.0">
                  <c:v>0</c:v>
                </c:pt>
                <c:pt idx="22" formatCode="#,##0.0">
                  <c:v>0</c:v>
                </c:pt>
                <c:pt idx="23" formatCode="#,##0.0">
                  <c:v>0</c:v>
                </c:pt>
                <c:pt idx="24" formatCode="#,##0.0">
                  <c:v>0</c:v>
                </c:pt>
                <c:pt idx="25" formatCode="#,##0.0">
                  <c:v>0</c:v>
                </c:pt>
                <c:pt idx="26" formatCode="#,##0.0">
                  <c:v>0</c:v>
                </c:pt>
                <c:pt idx="27" formatCode="#,##0.0">
                  <c:v>0</c:v>
                </c:pt>
                <c:pt idx="28" formatCode="#,##0.0">
                  <c:v>0</c:v>
                </c:pt>
                <c:pt idx="29" formatCode="#,##0.0">
                  <c:v>0</c:v>
                </c:pt>
                <c:pt idx="30" formatCode="#,##0.0">
                  <c:v>0</c:v>
                </c:pt>
                <c:pt idx="31" formatCode="#,##0.0">
                  <c:v>0</c:v>
                </c:pt>
                <c:pt idx="32" formatCode="#,##0.0">
                  <c:v>0</c:v>
                </c:pt>
                <c:pt idx="33" formatCode="#,##0.0">
                  <c:v>0</c:v>
                </c:pt>
                <c:pt idx="34" formatCode="#,##0.0">
                  <c:v>0</c:v>
                </c:pt>
                <c:pt idx="35" formatCode="#,##0.0">
                  <c:v>0</c:v>
                </c:pt>
                <c:pt idx="36" formatCode="#,##0.0">
                  <c:v>0</c:v>
                </c:pt>
                <c:pt idx="37" formatCode="#,##0.0">
                  <c:v>0</c:v>
                </c:pt>
                <c:pt idx="38" formatCode="#,##0.0">
                  <c:v>0</c:v>
                </c:pt>
                <c:pt idx="39" formatCode="#,##0.0">
                  <c:v>0</c:v>
                </c:pt>
                <c:pt idx="40" formatCode="#,##0.0">
                  <c:v>0</c:v>
                </c:pt>
                <c:pt idx="41" formatCode="#,##0.0">
                  <c:v>0.31603701700498732</c:v>
                </c:pt>
                <c:pt idx="42" formatCode="#,##0.0">
                  <c:v>9.9632626509560396E-3</c:v>
                </c:pt>
                <c:pt idx="43" formatCode="#,##0.0">
                  <c:v>0</c:v>
                </c:pt>
                <c:pt idx="44">
                  <c:v>1.6255824469329809</c:v>
                </c:pt>
                <c:pt idx="45">
                  <c:v>1.0022755127656637</c:v>
                </c:pt>
                <c:pt idx="46">
                  <c:v>16.504492317605809</c:v>
                </c:pt>
                <c:pt idx="47">
                  <c:v>41.35976699832338</c:v>
                </c:pt>
                <c:pt idx="48">
                  <c:v>26.678023340059212</c:v>
                </c:pt>
                <c:pt idx="49">
                  <c:v>7.3554764421078289</c:v>
                </c:pt>
                <c:pt idx="50">
                  <c:v>79.452006712765296</c:v>
                </c:pt>
                <c:pt idx="51">
                  <c:v>94.828948701877721</c:v>
                </c:pt>
                <c:pt idx="52">
                  <c:v>89.784914271277103</c:v>
                </c:pt>
                <c:pt idx="53">
                  <c:v>92.053822371373144</c:v>
                </c:pt>
                <c:pt idx="54">
                  <c:v>89.764565336396572</c:v>
                </c:pt>
                <c:pt idx="55">
                  <c:v>261.95108642265677</c:v>
                </c:pt>
                <c:pt idx="56">
                  <c:v>375.22959407698204</c:v>
                </c:pt>
                <c:pt idx="57">
                  <c:v>401.21893461453396</c:v>
                </c:pt>
                <c:pt idx="58">
                  <c:v>355.00927252467864</c:v>
                </c:pt>
                <c:pt idx="59">
                  <c:v>386.09682431805095</c:v>
                </c:pt>
                <c:pt idx="60">
                  <c:v>275.57343119111715</c:v>
                </c:pt>
                <c:pt idx="61">
                  <c:v>401.70212396030979</c:v>
                </c:pt>
                <c:pt idx="62">
                  <c:v>376.28269324486109</c:v>
                </c:pt>
                <c:pt idx="63">
                  <c:v>385.53745439769011</c:v>
                </c:pt>
                <c:pt idx="64">
                  <c:v>326.88868279901067</c:v>
                </c:pt>
                <c:pt idx="65">
                  <c:v>230.27883650310525</c:v>
                </c:pt>
                <c:pt idx="66">
                  <c:v>168.60608793999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C9B-4750-93C9-179D99BAC3F0}"/>
            </c:ext>
          </c:extLst>
        </c:ser>
        <c:ser>
          <c:idx val="5"/>
          <c:order val="4"/>
          <c:tx>
            <c:strRef>
              <c:f>'Produção Própria'!$G$1</c:f>
              <c:strCache>
                <c:ptCount val="1"/>
                <c:pt idx="0">
                  <c:v>Presalt</c:v>
                </c:pt>
              </c:strCache>
            </c:strRef>
          </c:tx>
          <c:spPr>
            <a:solidFill>
              <a:srgbClr val="FF7000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'Produção Própria'!$A$2:$A$68</c:f>
              <c:numCache>
                <c:formatCode>General</c:formatCode>
                <c:ptCount val="67"/>
                <c:pt idx="0">
                  <c:v>1953</c:v>
                </c:pt>
                <c:pt idx="1">
                  <c:v>1954</c:v>
                </c:pt>
                <c:pt idx="2">
                  <c:v>1955</c:v>
                </c:pt>
                <c:pt idx="3">
                  <c:v>1956</c:v>
                </c:pt>
                <c:pt idx="4">
                  <c:v>1957</c:v>
                </c:pt>
                <c:pt idx="5">
                  <c:v>1958</c:v>
                </c:pt>
                <c:pt idx="6">
                  <c:v>1959</c:v>
                </c:pt>
                <c:pt idx="7">
                  <c:v>1960</c:v>
                </c:pt>
                <c:pt idx="8">
                  <c:v>1961</c:v>
                </c:pt>
                <c:pt idx="9">
                  <c:v>1962</c:v>
                </c:pt>
                <c:pt idx="10">
                  <c:v>1963</c:v>
                </c:pt>
                <c:pt idx="11">
                  <c:v>1964</c:v>
                </c:pt>
                <c:pt idx="12">
                  <c:v>1965</c:v>
                </c:pt>
                <c:pt idx="13">
                  <c:v>1966</c:v>
                </c:pt>
                <c:pt idx="14">
                  <c:v>1967</c:v>
                </c:pt>
                <c:pt idx="15">
                  <c:v>1968</c:v>
                </c:pt>
                <c:pt idx="16">
                  <c:v>1969</c:v>
                </c:pt>
                <c:pt idx="17">
                  <c:v>1970</c:v>
                </c:pt>
                <c:pt idx="18">
                  <c:v>1971</c:v>
                </c:pt>
                <c:pt idx="19">
                  <c:v>1972</c:v>
                </c:pt>
                <c:pt idx="20">
                  <c:v>1973</c:v>
                </c:pt>
                <c:pt idx="21">
                  <c:v>1974</c:v>
                </c:pt>
                <c:pt idx="22">
                  <c:v>1975</c:v>
                </c:pt>
                <c:pt idx="23">
                  <c:v>1976</c:v>
                </c:pt>
                <c:pt idx="24">
                  <c:v>1977</c:v>
                </c:pt>
                <c:pt idx="25">
                  <c:v>1978</c:v>
                </c:pt>
                <c:pt idx="26">
                  <c:v>1979</c:v>
                </c:pt>
                <c:pt idx="27">
                  <c:v>1980</c:v>
                </c:pt>
                <c:pt idx="28">
                  <c:v>1981</c:v>
                </c:pt>
                <c:pt idx="29">
                  <c:v>1982</c:v>
                </c:pt>
                <c:pt idx="30">
                  <c:v>1983</c:v>
                </c:pt>
                <c:pt idx="31">
                  <c:v>1984</c:v>
                </c:pt>
                <c:pt idx="32">
                  <c:v>1985</c:v>
                </c:pt>
                <c:pt idx="33">
                  <c:v>1986</c:v>
                </c:pt>
                <c:pt idx="34">
                  <c:v>1987</c:v>
                </c:pt>
                <c:pt idx="35">
                  <c:v>1988</c:v>
                </c:pt>
                <c:pt idx="36">
                  <c:v>1989</c:v>
                </c:pt>
                <c:pt idx="37">
                  <c:v>1990</c:v>
                </c:pt>
                <c:pt idx="38">
                  <c:v>1991</c:v>
                </c:pt>
                <c:pt idx="39">
                  <c:v>1992</c:v>
                </c:pt>
                <c:pt idx="40">
                  <c:v>1993</c:v>
                </c:pt>
                <c:pt idx="41">
                  <c:v>1994</c:v>
                </c:pt>
                <c:pt idx="42">
                  <c:v>1995</c:v>
                </c:pt>
                <c:pt idx="43">
                  <c:v>1996</c:v>
                </c:pt>
                <c:pt idx="44">
                  <c:v>1997</c:v>
                </c:pt>
                <c:pt idx="45">
                  <c:v>1998</c:v>
                </c:pt>
                <c:pt idx="46">
                  <c:v>1999</c:v>
                </c:pt>
                <c:pt idx="47">
                  <c:v>2000</c:v>
                </c:pt>
                <c:pt idx="48">
                  <c:v>2001</c:v>
                </c:pt>
                <c:pt idx="49">
                  <c:v>2002</c:v>
                </c:pt>
                <c:pt idx="50">
                  <c:v>2003</c:v>
                </c:pt>
                <c:pt idx="51">
                  <c:v>2004</c:v>
                </c:pt>
                <c:pt idx="52">
                  <c:v>2005</c:v>
                </c:pt>
                <c:pt idx="53">
                  <c:v>2006</c:v>
                </c:pt>
                <c:pt idx="54">
                  <c:v>2007</c:v>
                </c:pt>
                <c:pt idx="55">
                  <c:v>2008</c:v>
                </c:pt>
                <c:pt idx="56">
                  <c:v>2009</c:v>
                </c:pt>
                <c:pt idx="57">
                  <c:v>2010</c:v>
                </c:pt>
                <c:pt idx="58">
                  <c:v>2011</c:v>
                </c:pt>
                <c:pt idx="59">
                  <c:v>2012</c:v>
                </c:pt>
                <c:pt idx="60">
                  <c:v>2013</c:v>
                </c:pt>
                <c:pt idx="61">
                  <c:v>2014</c:v>
                </c:pt>
                <c:pt idx="62">
                  <c:v>2015</c:v>
                </c:pt>
                <c:pt idx="63">
                  <c:v>2016</c:v>
                </c:pt>
                <c:pt idx="64">
                  <c:v>2017</c:v>
                </c:pt>
                <c:pt idx="65">
                  <c:v>2018</c:v>
                </c:pt>
                <c:pt idx="66">
                  <c:v>2019</c:v>
                </c:pt>
              </c:numCache>
            </c:numRef>
          </c:cat>
          <c:val>
            <c:numRef>
              <c:f>'Produção Própria'!$G$2:$G$68</c:f>
              <c:numCache>
                <c:formatCode>#,##0</c:formatCode>
                <c:ptCount val="6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3.0794187162419999</c:v>
                </c:pt>
                <c:pt idx="56">
                  <c:v>12.748141983984</c:v>
                </c:pt>
                <c:pt idx="57">
                  <c:v>34.898858248385991</c:v>
                </c:pt>
                <c:pt idx="58">
                  <c:v>100.344349962384</c:v>
                </c:pt>
                <c:pt idx="59">
                  <c:v>138.413388237828</c:v>
                </c:pt>
                <c:pt idx="60">
                  <c:v>248.17925540839198</c:v>
                </c:pt>
                <c:pt idx="61">
                  <c:v>380.67402644403001</c:v>
                </c:pt>
                <c:pt idx="62">
                  <c:v>551.97990579302996</c:v>
                </c:pt>
                <c:pt idx="63">
                  <c:v>709.04412612257397</c:v>
                </c:pt>
                <c:pt idx="64">
                  <c:v>908.38281201986251</c:v>
                </c:pt>
                <c:pt idx="65">
                  <c:v>994.48222347483966</c:v>
                </c:pt>
                <c:pt idx="66">
                  <c:v>1277.40610693598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C9B-4750-93C9-179D99BAC3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761214864"/>
        <c:axId val="761217104"/>
      </c:barChart>
      <c:lineChart>
        <c:grouping val="stacked"/>
        <c:varyColors val="0"/>
        <c:ser>
          <c:idx val="2"/>
          <c:order val="5"/>
          <c:tx>
            <c:v>Gas Market</c:v>
          </c:tx>
          <c:spPr>
            <a:ln w="571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'Produção Própria'!$K$2:$K$68</c:f>
              <c:numCache>
                <c:formatCode>General</c:formatCode>
                <c:ptCount val="67"/>
                <c:pt idx="29">
                  <c:v>2.2000000000000002</c:v>
                </c:pt>
                <c:pt idx="30">
                  <c:v>2.85</c:v>
                </c:pt>
                <c:pt idx="31">
                  <c:v>2.8220000000000001</c:v>
                </c:pt>
                <c:pt idx="32">
                  <c:v>2.7349999999999999</c:v>
                </c:pt>
                <c:pt idx="33">
                  <c:v>2.7839999999999998</c:v>
                </c:pt>
                <c:pt idx="34">
                  <c:v>3.206</c:v>
                </c:pt>
                <c:pt idx="35">
                  <c:v>3.2480000000000002</c:v>
                </c:pt>
                <c:pt idx="36">
                  <c:v>3.7410000000000001</c:v>
                </c:pt>
                <c:pt idx="37">
                  <c:v>3.359</c:v>
                </c:pt>
                <c:pt idx="38">
                  <c:v>3.172147945205479</c:v>
                </c:pt>
                <c:pt idx="39">
                  <c:v>3.3158005464480875</c:v>
                </c:pt>
                <c:pt idx="40">
                  <c:v>3.4943808219178081</c:v>
                </c:pt>
                <c:pt idx="41">
                  <c:v>3.3477616438356161</c:v>
                </c:pt>
                <c:pt idx="42">
                  <c:v>3.7618219178082191</c:v>
                </c:pt>
                <c:pt idx="43">
                  <c:v>12.872308743169398</c:v>
                </c:pt>
                <c:pt idx="44">
                  <c:v>14.098112328767126</c:v>
                </c:pt>
                <c:pt idx="45">
                  <c:v>14.88035616438356</c:v>
                </c:pt>
                <c:pt idx="46">
                  <c:v>16.720024657534243</c:v>
                </c:pt>
                <c:pt idx="47">
                  <c:v>16.160261956174864</c:v>
                </c:pt>
                <c:pt idx="48">
                  <c:v>16.404807170101368</c:v>
                </c:pt>
                <c:pt idx="49">
                  <c:v>20.250871627520549</c:v>
                </c:pt>
                <c:pt idx="50">
                  <c:v>21.887574933857532</c:v>
                </c:pt>
                <c:pt idx="51">
                  <c:v>24.335789081685796</c:v>
                </c:pt>
                <c:pt idx="52">
                  <c:v>24.545778917501373</c:v>
                </c:pt>
                <c:pt idx="53">
                  <c:v>24.795534325999999</c:v>
                </c:pt>
                <c:pt idx="54">
                  <c:v>24.681332543564388</c:v>
                </c:pt>
                <c:pt idx="55">
                  <c:v>32.220854313609287</c:v>
                </c:pt>
                <c:pt idx="56">
                  <c:v>25.804310059424658</c:v>
                </c:pt>
                <c:pt idx="57">
                  <c:v>32.129110733969867</c:v>
                </c:pt>
                <c:pt idx="58">
                  <c:v>37.022888992520549</c:v>
                </c:pt>
                <c:pt idx="59">
                  <c:v>43.078697328000004</c:v>
                </c:pt>
                <c:pt idx="60">
                  <c:v>44.457802825000002</c:v>
                </c:pt>
                <c:pt idx="61">
                  <c:v>46.51656743569589</c:v>
                </c:pt>
                <c:pt idx="62">
                  <c:v>48.743202031969865</c:v>
                </c:pt>
                <c:pt idx="63">
                  <c:v>48.245545210825135</c:v>
                </c:pt>
                <c:pt idx="64">
                  <c:v>58.354417221863017</c:v>
                </c:pt>
                <c:pt idx="65">
                  <c:v>53.49516980267947</c:v>
                </c:pt>
                <c:pt idx="66">
                  <c:v>55.0819714739287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C9B-4750-93C9-179D99BAC3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5421424"/>
        <c:axId val="761733520"/>
      </c:lineChart>
      <c:catAx>
        <c:axId val="76121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BR" sz="1200" b="0" i="0" u="none" strike="noStrike" kern="120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61217104"/>
        <c:crosses val="autoZero"/>
        <c:auto val="1"/>
        <c:lblAlgn val="ctr"/>
        <c:lblOffset val="100"/>
        <c:tickLblSkip val="3"/>
        <c:noMultiLvlLbl val="0"/>
      </c:catAx>
      <c:valAx>
        <c:axId val="761217104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pt-BR" sz="1600" b="0" i="0" u="none" strike="noStrike" kern="1200" baseline="0" noProof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 sz="1600" dirty="0" err="1">
                    <a:solidFill>
                      <a:schemeClr val="accent1">
                        <a:lumMod val="50000"/>
                      </a:schemeClr>
                    </a:solidFill>
                  </a:rPr>
                  <a:t>Oil</a:t>
                </a:r>
                <a:r>
                  <a:rPr lang="pt-BR" sz="1600" dirty="0">
                    <a:solidFill>
                      <a:schemeClr val="accent1">
                        <a:lumMod val="50000"/>
                      </a:schemeClr>
                    </a:solidFill>
                  </a:rPr>
                  <a:t> </a:t>
                </a:r>
                <a:r>
                  <a:rPr lang="pt-BR" sz="1600" dirty="0" err="1">
                    <a:solidFill>
                      <a:schemeClr val="accent1">
                        <a:lumMod val="50000"/>
                      </a:schemeClr>
                    </a:solidFill>
                  </a:rPr>
                  <a:t>Production</a:t>
                </a:r>
                <a:r>
                  <a:rPr lang="pt-BR" sz="1600" dirty="0">
                    <a:solidFill>
                      <a:schemeClr val="accent1">
                        <a:lumMod val="50000"/>
                      </a:schemeClr>
                    </a:solidFill>
                  </a:rPr>
                  <a:t>, MM </a:t>
                </a:r>
                <a:r>
                  <a:rPr lang="pt-BR" sz="1600" dirty="0" err="1">
                    <a:solidFill>
                      <a:schemeClr val="accent1">
                        <a:lumMod val="50000"/>
                      </a:schemeClr>
                    </a:solidFill>
                  </a:rPr>
                  <a:t>bbl</a:t>
                </a:r>
                <a:r>
                  <a:rPr lang="pt-BR" sz="1600" dirty="0">
                    <a:solidFill>
                      <a:schemeClr val="accent1">
                        <a:lumMod val="50000"/>
                      </a:schemeClr>
                    </a:solidFill>
                  </a:rPr>
                  <a:t>/</a:t>
                </a:r>
                <a:r>
                  <a:rPr lang="pt-BR" sz="1600" dirty="0" err="1">
                    <a:solidFill>
                      <a:schemeClr val="accent1">
                        <a:lumMod val="50000"/>
                      </a:schemeClr>
                    </a:solidFill>
                  </a:rPr>
                  <a:t>day</a:t>
                </a:r>
                <a:endParaRPr lang="pt-BR" sz="1600" dirty="0">
                  <a:solidFill>
                    <a:schemeClr val="accent1">
                      <a:lumMod val="50000"/>
                    </a:schemeClr>
                  </a:solidFill>
                </a:endParaRPr>
              </a:p>
            </c:rich>
          </c:tx>
          <c:layout>
            <c:manualLayout>
              <c:xMode val="edge"/>
              <c:yMode val="edge"/>
              <c:x val="8.8808332039668654E-3"/>
              <c:y val="0.1344722136129342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pt-BR" sz="1600" b="0" i="0" u="none" strike="noStrike" kern="1200" baseline="0" noProof="0">
                  <a:solidFill>
                    <a:schemeClr val="accent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BR" sz="1600" b="0" i="0" u="none" strike="noStrike" kern="120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61214864"/>
        <c:crosses val="autoZero"/>
        <c:crossBetween val="between"/>
        <c:dispUnits>
          <c:builtInUnit val="thousands"/>
        </c:dispUnits>
      </c:valAx>
      <c:valAx>
        <c:axId val="76173352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pt-BR" sz="1600" b="0" i="0" u="none" strike="noStrike" kern="1200" baseline="0" noProof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 sz="1600" dirty="0">
                    <a:solidFill>
                      <a:schemeClr val="accent1">
                        <a:lumMod val="50000"/>
                      </a:schemeClr>
                    </a:solidFill>
                  </a:rPr>
                  <a:t>Natural Gas to </a:t>
                </a:r>
                <a:r>
                  <a:rPr lang="pt-BR" sz="1600" dirty="0" err="1">
                    <a:solidFill>
                      <a:schemeClr val="accent1">
                        <a:lumMod val="50000"/>
                      </a:schemeClr>
                    </a:solidFill>
                  </a:rPr>
                  <a:t>the</a:t>
                </a:r>
                <a:r>
                  <a:rPr lang="pt-BR" sz="1600" dirty="0">
                    <a:solidFill>
                      <a:schemeClr val="accent1">
                        <a:lumMod val="50000"/>
                      </a:schemeClr>
                    </a:solidFill>
                  </a:rPr>
                  <a:t> Market, MM m</a:t>
                </a:r>
                <a:r>
                  <a:rPr lang="pt-BR" sz="1600" baseline="30000" dirty="0">
                    <a:solidFill>
                      <a:schemeClr val="accent1">
                        <a:lumMod val="50000"/>
                      </a:schemeClr>
                    </a:solidFill>
                  </a:rPr>
                  <a:t>3</a:t>
                </a:r>
                <a:r>
                  <a:rPr lang="pt-BR" sz="1600" dirty="0">
                    <a:solidFill>
                      <a:schemeClr val="accent1">
                        <a:lumMod val="50000"/>
                      </a:schemeClr>
                    </a:solidFill>
                  </a:rPr>
                  <a:t>/da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pt-BR" sz="1600" b="0" i="0" u="none" strike="noStrike" kern="1200" baseline="0" noProof="0">
                  <a:solidFill>
                    <a:schemeClr val="accent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BR" sz="1600" b="0" i="0" u="none" strike="noStrike" kern="120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65421424"/>
        <c:crosses val="max"/>
        <c:crossBetween val="between"/>
      </c:valAx>
      <c:catAx>
        <c:axId val="565421424"/>
        <c:scaling>
          <c:orientation val="minMax"/>
        </c:scaling>
        <c:delete val="1"/>
        <c:axPos val="b"/>
        <c:majorTickMark val="out"/>
        <c:minorTickMark val="none"/>
        <c:tickLblPos val="nextTo"/>
        <c:crossAx val="7617335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BR" sz="1200" noProof="0"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chemeClr val="accent2"/>
            </a:solidFill>
            <a:ln w="9525"/>
          </c:spPr>
          <c:dPt>
            <c:idx val="0"/>
            <c:bubble3D val="0"/>
            <c:spPr>
              <a:solidFill>
                <a:schemeClr val="accent2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6F1-42D9-835F-1E9EAAE19DE4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6F1-42D9-835F-1E9EAAE19DE4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6F1-42D9-835F-1E9EAAE19DE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ilha1!$D$18:$D$20</c:f>
              <c:strCache>
                <c:ptCount val="3"/>
                <c:pt idx="0">
                  <c:v>Thermal</c:v>
                </c:pt>
                <c:pt idx="1">
                  <c:v>Non-Thermal</c:v>
                </c:pt>
                <c:pt idx="2">
                  <c:v>Internal (Petrobras)</c:v>
                </c:pt>
              </c:strCache>
            </c:strRef>
          </c:cat>
          <c:val>
            <c:numRef>
              <c:f>Planilha1!$E$18:$E$20</c:f>
              <c:numCache>
                <c:formatCode>0%</c:formatCode>
                <c:ptCount val="3"/>
                <c:pt idx="0">
                  <c:v>0.46722950550129549</c:v>
                </c:pt>
                <c:pt idx="1">
                  <c:v>0.36345892422769199</c:v>
                </c:pt>
                <c:pt idx="2">
                  <c:v>0.16931157027101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6F1-42D9-835F-1E9EAAE19D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pt-B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chemeClr val="accent2"/>
            </a:solidFill>
            <a:ln w="9525"/>
          </c:spPr>
          <c:dPt>
            <c:idx val="0"/>
            <c:bubble3D val="0"/>
            <c:spPr>
              <a:solidFill>
                <a:schemeClr val="accent2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52D-43E8-8741-CA73F03C0E09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52D-43E8-8741-CA73F03C0E09}"/>
              </c:ext>
            </c:extLst>
          </c:dPt>
          <c:dPt>
            <c:idx val="2"/>
            <c:bubble3D val="0"/>
            <c:spPr>
              <a:solidFill>
                <a:srgbClr val="FF5027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52D-43E8-8741-CA73F03C0E09}"/>
              </c:ext>
            </c:extLst>
          </c:dPt>
          <c:dLbls>
            <c:dLbl>
              <c:idx val="0"/>
              <c:layout>
                <c:manualLayout>
                  <c:x val="-1.5765449830490379E-2"/>
                  <c:y val="0.110221288764588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52D-43E8-8741-CA73F03C0E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val>
            <c:numRef>
              <c:f>Planilha1!$J$3:$J$5</c:f>
              <c:numCache>
                <c:formatCode>0%</c:formatCode>
                <c:ptCount val="3"/>
                <c:pt idx="0">
                  <c:v>0.61326338151956628</c:v>
                </c:pt>
                <c:pt idx="1">
                  <c:v>0.16687693431889727</c:v>
                </c:pt>
                <c:pt idx="2">
                  <c:v>0.2198596841615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52D-43E8-8741-CA73F03C0E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pt-BR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chemeClr val="accent2"/>
            </a:solidFill>
            <a:ln w="9525"/>
          </c:spPr>
          <c:dPt>
            <c:idx val="0"/>
            <c:bubble3D val="0"/>
            <c:spPr>
              <a:solidFill>
                <a:schemeClr val="accent2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368-4814-9BED-7E98EF36EA67}"/>
              </c:ext>
            </c:extLst>
          </c:dPt>
          <c:dPt>
            <c:idx val="1"/>
            <c:bubble3D val="0"/>
            <c:spPr>
              <a:solidFill>
                <a:srgbClr val="FFB400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368-4814-9BED-7E98EF36EA67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368-4814-9BED-7E98EF36EA67}"/>
              </c:ext>
            </c:extLst>
          </c:dPt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368-4814-9BED-7E98EF36EA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Planilha1!$J$18:$J$20</c:f>
              <c:numCache>
                <c:formatCode>0%</c:formatCode>
                <c:ptCount val="3"/>
                <c:pt idx="0">
                  <c:v>0.29436332422192668</c:v>
                </c:pt>
                <c:pt idx="1">
                  <c:v>0.70563667577807332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368-4814-9BED-7E98EF36E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pt-BR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chemeClr val="accent2"/>
            </a:solidFill>
            <a:ln w="9525"/>
          </c:spPr>
          <c:dPt>
            <c:idx val="0"/>
            <c:bubble3D val="0"/>
            <c:spPr>
              <a:solidFill>
                <a:schemeClr val="accent2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3F1-4D9E-B213-57C0A831775E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3F1-4D9E-B213-57C0A831775E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3F1-4D9E-B213-57C0A831775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Planilha1!$N$3:$N$5</c:f>
              <c:numCache>
                <c:formatCode>0%</c:formatCode>
                <c:ptCount val="3"/>
                <c:pt idx="0">
                  <c:v>0.93941749509368322</c:v>
                </c:pt>
                <c:pt idx="1">
                  <c:v>2.7241772697227086E-2</c:v>
                </c:pt>
                <c:pt idx="2">
                  <c:v>3.33407322090897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3F1-4D9E-B213-57C0A83177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pt-BR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sng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/>
              <a:t>Breakdown of daily</a:t>
            </a:r>
            <a:r>
              <a:rPr lang="en-US" sz="1600" b="1" u="sng" baseline="0" dirty="0"/>
              <a:t> demand by non-thermal consumption</a:t>
            </a:r>
            <a:endParaRPr lang="en-US" sz="1600" b="1" u="sng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sng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/>
            </a:solidFill>
            <a:ln w="9525"/>
          </c:spPr>
          <c:dPt>
            <c:idx val="0"/>
            <c:bubble3D val="0"/>
            <c:spPr>
              <a:solidFill>
                <a:schemeClr val="accent1">
                  <a:lumMod val="10000"/>
                  <a:lumOff val="90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4E2-4C64-AE90-ECC96EBED2A3}"/>
              </c:ext>
            </c:extLst>
          </c:dPt>
          <c:dPt>
            <c:idx val="1"/>
            <c:bubble3D val="0"/>
            <c:spPr>
              <a:solidFill>
                <a:schemeClr val="accent1">
                  <a:lumMod val="25000"/>
                  <a:lumOff val="75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4E2-4C64-AE90-ECC96EBED2A3}"/>
              </c:ext>
            </c:extLst>
          </c:dPt>
          <c:dPt>
            <c:idx val="2"/>
            <c:bubble3D val="0"/>
            <c:spPr>
              <a:solidFill>
                <a:schemeClr val="accent1">
                  <a:lumMod val="50000"/>
                  <a:lumOff val="50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4E2-4C64-AE90-ECC96EBED2A3}"/>
              </c:ext>
            </c:extLst>
          </c:dPt>
          <c:dPt>
            <c:idx val="3"/>
            <c:bubble3D val="0"/>
            <c:spPr>
              <a:solidFill>
                <a:schemeClr val="accent1">
                  <a:lumMod val="75000"/>
                  <a:lumOff val="25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4E2-4C64-AE90-ECC96EBED2A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Industrial</c:v>
                </c:pt>
                <c:pt idx="1">
                  <c:v>Vehicular</c:v>
                </c:pt>
                <c:pt idx="2">
                  <c:v>Commercial</c:v>
                </c:pt>
                <c:pt idx="3">
                  <c:v>Residential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77</c:v>
                </c:pt>
                <c:pt idx="1">
                  <c:v>0.17</c:v>
                </c:pt>
                <c:pt idx="2">
                  <c:v>0.03</c:v>
                </c:pt>
                <c:pt idx="3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4E2-4C64-AE90-ECC96EBED2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chemeClr val="bg1">
          <a:lumMod val="75000"/>
        </a:schemeClr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900">
          <a:solidFill>
            <a:schemeClr val="tx1"/>
          </a:solidFill>
        </a:defRPr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FB4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12E-4478-93F6-9887C4CD6042}"/>
              </c:ext>
            </c:extLst>
          </c:dPt>
          <c:dPt>
            <c:idx val="1"/>
            <c:bubble3D val="0"/>
            <c:spPr>
              <a:solidFill>
                <a:srgbClr val="FF7A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12E-4478-93F6-9887C4CD6042}"/>
              </c:ext>
            </c:extLst>
          </c:dPt>
          <c:dPt>
            <c:idx val="2"/>
            <c:bubble3D val="0"/>
            <c:spPr>
              <a:solidFill>
                <a:srgbClr val="EB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12E-4478-93F6-9887C4CD604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Planilha1!$E$3:$E$5</c:f>
              <c:numCache>
                <c:formatCode>0%</c:formatCode>
                <c:ptCount val="3"/>
                <c:pt idx="0">
                  <c:v>0.43912214686374379</c:v>
                </c:pt>
                <c:pt idx="1">
                  <c:v>0.36047340414187923</c:v>
                </c:pt>
                <c:pt idx="2">
                  <c:v>0.20040444899437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12E-4478-93F6-9887C4CD60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pt-BR" sz="18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pt-BR" sz="180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latin typeface="+mn-lt"/>
                <a:ea typeface="+mn-ea"/>
                <a:cs typeface="+mn-cs"/>
              </a:rPr>
              <a:t>Supply</a:t>
            </a:r>
            <a:r>
              <a:rPr lang="pt-BR" sz="180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pt-BR" sz="180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latin typeface="+mn-lt"/>
                <a:ea typeface="+mn-ea"/>
                <a:cs typeface="+mn-cs"/>
              </a:rPr>
              <a:t>Potential</a:t>
            </a:r>
            <a:r>
              <a:rPr lang="pt-BR" sz="180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latin typeface="+mn-lt"/>
                <a:ea typeface="+mn-ea"/>
                <a:cs typeface="+mn-cs"/>
              </a:rPr>
              <a:t> - </a:t>
            </a:r>
            <a:r>
              <a:rPr lang="pt-BR" sz="180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latin typeface="+mn-lt"/>
                <a:ea typeface="+mn-ea"/>
                <a:cs typeface="+mn-cs"/>
              </a:rPr>
              <a:t>Integrated</a:t>
            </a:r>
            <a:r>
              <a:rPr lang="pt-BR" sz="180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latin typeface="+mn-lt"/>
                <a:ea typeface="+mn-ea"/>
                <a:cs typeface="+mn-cs"/>
              </a:rPr>
              <a:t> Networ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pt-BR" sz="180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effectLst/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14812731481481481"/>
          <c:y val="0.19258910176440022"/>
          <c:w val="0.79598379629629634"/>
          <c:h val="0.37260026210546576"/>
        </c:manualLayout>
      </c:layout>
      <c:areaChart>
        <c:grouping val="stacked"/>
        <c:varyColors val="0"/>
        <c:ser>
          <c:idx val="0"/>
          <c:order val="0"/>
          <c:tx>
            <c:strRef>
              <c:f>EPE!$A$19</c:f>
              <c:strCache>
                <c:ptCount val="1"/>
                <c:pt idx="0">
                  <c:v>Associated Domestic Natural Gas - Pre-Salt</c:v>
                </c:pt>
              </c:strCache>
            </c:strRef>
          </c:tx>
          <c:spPr>
            <a:solidFill>
              <a:srgbClr val="FF5050"/>
            </a:solidFill>
            <a:ln>
              <a:noFill/>
            </a:ln>
            <a:effectLst/>
          </c:spPr>
          <c:cat>
            <c:numRef>
              <c:f>EPE!$B$18:$K$18</c:f>
              <c:numCache>
                <c:formatCode>0</c:formatCode>
                <c:ptCount val="1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 formatCode="General">
                  <c:v>2025</c:v>
                </c:pt>
                <c:pt idx="6" formatCode="General">
                  <c:v>2026</c:v>
                </c:pt>
                <c:pt idx="7" formatCode="General">
                  <c:v>2027</c:v>
                </c:pt>
                <c:pt idx="8" formatCode="General">
                  <c:v>2028</c:v>
                </c:pt>
                <c:pt idx="9" formatCode="General">
                  <c:v>2029</c:v>
                </c:pt>
              </c:numCache>
            </c:numRef>
          </c:cat>
          <c:val>
            <c:numRef>
              <c:f>EPE!$B$19:$K$19</c:f>
              <c:numCache>
                <c:formatCode>0.0</c:formatCode>
                <c:ptCount val="10"/>
                <c:pt idx="0">
                  <c:v>33.330964985236108</c:v>
                </c:pt>
                <c:pt idx="1">
                  <c:v>31.3583449182204</c:v>
                </c:pt>
                <c:pt idx="2">
                  <c:v>30.746499408262306</c:v>
                </c:pt>
                <c:pt idx="3">
                  <c:v>30.325236344161901</c:v>
                </c:pt>
                <c:pt idx="4">
                  <c:v>29.42291467199005</c:v>
                </c:pt>
                <c:pt idx="5">
                  <c:v>29.289789511729058</c:v>
                </c:pt>
                <c:pt idx="6">
                  <c:v>32.62113022434805</c:v>
                </c:pt>
                <c:pt idx="7">
                  <c:v>36.241725328387446</c:v>
                </c:pt>
                <c:pt idx="8">
                  <c:v>39.224753257062979</c:v>
                </c:pt>
                <c:pt idx="9">
                  <c:v>40.722390175669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3A-4979-803D-B0B6F8B6D767}"/>
            </c:ext>
          </c:extLst>
        </c:ser>
        <c:ser>
          <c:idx val="2"/>
          <c:order val="1"/>
          <c:tx>
            <c:strRef>
              <c:f>EPE!$A$20</c:f>
              <c:strCache>
                <c:ptCount val="1"/>
                <c:pt idx="0">
                  <c:v>Associated Domestic Natural Gas - Others </c:v>
                </c:pt>
              </c:strCache>
            </c:strRef>
          </c:tx>
          <c:spPr>
            <a:solidFill>
              <a:srgbClr val="F0914A"/>
            </a:solidFill>
            <a:ln>
              <a:noFill/>
            </a:ln>
            <a:effectLst/>
          </c:spPr>
          <c:cat>
            <c:numRef>
              <c:f>EPE!$B$18:$K$18</c:f>
              <c:numCache>
                <c:formatCode>0</c:formatCode>
                <c:ptCount val="1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 formatCode="General">
                  <c:v>2025</c:v>
                </c:pt>
                <c:pt idx="6" formatCode="General">
                  <c:v>2026</c:v>
                </c:pt>
                <c:pt idx="7" formatCode="General">
                  <c:v>2027</c:v>
                </c:pt>
                <c:pt idx="8" formatCode="General">
                  <c:v>2028</c:v>
                </c:pt>
                <c:pt idx="9" formatCode="General">
                  <c:v>2029</c:v>
                </c:pt>
              </c:numCache>
            </c:numRef>
          </c:cat>
          <c:val>
            <c:numRef>
              <c:f>EPE!$B$20:$K$20</c:f>
              <c:numCache>
                <c:formatCode>0.0</c:formatCode>
                <c:ptCount val="10"/>
                <c:pt idx="0">
                  <c:v>6.968925568868336</c:v>
                </c:pt>
                <c:pt idx="1">
                  <c:v>6.2365078800814082</c:v>
                </c:pt>
                <c:pt idx="2">
                  <c:v>6.8363000358674864</c:v>
                </c:pt>
                <c:pt idx="3">
                  <c:v>7.3463458602873519</c:v>
                </c:pt>
                <c:pt idx="4">
                  <c:v>7.2970326329990272</c:v>
                </c:pt>
                <c:pt idx="5">
                  <c:v>9.8148859318569155</c:v>
                </c:pt>
                <c:pt idx="6">
                  <c:v>14.109381393991429</c:v>
                </c:pt>
                <c:pt idx="7">
                  <c:v>17.97191594426311</c:v>
                </c:pt>
                <c:pt idx="8">
                  <c:v>21.049885079029181</c:v>
                </c:pt>
                <c:pt idx="9">
                  <c:v>23.524683212697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3A-4979-803D-B0B6F8B6D767}"/>
            </c:ext>
          </c:extLst>
        </c:ser>
        <c:ser>
          <c:idx val="3"/>
          <c:order val="2"/>
          <c:tx>
            <c:strRef>
              <c:f>EPE!$A$21</c:f>
              <c:strCache>
                <c:ptCount val="1"/>
                <c:pt idx="0">
                  <c:v>Non-Associated Domestic Natural Gas</c:v>
                </c:pt>
              </c:strCache>
            </c:strRef>
          </c:tx>
          <c:spPr>
            <a:solidFill>
              <a:srgbClr val="33CCFF"/>
            </a:solidFill>
            <a:ln>
              <a:noFill/>
            </a:ln>
            <a:effectLst/>
          </c:spPr>
          <c:cat>
            <c:numRef>
              <c:f>EPE!$B$18:$K$18</c:f>
              <c:numCache>
                <c:formatCode>0</c:formatCode>
                <c:ptCount val="1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 formatCode="General">
                  <c:v>2025</c:v>
                </c:pt>
                <c:pt idx="6" formatCode="General">
                  <c:v>2026</c:v>
                </c:pt>
                <c:pt idx="7" formatCode="General">
                  <c:v>2027</c:v>
                </c:pt>
                <c:pt idx="8" formatCode="General">
                  <c:v>2028</c:v>
                </c:pt>
                <c:pt idx="9" formatCode="General">
                  <c:v>2029</c:v>
                </c:pt>
              </c:numCache>
            </c:numRef>
          </c:cat>
          <c:val>
            <c:numRef>
              <c:f>EPE!$B$21:$K$21</c:f>
              <c:numCache>
                <c:formatCode>0.0</c:formatCode>
                <c:ptCount val="10"/>
                <c:pt idx="0">
                  <c:v>7.5532806750207673</c:v>
                </c:pt>
                <c:pt idx="1">
                  <c:v>5.5431794084181147</c:v>
                </c:pt>
                <c:pt idx="2">
                  <c:v>5.0783175983055218</c:v>
                </c:pt>
                <c:pt idx="3">
                  <c:v>4.7536857590541075</c:v>
                </c:pt>
                <c:pt idx="4">
                  <c:v>2.9689748751428864</c:v>
                </c:pt>
                <c:pt idx="5">
                  <c:v>2.1577878117916423</c:v>
                </c:pt>
                <c:pt idx="6">
                  <c:v>0.81229429460235192</c:v>
                </c:pt>
                <c:pt idx="7">
                  <c:v>0.58523508880235475</c:v>
                </c:pt>
                <c:pt idx="8">
                  <c:v>4.91271376776659</c:v>
                </c:pt>
                <c:pt idx="9">
                  <c:v>13.1478336405148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3A-4979-803D-B0B6F8B6D767}"/>
            </c:ext>
          </c:extLst>
        </c:ser>
        <c:ser>
          <c:idx val="4"/>
          <c:order val="3"/>
          <c:tx>
            <c:strRef>
              <c:f>EPE!$A$22</c:f>
              <c:strCache>
                <c:ptCount val="1"/>
                <c:pt idx="0">
                  <c:v>Imports by pipeline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cat>
            <c:numRef>
              <c:f>EPE!$B$18:$K$18</c:f>
              <c:numCache>
                <c:formatCode>0</c:formatCode>
                <c:ptCount val="1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 formatCode="General">
                  <c:v>2025</c:v>
                </c:pt>
                <c:pt idx="6" formatCode="General">
                  <c:v>2026</c:v>
                </c:pt>
                <c:pt idx="7" formatCode="General">
                  <c:v>2027</c:v>
                </c:pt>
                <c:pt idx="8" formatCode="General">
                  <c:v>2028</c:v>
                </c:pt>
                <c:pt idx="9" formatCode="General">
                  <c:v>2029</c:v>
                </c:pt>
              </c:numCache>
            </c:numRef>
          </c:cat>
          <c:val>
            <c:numRef>
              <c:f>EPE!$B$22:$K$22</c:f>
              <c:numCache>
                <c:formatCode>0.0</c:formatCode>
                <c:ptCount val="10"/>
                <c:pt idx="0">
                  <c:v>30.08</c:v>
                </c:pt>
                <c:pt idx="1">
                  <c:v>30.08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83A-4979-803D-B0B6F8B6D767}"/>
            </c:ext>
          </c:extLst>
        </c:ser>
        <c:ser>
          <c:idx val="5"/>
          <c:order val="4"/>
          <c:tx>
            <c:strRef>
              <c:f>EPE!$A$23</c:f>
              <c:strCache>
                <c:ptCount val="1"/>
                <c:pt idx="0">
                  <c:v>LNG terminal capac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EPE!$B$18:$K$18</c:f>
              <c:numCache>
                <c:formatCode>0</c:formatCode>
                <c:ptCount val="1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 formatCode="General">
                  <c:v>2025</c:v>
                </c:pt>
                <c:pt idx="6" formatCode="General">
                  <c:v>2026</c:v>
                </c:pt>
                <c:pt idx="7" formatCode="General">
                  <c:v>2027</c:v>
                </c:pt>
                <c:pt idx="8" formatCode="General">
                  <c:v>2028</c:v>
                </c:pt>
                <c:pt idx="9" formatCode="General">
                  <c:v>2029</c:v>
                </c:pt>
              </c:numCache>
            </c:numRef>
          </c:cat>
          <c:val>
            <c:numRef>
              <c:f>EPE!$B$23:$K$23</c:f>
              <c:numCache>
                <c:formatCode>0.0</c:formatCode>
                <c:ptCount val="10"/>
                <c:pt idx="0">
                  <c:v>47</c:v>
                </c:pt>
                <c:pt idx="1">
                  <c:v>47</c:v>
                </c:pt>
                <c:pt idx="2">
                  <c:v>47</c:v>
                </c:pt>
                <c:pt idx="3">
                  <c:v>47</c:v>
                </c:pt>
                <c:pt idx="4">
                  <c:v>47</c:v>
                </c:pt>
                <c:pt idx="5">
                  <c:v>47</c:v>
                </c:pt>
                <c:pt idx="6">
                  <c:v>47</c:v>
                </c:pt>
                <c:pt idx="7">
                  <c:v>47</c:v>
                </c:pt>
                <c:pt idx="8">
                  <c:v>47</c:v>
                </c:pt>
                <c:pt idx="9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3A-4979-803D-B0B6F8B6D7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55323456"/>
        <c:axId val="224448192"/>
      </c:areaChart>
      <c:lineChart>
        <c:grouping val="standard"/>
        <c:varyColors val="0"/>
        <c:ser>
          <c:idx val="6"/>
          <c:order val="5"/>
          <c:tx>
            <c:strRef>
              <c:f>EPE!$A$24</c:f>
              <c:strCache>
                <c:ptCount val="1"/>
                <c:pt idx="0">
                  <c:v>NG total supply (Integrated network)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EPE!$B$18:$K$18</c:f>
              <c:numCache>
                <c:formatCode>0</c:formatCode>
                <c:ptCount val="1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 formatCode="General">
                  <c:v>2025</c:v>
                </c:pt>
                <c:pt idx="6" formatCode="General">
                  <c:v>2026</c:v>
                </c:pt>
                <c:pt idx="7" formatCode="General">
                  <c:v>2027</c:v>
                </c:pt>
                <c:pt idx="8" formatCode="General">
                  <c:v>2028</c:v>
                </c:pt>
                <c:pt idx="9" formatCode="General">
                  <c:v>2029</c:v>
                </c:pt>
              </c:numCache>
            </c:numRef>
          </c:cat>
          <c:val>
            <c:numRef>
              <c:f>EPE!$B$24:$K$24</c:f>
              <c:numCache>
                <c:formatCode>0.0</c:formatCode>
                <c:ptCount val="10"/>
                <c:pt idx="0">
                  <c:v>124.93317122912521</c:v>
                </c:pt>
                <c:pt idx="1">
                  <c:v>120.21803220671993</c:v>
                </c:pt>
                <c:pt idx="2">
                  <c:v>109.66111704243531</c:v>
                </c:pt>
                <c:pt idx="3">
                  <c:v>109.42526796350336</c:v>
                </c:pt>
                <c:pt idx="4">
                  <c:v>106.68892218013195</c:v>
                </c:pt>
                <c:pt idx="5">
                  <c:v>108.26246325537761</c:v>
                </c:pt>
                <c:pt idx="6">
                  <c:v>114.54280591294183</c:v>
                </c:pt>
                <c:pt idx="7">
                  <c:v>121.79887636145291</c:v>
                </c:pt>
                <c:pt idx="8">
                  <c:v>132.18735210385876</c:v>
                </c:pt>
                <c:pt idx="9">
                  <c:v>144.39490702888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83A-4979-803D-B0B6F8B6D7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5323456"/>
        <c:axId val="224448192"/>
      </c:lineChart>
      <c:catAx>
        <c:axId val="255323456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24448192"/>
        <c:crosses val="autoZero"/>
        <c:auto val="1"/>
        <c:lblAlgn val="ctr"/>
        <c:lblOffset val="100"/>
        <c:noMultiLvlLbl val="0"/>
      </c:catAx>
      <c:valAx>
        <c:axId val="224448192"/>
        <c:scaling>
          <c:orientation val="minMax"/>
          <c:max val="16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55323456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678871527777775"/>
          <c:y val="0.67519653693699078"/>
          <c:w val="0.72151874999999999"/>
          <c:h val="0.307640063761367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pt-BR" sz="18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pt-BR" sz="18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latin typeface="+mn-lt"/>
                <a:ea typeface="+mn-ea"/>
                <a:cs typeface="+mn-cs"/>
              </a:rPr>
              <a:t>Natural Gas Balance – Integrated Network</a:t>
            </a:r>
          </a:p>
        </c:rich>
      </c:tx>
      <c:layout>
        <c:manualLayout>
          <c:xMode val="edge"/>
          <c:yMode val="edge"/>
          <c:x val="0.25133534915135519"/>
          <c:y val="1.75731995081258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pt-BR" sz="180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effectLst/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13329709480690805"/>
          <c:y val="0.20521037622773533"/>
          <c:w val="0.85038979919668423"/>
          <c:h val="0.36244782643722906"/>
        </c:manualLayout>
      </c:layout>
      <c:areaChart>
        <c:grouping val="stacked"/>
        <c:varyColors val="0"/>
        <c:ser>
          <c:idx val="2"/>
          <c:order val="1"/>
          <c:tx>
            <c:strRef>
              <c:f>Sheet1!$A$30</c:f>
              <c:strCache>
                <c:ptCount val="1"/>
                <c:pt idx="0">
                  <c:v>Non-thermoelectric demand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val>
            <c:numRef>
              <c:f>Sheet1!$B$30:$K$30</c:f>
              <c:numCache>
                <c:formatCode>0.0</c:formatCode>
                <c:ptCount val="10"/>
                <c:pt idx="0">
                  <c:v>53.995604224079869</c:v>
                </c:pt>
                <c:pt idx="1">
                  <c:v>54.715199309092426</c:v>
                </c:pt>
                <c:pt idx="2">
                  <c:v>55.336494961668429</c:v>
                </c:pt>
                <c:pt idx="3">
                  <c:v>56.14964300075907</c:v>
                </c:pt>
                <c:pt idx="4">
                  <c:v>57.225779460752236</c:v>
                </c:pt>
                <c:pt idx="5">
                  <c:v>60.14397917442529</c:v>
                </c:pt>
                <c:pt idx="6">
                  <c:v>60.786650011017883</c:v>
                </c:pt>
                <c:pt idx="7">
                  <c:v>61.177868253563737</c:v>
                </c:pt>
                <c:pt idx="8">
                  <c:v>61.653807044180695</c:v>
                </c:pt>
                <c:pt idx="9">
                  <c:v>62.083953938446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73-4F13-BFD0-FF5E00C90A54}"/>
            </c:ext>
          </c:extLst>
        </c:ser>
        <c:ser>
          <c:idx val="3"/>
          <c:order val="2"/>
          <c:tx>
            <c:strRef>
              <c:f>Sheet1!$A$31</c:f>
              <c:strCache>
                <c:ptCount val="1"/>
                <c:pt idx="0">
                  <c:v>NG Thermoelectric Demand</c:v>
                </c:pt>
              </c:strCache>
            </c:strRef>
          </c:tx>
          <c:spPr>
            <a:solidFill>
              <a:srgbClr val="F0914A"/>
            </a:solidFill>
            <a:ln>
              <a:noFill/>
            </a:ln>
            <a:effectLst/>
          </c:spPr>
          <c:val>
            <c:numRef>
              <c:f>Sheet1!$B$31:$K$31</c:f>
              <c:numCache>
                <c:formatCode>0.0</c:formatCode>
                <c:ptCount val="10"/>
                <c:pt idx="0">
                  <c:v>31.199565393725539</c:v>
                </c:pt>
                <c:pt idx="1">
                  <c:v>31.199565393725539</c:v>
                </c:pt>
                <c:pt idx="2">
                  <c:v>32.767529880684108</c:v>
                </c:pt>
                <c:pt idx="3">
                  <c:v>32.767529880684108</c:v>
                </c:pt>
                <c:pt idx="4">
                  <c:v>32.600964043944629</c:v>
                </c:pt>
                <c:pt idx="5">
                  <c:v>33.591539636205276</c:v>
                </c:pt>
                <c:pt idx="6">
                  <c:v>33.591539636205276</c:v>
                </c:pt>
                <c:pt idx="7">
                  <c:v>33.591539636205276</c:v>
                </c:pt>
                <c:pt idx="8">
                  <c:v>33.591539636205276</c:v>
                </c:pt>
                <c:pt idx="9">
                  <c:v>33.591539636205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73-4F13-BFD0-FF5E00C90A54}"/>
            </c:ext>
          </c:extLst>
        </c:ser>
        <c:ser>
          <c:idx val="4"/>
          <c:order val="3"/>
          <c:tx>
            <c:strRef>
              <c:f>Sheet1!$A$32</c:f>
              <c:strCache>
                <c:ptCount val="1"/>
                <c:pt idx="0">
                  <c:v>Indicative Combined Cycle Thermoelectric Demand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val>
            <c:numRef>
              <c:f>Sheet1!$B$32:$K$32</c:f>
              <c:numCache>
                <c:formatCode>0.0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9.9816068677910366</c:v>
                </c:pt>
                <c:pt idx="6">
                  <c:v>13.103508023784222</c:v>
                </c:pt>
                <c:pt idx="7">
                  <c:v>22.417955163148342</c:v>
                </c:pt>
                <c:pt idx="8">
                  <c:v>34.762547734813772</c:v>
                </c:pt>
                <c:pt idx="9">
                  <c:v>44.826624426404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E73-4F13-BFD0-FF5E00C90A54}"/>
            </c:ext>
          </c:extLst>
        </c:ser>
        <c:ser>
          <c:idx val="5"/>
          <c:order val="4"/>
          <c:tx>
            <c:strRef>
              <c:f>Sheet1!$A$33</c:f>
              <c:strCache>
                <c:ptCount val="1"/>
                <c:pt idx="0">
                  <c:v>Bi-fuel Thermoelectric Demand</c:v>
                </c:pt>
              </c:strCache>
            </c:strRef>
          </c:tx>
          <c:spPr>
            <a:solidFill>
              <a:srgbClr val="33CC33"/>
            </a:solidFill>
            <a:ln>
              <a:noFill/>
            </a:ln>
            <a:effectLst/>
          </c:spPr>
          <c:val>
            <c:numRef>
              <c:f>Sheet1!$B$33:$K$33</c:f>
              <c:numCache>
                <c:formatCode>0.0</c:formatCode>
                <c:ptCount val="10"/>
                <c:pt idx="0">
                  <c:v>6.9105867786666106</c:v>
                </c:pt>
                <c:pt idx="1">
                  <c:v>6.9105867786666106</c:v>
                </c:pt>
                <c:pt idx="2">
                  <c:v>6.9105867786666106</c:v>
                </c:pt>
                <c:pt idx="3">
                  <c:v>6.9105867786666106</c:v>
                </c:pt>
                <c:pt idx="4">
                  <c:v>4.6492436394289687</c:v>
                </c:pt>
                <c:pt idx="5">
                  <c:v>3.1864189959689742</c:v>
                </c:pt>
                <c:pt idx="6">
                  <c:v>3.1864189959689742</c:v>
                </c:pt>
                <c:pt idx="7">
                  <c:v>1.9864280088642017</c:v>
                </c:pt>
                <c:pt idx="8">
                  <c:v>1.9864280088642017</c:v>
                </c:pt>
                <c:pt idx="9">
                  <c:v>1.9864280088642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E73-4F13-BFD0-FF5E00C90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64253184"/>
        <c:axId val="256192704"/>
      </c:areaChart>
      <c:lineChart>
        <c:grouping val="standard"/>
        <c:varyColors val="0"/>
        <c:ser>
          <c:idx val="1"/>
          <c:order val="0"/>
          <c:tx>
            <c:strRef>
              <c:f>Sheet1!$A$29</c:f>
              <c:strCache>
                <c:ptCount val="1"/>
                <c:pt idx="0">
                  <c:v>Supply potential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Sheet1!$B$28:$K$28</c:f>
              <c:numCache>
                <c:formatCode>General</c:formatCode>
                <c:ptCount val="1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</c:numCache>
            </c:numRef>
          </c:cat>
          <c:val>
            <c:numRef>
              <c:f>Sheet1!$B$29:$K$29</c:f>
              <c:numCache>
                <c:formatCode>0.0</c:formatCode>
                <c:ptCount val="10"/>
                <c:pt idx="0">
                  <c:v>131.32171461158214</c:v>
                </c:pt>
                <c:pt idx="1">
                  <c:v>126.0696645480251</c:v>
                </c:pt>
                <c:pt idx="2">
                  <c:v>114.58388123538558</c:v>
                </c:pt>
                <c:pt idx="3">
                  <c:v>114.13719094938995</c:v>
                </c:pt>
                <c:pt idx="4">
                  <c:v>111.18063410742418</c:v>
                </c:pt>
                <c:pt idx="5">
                  <c:v>112.95703486419495</c:v>
                </c:pt>
                <c:pt idx="6">
                  <c:v>121.3808806881147</c:v>
                </c:pt>
                <c:pt idx="7">
                  <c:v>130.86430475685745</c:v>
                </c:pt>
                <c:pt idx="8">
                  <c:v>141.25278049926328</c:v>
                </c:pt>
                <c:pt idx="9">
                  <c:v>153.460335424286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E73-4F13-BFD0-FF5E00C90A54}"/>
            </c:ext>
          </c:extLst>
        </c:ser>
        <c:ser>
          <c:idx val="6"/>
          <c:order val="5"/>
          <c:tx>
            <c:strRef>
              <c:f>Sheet1!$A$34</c:f>
              <c:strCache>
                <c:ptCount val="1"/>
                <c:pt idx="0">
                  <c:v>Total Demand (Avg dispatch)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B$28:$K$28</c:f>
              <c:numCache>
                <c:formatCode>General</c:formatCode>
                <c:ptCount val="1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</c:numCache>
            </c:numRef>
          </c:cat>
          <c:val>
            <c:numRef>
              <c:f>Sheet1!$B$34:$K$34</c:f>
              <c:numCache>
                <c:formatCode>0.0</c:formatCode>
                <c:ptCount val="10"/>
                <c:pt idx="0">
                  <c:v>62.231146494307822</c:v>
                </c:pt>
                <c:pt idx="1">
                  <c:v>62.449650139999846</c:v>
                </c:pt>
                <c:pt idx="2">
                  <c:v>63.541248426071625</c:v>
                </c:pt>
                <c:pt idx="3">
                  <c:v>65.734147026150339</c:v>
                </c:pt>
                <c:pt idx="4">
                  <c:v>63.362524593999098</c:v>
                </c:pt>
                <c:pt idx="5">
                  <c:v>64.329664149825021</c:v>
                </c:pt>
                <c:pt idx="6">
                  <c:v>65.623343450873307</c:v>
                </c:pt>
                <c:pt idx="7">
                  <c:v>65.02026128300686</c:v>
                </c:pt>
                <c:pt idx="8">
                  <c:v>66.480555259470677</c:v>
                </c:pt>
                <c:pt idx="9">
                  <c:v>68.905029786056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E73-4F13-BFD0-FF5E00C90A54}"/>
            </c:ext>
          </c:extLst>
        </c:ser>
        <c:ser>
          <c:idx val="0"/>
          <c:order val="6"/>
          <c:tx>
            <c:strRef>
              <c:f>Sheet1!$A$35</c:f>
              <c:strCache>
                <c:ptCount val="1"/>
                <c:pt idx="0">
                  <c:v>Total Demand (Max dispatch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B$28:$K$28</c:f>
              <c:numCache>
                <c:formatCode>General</c:formatCode>
                <c:ptCount val="1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</c:numCache>
            </c:numRef>
          </c:cat>
          <c:val>
            <c:numRef>
              <c:f>Sheet1!$B$35:$K$35</c:f>
              <c:numCache>
                <c:formatCode>0.0</c:formatCode>
                <c:ptCount val="10"/>
                <c:pt idx="0">
                  <c:v>92.105756396472017</c:v>
                </c:pt>
                <c:pt idx="1">
                  <c:v>92.825351481484574</c:v>
                </c:pt>
                <c:pt idx="2">
                  <c:v>95.014611621019156</c:v>
                </c:pt>
                <c:pt idx="3">
                  <c:v>95.827759660109791</c:v>
                </c:pt>
                <c:pt idx="4">
                  <c:v>94.475987144125838</c:v>
                </c:pt>
                <c:pt idx="5">
                  <c:v>106.90354467439059</c:v>
                </c:pt>
                <c:pt idx="6">
                  <c:v>110.66811666697637</c:v>
                </c:pt>
                <c:pt idx="7">
                  <c:v>119.17379106178156</c:v>
                </c:pt>
                <c:pt idx="8">
                  <c:v>131.99432242406397</c:v>
                </c:pt>
                <c:pt idx="9">
                  <c:v>142.488546009919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E73-4F13-BFD0-FF5E00C90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4253184"/>
        <c:axId val="256192704"/>
      </c:lineChart>
      <c:catAx>
        <c:axId val="26425318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56192704"/>
        <c:crosses val="autoZero"/>
        <c:auto val="1"/>
        <c:lblAlgn val="ctr"/>
        <c:lblOffset val="100"/>
        <c:noMultiLvlLbl val="0"/>
      </c:catAx>
      <c:valAx>
        <c:axId val="256192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64253184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497554752285772"/>
          <c:y val="0.66616853829455247"/>
          <c:w val="0.76292025740766223"/>
          <c:h val="0.33112056454739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797</cdr:x>
      <cdr:y>0.19269</cdr:y>
    </cdr:from>
    <cdr:to>
      <cdr:x>0.0714</cdr:x>
      <cdr:y>0.41204</cdr:y>
    </cdr:to>
    <cdr:sp macro="" textlink="">
      <cdr:nvSpPr>
        <cdr:cNvPr id="2" name="CaixaDeTexto 1">
          <a:extLst xmlns:a="http://schemas.openxmlformats.org/drawingml/2006/main">
            <a:ext uri="{FF2B5EF4-FFF2-40B4-BE49-F238E27FC236}">
              <a16:creationId xmlns:a16="http://schemas.microsoft.com/office/drawing/2014/main" id="{52737D6E-6455-4C91-AE44-55B751763893}"/>
            </a:ext>
          </a:extLst>
        </cdr:cNvPr>
        <cdr:cNvSpPr txBox="1"/>
      </cdr:nvSpPr>
      <cdr:spPr>
        <a:xfrm xmlns:a="http://schemas.openxmlformats.org/drawingml/2006/main">
          <a:off x="103507" y="835542"/>
          <a:ext cx="307773" cy="95113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2700" cap="flat">
          <a:noFill/>
          <a:miter lim="400000"/>
        </a:ln>
        <a:effectLst xmlns:a="http://schemas.openxmlformats.org/drawingml/2006/main"/>
        <a:sp3d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none"/>
      </cdr:style>
      <cdr:txBody>
        <a:bodyPr xmlns:a="http://schemas.openxmlformats.org/drawingml/2006/main" rot="0" spcFirstLastPara="1" vert="vert270" wrap="square" lIns="45718" tIns="45718" rIns="45718" bIns="45718" numCol="1" spcCol="38100" rtlCol="0" anchor="t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 rtl="0" hangingPunct="0"/>
          <a:r>
            <a:rPr lang="pt-BR" sz="1400" dirty="0">
              <a:solidFill>
                <a:schemeClr val="bg2">
                  <a:lumMod val="25000"/>
                </a:schemeClr>
              </a:solidFill>
              <a:latin typeface="Trebuchet MeS"/>
            </a:rPr>
            <a:t>MMm³/d</a:t>
          </a:r>
          <a:endParaRPr kumimoji="0" lang="pt-BR" sz="1400" b="0" i="0" u="none" strike="noStrike" cap="none" spc="0" normalizeH="0" baseline="0" dirty="0">
            <a:ln>
              <a:noFill/>
            </a:ln>
            <a:solidFill>
              <a:schemeClr val="bg2">
                <a:lumMod val="25000"/>
              </a:schemeClr>
            </a:solidFill>
            <a:effectLst/>
            <a:uFillTx/>
            <a:latin typeface="Trebuchet MeS"/>
            <a:ea typeface="+mj-ea"/>
            <a:cs typeface="+mj-cs"/>
            <a:sym typeface="Helvetica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0929</cdr:x>
      <cdr:y>0.1982</cdr:y>
    </cdr:from>
    <cdr:to>
      <cdr:x>0.05741</cdr:x>
      <cdr:y>0.41882</cdr:y>
    </cdr:to>
    <cdr:sp macro="" textlink="">
      <cdr:nvSpPr>
        <cdr:cNvPr id="2" name="CaixaDeTexto 1">
          <a:extLst xmlns:a="http://schemas.openxmlformats.org/drawingml/2006/main">
            <a:ext uri="{FF2B5EF4-FFF2-40B4-BE49-F238E27FC236}">
              <a16:creationId xmlns:a16="http://schemas.microsoft.com/office/drawing/2014/main" id="{52737D6E-6455-4C91-AE44-55B751763893}"/>
            </a:ext>
          </a:extLst>
        </cdr:cNvPr>
        <cdr:cNvSpPr txBox="1"/>
      </cdr:nvSpPr>
      <cdr:spPr>
        <a:xfrm xmlns:a="http://schemas.openxmlformats.org/drawingml/2006/main">
          <a:off x="59420" y="894534"/>
          <a:ext cx="307773" cy="99574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2700" cap="flat">
          <a:noFill/>
          <a:miter lim="400000"/>
        </a:ln>
        <a:effectLst xmlns:a="http://schemas.openxmlformats.org/drawingml/2006/main"/>
        <a:sp3d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none"/>
      </cdr:style>
      <cdr:txBody>
        <a:bodyPr xmlns:a="http://schemas.openxmlformats.org/drawingml/2006/main" rot="0" spcFirstLastPara="1" vert="vert270" wrap="square" lIns="45718" tIns="45718" rIns="45718" bIns="45718" numCol="1" spcCol="38100" rtlCol="0" anchor="t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 rtl="0" hangingPunct="0"/>
          <a:r>
            <a:rPr lang="pt-BR" sz="1400" dirty="0">
              <a:solidFill>
                <a:schemeClr val="bg2">
                  <a:lumMod val="25000"/>
                </a:schemeClr>
              </a:solidFill>
              <a:latin typeface="Trebuchet MeS"/>
            </a:rPr>
            <a:t>MMm³/d</a:t>
          </a:r>
          <a:endParaRPr kumimoji="0" lang="pt-BR" sz="1400" b="0" i="0" u="none" strike="noStrike" cap="none" spc="0" normalizeH="0" baseline="0" dirty="0">
            <a:ln>
              <a:noFill/>
            </a:ln>
            <a:solidFill>
              <a:schemeClr val="bg2">
                <a:lumMod val="25000"/>
              </a:schemeClr>
            </a:solidFill>
            <a:effectLst/>
            <a:uFillTx/>
            <a:latin typeface="Trebuchet MeS"/>
            <a:ea typeface="+mj-ea"/>
            <a:cs typeface="+mj-cs"/>
            <a:sym typeface="Helvetica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BA693B-41E5-4BEA-820B-B20241F9BBB6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it-I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FCDE57-F425-4E6F-88C4-E21F3705958F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409308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9850" y="725488"/>
            <a:ext cx="6450013" cy="3627437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FD1648-3AE9-4464-8625-BBF74EC03486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102186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479425" y="3967164"/>
            <a:ext cx="6210229" cy="5368963"/>
          </a:xfrm>
        </p:spPr>
        <p:txBody>
          <a:bodyPr/>
          <a:lstStyle/>
          <a:p>
            <a:pPr algn="just"/>
            <a:endParaRPr lang="en-US" sz="1000" dirty="0">
              <a:latin typeface="Trebuchet MS" panose="020B0603020202020204" pitchFamily="34" charset="0"/>
            </a:endParaRPr>
          </a:p>
        </p:txBody>
      </p:sp>
      <p:sp>
        <p:nvSpPr>
          <p:cNvPr id="7" name="Espaço Reservado para Imagem de Slide 6"/>
          <p:cNvSpPr>
            <a:spLocks noGrp="1" noRot="1" noChangeAspect="1"/>
          </p:cNvSpPr>
          <p:nvPr>
            <p:ph type="sldImg"/>
          </p:nvPr>
        </p:nvSpPr>
        <p:spPr>
          <a:xfrm>
            <a:off x="479425" y="512763"/>
            <a:ext cx="6140450" cy="3454400"/>
          </a:xfrm>
        </p:spPr>
      </p:sp>
    </p:spTree>
    <p:extLst>
      <p:ext uri="{BB962C8B-B14F-4D97-AF65-F5344CB8AC3E}">
        <p14:creationId xmlns:p14="http://schemas.microsoft.com/office/powerpoint/2010/main" val="18071610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441D7F-7F81-42EF-B6F3-B553AC1C0B4C}" type="slidenum">
              <a:rPr kumimoji="0" lang="pt-BR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472696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660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it-IT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it-I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888020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it-IT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it-I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229343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it-IT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it-I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9961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71849" y="212064"/>
            <a:ext cx="11673016" cy="3970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lvl1pPr>
              <a:defRPr lang="pt-BR" sz="2200" b="1">
                <a:solidFill>
                  <a:schemeClr val="bg2">
                    <a:lumMod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/>
            <a:r>
              <a:rPr lang="pt-BR" dirty="0"/>
              <a:t>Clique para editar o título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0" hasCustomPrompt="1"/>
          </p:nvPr>
        </p:nvSpPr>
        <p:spPr>
          <a:xfrm>
            <a:off x="271849" y="567756"/>
            <a:ext cx="11673016" cy="3416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lang="pt-BR" sz="1800" smtClean="0">
                <a:solidFill>
                  <a:schemeClr val="bg2">
                    <a:lumMod val="25000"/>
                  </a:schemeClr>
                </a:solidFill>
                <a:latin typeface="Trebuchet MS" panose="020B0603020202020204" pitchFamily="34" charset="0"/>
              </a:defRPr>
            </a:lvl1pPr>
            <a:lvl2pPr marL="228594" indent="0">
              <a:buNone/>
              <a:defRPr lang="pt-BR" sz="1800" smtClean="0"/>
            </a:lvl2pPr>
            <a:lvl3pPr marL="685783" indent="0">
              <a:buNone/>
              <a:defRPr lang="pt-BR" sz="1800" smtClean="0"/>
            </a:lvl3pPr>
            <a:lvl4pPr marL="1142971" indent="0">
              <a:buNone/>
              <a:defRPr lang="pt-BR" smtClean="0"/>
            </a:lvl4pPr>
            <a:lvl5pPr marL="1600160" indent="0">
              <a:buNone/>
              <a:defRPr lang="pt-BR"/>
            </a:lvl5pPr>
          </a:lstStyle>
          <a:p>
            <a:pPr marL="0" lvl="0"/>
            <a:r>
              <a:rPr lang="pt-BR" dirty="0"/>
              <a:t>Clique para editar o subtítulo</a:t>
            </a:r>
          </a:p>
        </p:txBody>
      </p:sp>
    </p:spTree>
    <p:extLst>
      <p:ext uri="{BB962C8B-B14F-4D97-AF65-F5344CB8AC3E}">
        <p14:creationId xmlns:p14="http://schemas.microsoft.com/office/powerpoint/2010/main" val="27104318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5277639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9389634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148167" y="162984"/>
            <a:ext cx="11929533" cy="5990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133" b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15523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623392" y="2204867"/>
            <a:ext cx="10177131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3" baseline="0">
                <a:latin typeface="Trebuchet MS" panose="020B0603020202020204" pitchFamily="34" charset="0"/>
              </a:defRPr>
            </a:lvl1pPr>
            <a:lvl2pPr marL="609585" indent="0">
              <a:buNone/>
              <a:defRPr/>
            </a:lvl2pPr>
          </a:lstStyle>
          <a:p>
            <a:pPr lvl="0"/>
            <a:r>
              <a:rPr lang="pt-BR" dirty="0"/>
              <a:t>TÍTULO DA APRESENTAÇÃO</a:t>
            </a:r>
          </a:p>
        </p:txBody>
      </p:sp>
      <p:sp>
        <p:nvSpPr>
          <p:cNvPr id="23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623392" y="3645024"/>
            <a:ext cx="10177131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>
              <a:defRPr sz="3200"/>
            </a:lvl2pPr>
          </a:lstStyle>
          <a:p>
            <a:pPr lvl="0"/>
            <a:r>
              <a:rPr lang="pt-BR" altLang="pt-BR" dirty="0"/>
              <a:t>Subtítulo </a:t>
            </a:r>
            <a:r>
              <a:rPr lang="pt-BR" altLang="pt-BR" dirty="0" err="1"/>
              <a:t>lorem</a:t>
            </a:r>
            <a:r>
              <a:rPr lang="pt-BR" altLang="pt-BR" dirty="0"/>
              <a:t> ipsum</a:t>
            </a:r>
            <a:br>
              <a:rPr lang="pt-BR" altLang="pt-BR" dirty="0"/>
            </a:br>
            <a:r>
              <a:rPr lang="pt-BR" altLang="pt-BR" dirty="0" err="1"/>
              <a:t>Dolor</a:t>
            </a:r>
            <a:r>
              <a:rPr lang="pt-BR" altLang="pt-BR" dirty="0"/>
              <a:t> </a:t>
            </a:r>
            <a:r>
              <a:rPr lang="pt-BR" altLang="pt-BR" dirty="0" err="1"/>
              <a:t>sit</a:t>
            </a:r>
            <a:r>
              <a:rPr lang="pt-BR" altLang="pt-BR" dirty="0"/>
              <a:t> </a:t>
            </a:r>
            <a:r>
              <a:rPr lang="pt-BR" altLang="pt-BR" dirty="0" err="1"/>
              <a:t>amet</a:t>
            </a:r>
            <a:endParaRPr lang="pt-BR" altLang="pt-BR" dirty="0"/>
          </a:p>
        </p:txBody>
      </p:sp>
      <p:sp>
        <p:nvSpPr>
          <p:cNvPr id="26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623392" y="5831141"/>
            <a:ext cx="2400267" cy="406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aseline="0"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/>
              <a:t>10/10/0000</a:t>
            </a:r>
          </a:p>
        </p:txBody>
      </p:sp>
      <p:sp>
        <p:nvSpPr>
          <p:cNvPr id="5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7248128" y="6381328"/>
            <a:ext cx="4608512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/>
              <a:t>Setor Responsável</a:t>
            </a:r>
          </a:p>
        </p:txBody>
      </p:sp>
    </p:spTree>
    <p:extLst>
      <p:ext uri="{BB962C8B-B14F-4D97-AF65-F5344CB8AC3E}">
        <p14:creationId xmlns:p14="http://schemas.microsoft.com/office/powerpoint/2010/main" val="29390318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623392" y="2204867"/>
            <a:ext cx="10177131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3" baseline="0">
                <a:latin typeface="Trebuchet MS" panose="020B0603020202020204" pitchFamily="34" charset="0"/>
              </a:defRPr>
            </a:lvl1pPr>
            <a:lvl2pPr marL="609585" indent="0">
              <a:buNone/>
              <a:defRPr/>
            </a:lvl2pPr>
          </a:lstStyle>
          <a:p>
            <a:pPr lvl="0"/>
            <a:r>
              <a:rPr lang="pt-BR" dirty="0"/>
              <a:t>TÍTULO DO CAPÍTULO</a:t>
            </a:r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623392" y="3645024"/>
            <a:ext cx="10177131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>
              <a:defRPr sz="3200"/>
            </a:lvl2pPr>
          </a:lstStyle>
          <a:p>
            <a:pPr lvl="0"/>
            <a:r>
              <a:rPr lang="pt-BR" altLang="pt-BR" dirty="0"/>
              <a:t>Subtítulo </a:t>
            </a:r>
            <a:r>
              <a:rPr lang="pt-BR" altLang="pt-BR" dirty="0" err="1"/>
              <a:t>lorem</a:t>
            </a:r>
            <a:r>
              <a:rPr lang="pt-BR" altLang="pt-BR" dirty="0"/>
              <a:t> ipsum</a:t>
            </a:r>
            <a:br>
              <a:rPr lang="pt-BR" altLang="pt-BR" dirty="0"/>
            </a:br>
            <a:r>
              <a:rPr lang="pt-BR" altLang="pt-BR" dirty="0" err="1"/>
              <a:t>Dolor</a:t>
            </a:r>
            <a:r>
              <a:rPr lang="pt-BR" altLang="pt-BR" dirty="0"/>
              <a:t> </a:t>
            </a:r>
            <a:r>
              <a:rPr lang="pt-BR" altLang="pt-BR" dirty="0" err="1"/>
              <a:t>sit</a:t>
            </a:r>
            <a:r>
              <a:rPr lang="pt-BR" altLang="pt-BR" dirty="0"/>
              <a:t> </a:t>
            </a:r>
            <a:r>
              <a:rPr lang="pt-BR" altLang="pt-BR" dirty="0" err="1"/>
              <a:t>amet</a:t>
            </a:r>
            <a:endParaRPr lang="pt-BR" altLang="pt-BR" dirty="0"/>
          </a:p>
        </p:txBody>
      </p:sp>
      <p:sp>
        <p:nvSpPr>
          <p:cNvPr id="14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623392" y="358532"/>
            <a:ext cx="6432715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 baseline="0"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766629292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623392" y="2204867"/>
            <a:ext cx="10177131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3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609585" indent="0">
              <a:buNone/>
              <a:defRPr/>
            </a:lvl2pPr>
          </a:lstStyle>
          <a:p>
            <a:pPr lvl="0"/>
            <a:r>
              <a:rPr lang="pt-BR" dirty="0"/>
              <a:t>TÍTULO DO CAPÍTULO</a:t>
            </a:r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623392" y="3645024"/>
            <a:ext cx="10177131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 sz="3200"/>
            </a:lvl2pPr>
          </a:lstStyle>
          <a:p>
            <a:pPr lvl="0"/>
            <a:r>
              <a:rPr lang="pt-BR" altLang="pt-BR" dirty="0"/>
              <a:t>Subtítulo </a:t>
            </a:r>
            <a:r>
              <a:rPr lang="pt-BR" altLang="pt-BR" dirty="0" err="1"/>
              <a:t>lorem</a:t>
            </a:r>
            <a:r>
              <a:rPr lang="pt-BR" altLang="pt-BR" dirty="0"/>
              <a:t> ipsum</a:t>
            </a:r>
            <a:br>
              <a:rPr lang="pt-BR" altLang="pt-BR" dirty="0"/>
            </a:br>
            <a:r>
              <a:rPr lang="pt-BR" altLang="pt-BR" dirty="0" err="1"/>
              <a:t>Dolor</a:t>
            </a:r>
            <a:r>
              <a:rPr lang="pt-BR" altLang="pt-BR" dirty="0"/>
              <a:t> </a:t>
            </a:r>
            <a:r>
              <a:rPr lang="pt-BR" altLang="pt-BR" dirty="0" err="1"/>
              <a:t>sit</a:t>
            </a:r>
            <a:r>
              <a:rPr lang="pt-BR" altLang="pt-BR" dirty="0"/>
              <a:t> </a:t>
            </a:r>
            <a:r>
              <a:rPr lang="pt-BR" altLang="pt-BR" dirty="0" err="1"/>
              <a:t>amet</a:t>
            </a:r>
            <a:endParaRPr lang="pt-BR" altLang="pt-BR" dirty="0"/>
          </a:p>
        </p:txBody>
      </p:sp>
      <p:sp>
        <p:nvSpPr>
          <p:cNvPr id="14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623392" y="358532"/>
            <a:ext cx="6432715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2704260528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623392" y="2204867"/>
            <a:ext cx="10177131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3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609585" indent="0">
              <a:buNone/>
              <a:defRPr/>
            </a:lvl2pPr>
          </a:lstStyle>
          <a:p>
            <a:pPr lvl="0"/>
            <a:r>
              <a:rPr lang="pt-BR" dirty="0"/>
              <a:t>TÍTULO DO CAPÍTULO</a:t>
            </a:r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623392" y="3645024"/>
            <a:ext cx="10177131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 sz="3200"/>
            </a:lvl2pPr>
          </a:lstStyle>
          <a:p>
            <a:pPr lvl="0"/>
            <a:r>
              <a:rPr lang="pt-BR" altLang="pt-BR" dirty="0"/>
              <a:t>Subtítulo </a:t>
            </a:r>
            <a:r>
              <a:rPr lang="pt-BR" altLang="pt-BR" dirty="0" err="1"/>
              <a:t>lorem</a:t>
            </a:r>
            <a:r>
              <a:rPr lang="pt-BR" altLang="pt-BR" dirty="0"/>
              <a:t> ipsum</a:t>
            </a:r>
            <a:br>
              <a:rPr lang="pt-BR" altLang="pt-BR" dirty="0"/>
            </a:br>
            <a:r>
              <a:rPr lang="pt-BR" altLang="pt-BR" dirty="0" err="1"/>
              <a:t>Dolor</a:t>
            </a:r>
            <a:r>
              <a:rPr lang="pt-BR" altLang="pt-BR" dirty="0"/>
              <a:t> </a:t>
            </a:r>
            <a:r>
              <a:rPr lang="pt-BR" altLang="pt-BR" dirty="0" err="1"/>
              <a:t>sit</a:t>
            </a:r>
            <a:r>
              <a:rPr lang="pt-BR" altLang="pt-BR" dirty="0"/>
              <a:t> </a:t>
            </a:r>
            <a:r>
              <a:rPr lang="pt-BR" altLang="pt-BR" dirty="0" err="1"/>
              <a:t>amet</a:t>
            </a:r>
            <a:endParaRPr lang="pt-BR" altLang="pt-BR" dirty="0"/>
          </a:p>
        </p:txBody>
      </p:sp>
      <p:sp>
        <p:nvSpPr>
          <p:cNvPr id="14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623392" y="358532"/>
            <a:ext cx="6432715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322132644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it-IT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it-I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84172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it-IT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61977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it-IT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it-IT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it-IT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25141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it-IT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it-IT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it-IT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18198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it-IT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973011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75786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it-IT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it-IT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440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it-IT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56325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it-IT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it-I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18877-6590-4883-ABE1-D0FC388BC2F4}" type="datetimeFigureOut">
              <a:rPr lang="it-IT" smtClean="0"/>
              <a:t>28/08/2020</a:t>
            </a:fld>
            <a:endParaRPr lang="it-I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8DD982-2BA5-45F2-8CF4-EA8780F6775E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111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01" r:id="rId12"/>
    <p:sldLayoutId id="214748371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6856584-A397-45EE-9E47-D5072FA5EE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6" name="Slide do think-cell" r:id="rId6" imgW="421" imgH="423" progId="TCLayout.ActiveDocument.1">
                  <p:embed/>
                </p:oleObj>
              </mc:Choice>
              <mc:Fallback>
                <p:oleObj name="Slide do think-cell" r:id="rId6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6856584-A397-45EE-9E47-D5072FA5EE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12884 OTCB19 Slideshow Template 2018-11-05.pdf" descr="12884 OTCB19 Slideshow Template 2018-11-05.pdf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Title Text"/>
          <p:cNvSpPr txBox="1">
            <a:spLocks noGrp="1"/>
          </p:cNvSpPr>
          <p:nvPr>
            <p:ph type="title"/>
          </p:nvPr>
        </p:nvSpPr>
        <p:spPr>
          <a:xfrm>
            <a:off x="1826684" y="769938"/>
            <a:ext cx="9753601" cy="1668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 anchor="ctr"/>
          <a:lstStyle/>
          <a:p>
            <a:r>
              <a:t>Title Text</a:t>
            </a:r>
          </a:p>
        </p:txBody>
      </p:sp>
      <p:sp>
        <p:nvSpPr>
          <p:cNvPr id="4" name="Body Level One…"/>
          <p:cNvSpPr txBox="1">
            <a:spLocks noGrp="1"/>
          </p:cNvSpPr>
          <p:nvPr>
            <p:ph type="body" idx="1"/>
          </p:nvPr>
        </p:nvSpPr>
        <p:spPr>
          <a:xfrm>
            <a:off x="6805084" y="2438400"/>
            <a:ext cx="4775201" cy="4419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18258" y="6187075"/>
            <a:ext cx="419342" cy="338550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1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0487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</p:sldLayoutIdLst>
  <p:transition spd="med"/>
  <p:txStyles>
    <p:titleStyle>
      <a:lvl1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457189" marR="0" indent="-457189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»"/>
        <a:tabLst/>
        <a:defRPr sz="42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045002" marR="0" indent="-435417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–"/>
        <a:tabLst/>
        <a:defRPr sz="42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625559" marR="0" indent="-406390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316422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–"/>
        <a:tabLst/>
        <a:defRPr sz="42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980192" marR="0" indent="-541853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»"/>
        <a:tabLst/>
        <a:defRPr sz="42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Tx/>
        <a:buFont typeface="Arial"/>
        <a:buNone/>
        <a:tabLst/>
        <a:defRPr sz="42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Tx/>
        <a:buFont typeface="Arial"/>
        <a:buNone/>
        <a:tabLst/>
        <a:defRPr sz="42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Tx/>
        <a:buFont typeface="Arial"/>
        <a:buNone/>
        <a:tabLst/>
        <a:defRPr sz="42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Tx/>
        <a:buFont typeface="Arial"/>
        <a:buNone/>
        <a:tabLst/>
        <a:defRPr sz="4267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19" y="0"/>
            <a:ext cx="1218141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9048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1" r:id="rId2"/>
    <p:sldLayoutId id="2147483712" r:id="rId3"/>
    <p:sldLayoutId id="2147483713" r:id="rId4"/>
  </p:sldLayoutIdLst>
  <p:transition spd="med"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chart" Target="../charts/chart6.xml"/><Relationship Id="rId3" Type="http://schemas.openxmlformats.org/officeDocument/2006/relationships/tags" Target="../tags/tag3.xml"/><Relationship Id="rId7" Type="http://schemas.openxmlformats.org/officeDocument/2006/relationships/oleObject" Target="../embeddings/oleObject2.bin"/><Relationship Id="rId12" Type="http://schemas.openxmlformats.org/officeDocument/2006/relationships/chart" Target="../charts/chart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11" Type="http://schemas.openxmlformats.org/officeDocument/2006/relationships/chart" Target="../charts/chart4.xml"/><Relationship Id="rId5" Type="http://schemas.openxmlformats.org/officeDocument/2006/relationships/notesSlide" Target="../notesSlides/notesSlide2.xml"/><Relationship Id="rId10" Type="http://schemas.openxmlformats.org/officeDocument/2006/relationships/chart" Target="../charts/chart3.xml"/><Relationship Id="rId4" Type="http://schemas.openxmlformats.org/officeDocument/2006/relationships/slideLayout" Target="../slideLayouts/slideLayout12.xml"/><Relationship Id="rId9" Type="http://schemas.openxmlformats.org/officeDocument/2006/relationships/chart" Target="../charts/chart2.xml"/><Relationship Id="rId14" Type="http://schemas.openxmlformats.org/officeDocument/2006/relationships/chart" Target="../charts/char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notesSlide" Target="../notesSlides/notesSlide3.xml"/><Relationship Id="rId10" Type="http://schemas.openxmlformats.org/officeDocument/2006/relationships/chart" Target="../charts/chart9.xml"/><Relationship Id="rId4" Type="http://schemas.openxmlformats.org/officeDocument/2006/relationships/slideLayout" Target="../slideLayouts/slideLayout15.xml"/><Relationship Id="rId9" Type="http://schemas.openxmlformats.org/officeDocument/2006/relationships/chart" Target="../charts/char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-4652" y="0"/>
            <a:ext cx="12207545" cy="685458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18" tIns="54859" rIns="109718" bIns="54859" rtlCol="0" anchor="ctr"/>
          <a:lstStyle/>
          <a:p>
            <a:pPr algn="ctr"/>
            <a:endParaRPr lang="pt-BR" sz="216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1853" y="1648185"/>
            <a:ext cx="4415690" cy="4295163"/>
          </a:xfrm>
          <a:prstGeom prst="rect">
            <a:avLst/>
          </a:prstGeom>
        </p:spPr>
      </p:pic>
      <p:sp>
        <p:nvSpPr>
          <p:cNvPr id="8" name="Freeform 9"/>
          <p:cNvSpPr>
            <a:spLocks/>
          </p:cNvSpPr>
          <p:nvPr/>
        </p:nvSpPr>
        <p:spPr bwMode="auto">
          <a:xfrm flipH="1">
            <a:off x="-31947" y="-442015"/>
            <a:ext cx="7796503" cy="7335062"/>
          </a:xfrm>
          <a:custGeom>
            <a:avLst/>
            <a:gdLst>
              <a:gd name="T0" fmla="*/ 2147483646 w 1245"/>
              <a:gd name="T1" fmla="*/ 2147483646 h 1379"/>
              <a:gd name="T2" fmla="*/ 2147483646 w 1245"/>
              <a:gd name="T3" fmla="*/ 2147483646 h 1379"/>
              <a:gd name="T4" fmla="*/ 2147483646 w 1245"/>
              <a:gd name="T5" fmla="*/ 2147483646 h 1379"/>
              <a:gd name="T6" fmla="*/ 2147483646 w 1245"/>
              <a:gd name="T7" fmla="*/ 2147483646 h 1379"/>
              <a:gd name="T8" fmla="*/ 2147483646 w 1245"/>
              <a:gd name="T9" fmla="*/ 2147483646 h 1379"/>
              <a:gd name="T10" fmla="*/ 2147483646 w 1245"/>
              <a:gd name="T11" fmla="*/ 0 h 1379"/>
              <a:gd name="T12" fmla="*/ 2147483646 w 1245"/>
              <a:gd name="T13" fmla="*/ 2147483646 h 1379"/>
              <a:gd name="T14" fmla="*/ 2147483646 w 1245"/>
              <a:gd name="T15" fmla="*/ 2147483646 h 137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245" h="1379">
                <a:moveTo>
                  <a:pt x="285" y="1373"/>
                </a:moveTo>
                <a:cubicBezTo>
                  <a:pt x="12" y="793"/>
                  <a:pt x="12" y="793"/>
                  <a:pt x="12" y="793"/>
                </a:cubicBezTo>
                <a:cubicBezTo>
                  <a:pt x="0" y="768"/>
                  <a:pt x="7" y="732"/>
                  <a:pt x="26" y="713"/>
                </a:cubicBezTo>
                <a:cubicBezTo>
                  <a:pt x="613" y="145"/>
                  <a:pt x="613" y="145"/>
                  <a:pt x="613" y="145"/>
                </a:cubicBezTo>
                <a:cubicBezTo>
                  <a:pt x="633" y="126"/>
                  <a:pt x="671" y="107"/>
                  <a:pt x="698" y="102"/>
                </a:cubicBezTo>
                <a:cubicBezTo>
                  <a:pt x="1243" y="0"/>
                  <a:pt x="1243" y="0"/>
                  <a:pt x="1243" y="0"/>
                </a:cubicBezTo>
                <a:cubicBezTo>
                  <a:pt x="1239" y="121"/>
                  <a:pt x="1245" y="1186"/>
                  <a:pt x="1242" y="1372"/>
                </a:cubicBezTo>
                <a:cubicBezTo>
                  <a:pt x="1242" y="1372"/>
                  <a:pt x="316" y="1379"/>
                  <a:pt x="285" y="137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46252" tIns="73128" rIns="146252" bIns="73128"/>
          <a:lstStyle/>
          <a:p>
            <a:endParaRPr lang="en-US" sz="1200" dirty="0"/>
          </a:p>
        </p:txBody>
      </p:sp>
      <p:sp>
        <p:nvSpPr>
          <p:cNvPr id="9" name="Freeform 9"/>
          <p:cNvSpPr>
            <a:spLocks/>
          </p:cNvSpPr>
          <p:nvPr/>
        </p:nvSpPr>
        <p:spPr bwMode="auto">
          <a:xfrm rot="20858655" flipH="1">
            <a:off x="-877007" y="-1823992"/>
            <a:ext cx="8242456" cy="9311777"/>
          </a:xfrm>
          <a:custGeom>
            <a:avLst/>
            <a:gdLst>
              <a:gd name="T0" fmla="*/ 2147483646 w 1245"/>
              <a:gd name="T1" fmla="*/ 2147483646 h 1379"/>
              <a:gd name="T2" fmla="*/ 2147483646 w 1245"/>
              <a:gd name="T3" fmla="*/ 2147483646 h 1379"/>
              <a:gd name="T4" fmla="*/ 2147483646 w 1245"/>
              <a:gd name="T5" fmla="*/ 2147483646 h 1379"/>
              <a:gd name="T6" fmla="*/ 2147483646 w 1245"/>
              <a:gd name="T7" fmla="*/ 2147483646 h 1379"/>
              <a:gd name="T8" fmla="*/ 2147483646 w 1245"/>
              <a:gd name="T9" fmla="*/ 2147483646 h 1379"/>
              <a:gd name="T10" fmla="*/ 2147483646 w 1245"/>
              <a:gd name="T11" fmla="*/ 0 h 1379"/>
              <a:gd name="T12" fmla="*/ 2147483646 w 1245"/>
              <a:gd name="T13" fmla="*/ 2147483646 h 1379"/>
              <a:gd name="T14" fmla="*/ 2147483646 w 1245"/>
              <a:gd name="T15" fmla="*/ 2147483646 h 137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245" h="1379">
                <a:moveTo>
                  <a:pt x="285" y="1373"/>
                </a:moveTo>
                <a:cubicBezTo>
                  <a:pt x="12" y="793"/>
                  <a:pt x="12" y="793"/>
                  <a:pt x="12" y="793"/>
                </a:cubicBezTo>
                <a:cubicBezTo>
                  <a:pt x="0" y="768"/>
                  <a:pt x="7" y="732"/>
                  <a:pt x="26" y="713"/>
                </a:cubicBezTo>
                <a:cubicBezTo>
                  <a:pt x="613" y="145"/>
                  <a:pt x="613" y="145"/>
                  <a:pt x="613" y="145"/>
                </a:cubicBezTo>
                <a:cubicBezTo>
                  <a:pt x="633" y="126"/>
                  <a:pt x="671" y="107"/>
                  <a:pt x="698" y="102"/>
                </a:cubicBezTo>
                <a:cubicBezTo>
                  <a:pt x="1243" y="0"/>
                  <a:pt x="1243" y="0"/>
                  <a:pt x="1243" y="0"/>
                </a:cubicBezTo>
                <a:cubicBezTo>
                  <a:pt x="1239" y="121"/>
                  <a:pt x="1245" y="1186"/>
                  <a:pt x="1242" y="1372"/>
                </a:cubicBezTo>
                <a:cubicBezTo>
                  <a:pt x="1242" y="1372"/>
                  <a:pt x="316" y="1379"/>
                  <a:pt x="285" y="1373"/>
                </a:cubicBezTo>
                <a:close/>
              </a:path>
            </a:pathLst>
          </a:custGeom>
          <a:noFill/>
          <a:ln>
            <a:solidFill>
              <a:srgbClr val="FDC82F"/>
            </a:solidFill>
          </a:ln>
        </p:spPr>
        <p:txBody>
          <a:bodyPr lIns="146252" tIns="73128" rIns="146252" bIns="73128"/>
          <a:lstStyle/>
          <a:p>
            <a:endParaRPr lang="en-US" sz="1200"/>
          </a:p>
        </p:txBody>
      </p:sp>
      <p:pic>
        <p:nvPicPr>
          <p:cNvPr id="11" name="Picture 6" descr="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59" t="85185"/>
          <a:stretch>
            <a:fillRect/>
          </a:stretch>
        </p:blipFill>
        <p:spPr bwMode="auto">
          <a:xfrm>
            <a:off x="365947" y="5934879"/>
            <a:ext cx="2355325" cy="808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 txBox="1">
            <a:spLocks/>
          </p:cNvSpPr>
          <p:nvPr/>
        </p:nvSpPr>
        <p:spPr bwMode="auto">
          <a:xfrm>
            <a:off x="675345" y="2153406"/>
            <a:ext cx="5814136" cy="2351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6252" tIns="73128" rIns="146252" bIns="73128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3200" b="1" dirty="0">
                <a:solidFill>
                  <a:schemeClr val="tx2">
                    <a:lumMod val="75000"/>
                  </a:schemeClr>
                </a:solidFill>
                <a:latin typeface="Petrobras Sans" panose="020B0606020204030204" pitchFamily="34" charset="0"/>
              </a:rPr>
              <a:t>INVESTMENT OPPORTUNITIES IN THE BRAZILIAN GAS INDUSTRY</a:t>
            </a:r>
          </a:p>
          <a:p>
            <a:endParaRPr lang="pt-BR" sz="2000" b="1" dirty="0">
              <a:solidFill>
                <a:schemeClr val="bg1">
                  <a:lumMod val="50000"/>
                </a:schemeClr>
              </a:solidFill>
              <a:latin typeface="Petrobras Sans" panose="020B0606020204030204" pitchFamily="34" charset="0"/>
            </a:endParaRPr>
          </a:p>
          <a:p>
            <a:endParaRPr lang="pt-BR" sz="2000" b="1" dirty="0">
              <a:solidFill>
                <a:schemeClr val="bg1">
                  <a:lumMod val="50000"/>
                </a:schemeClr>
              </a:solidFill>
              <a:latin typeface="Petrobras Sans" panose="020B0606020204030204" pitchFamily="34" charset="0"/>
            </a:endParaRPr>
          </a:p>
          <a:p>
            <a:endParaRPr lang="pt-BR" sz="2000" b="1" dirty="0">
              <a:solidFill>
                <a:schemeClr val="bg1">
                  <a:lumMod val="50000"/>
                </a:schemeClr>
              </a:solidFill>
              <a:latin typeface="Petrobras Sans" panose="020B0606020204030204" pitchFamily="34" charset="0"/>
            </a:endParaRPr>
          </a:p>
          <a:p>
            <a:r>
              <a:rPr lang="pt-BR" sz="2800" b="1" dirty="0">
                <a:solidFill>
                  <a:schemeClr val="bg1">
                    <a:lumMod val="50000"/>
                  </a:schemeClr>
                </a:solidFill>
                <a:latin typeface="Petrobras Sans" panose="020B0606020204030204" pitchFamily="34" charset="0"/>
              </a:rPr>
              <a:t>ANELISE QUINTÃO LARA</a:t>
            </a:r>
          </a:p>
          <a:p>
            <a:endParaRPr lang="pt-BR" b="1" dirty="0">
              <a:solidFill>
                <a:schemeClr val="bg1">
                  <a:lumMod val="50000"/>
                </a:schemeClr>
              </a:solidFill>
              <a:latin typeface="Petrobras Sans" panose="020B0606020204030204" pitchFamily="34" charset="0"/>
            </a:endParaRPr>
          </a:p>
          <a:p>
            <a:r>
              <a:rPr lang="pt-BR" b="1" dirty="0" err="1">
                <a:solidFill>
                  <a:schemeClr val="bg1">
                    <a:lumMod val="50000"/>
                  </a:schemeClr>
                </a:solidFill>
                <a:latin typeface="Petrobras Sans" panose="020B0606020204030204" pitchFamily="34" charset="0"/>
              </a:rPr>
              <a:t>September</a:t>
            </a:r>
            <a:r>
              <a:rPr lang="pt-BR" b="1" dirty="0">
                <a:solidFill>
                  <a:schemeClr val="bg1">
                    <a:lumMod val="50000"/>
                  </a:schemeClr>
                </a:solidFill>
                <a:latin typeface="Petrobras Sans" panose="020B0606020204030204" pitchFamily="34" charset="0"/>
              </a:rPr>
              <a:t> 15th 2020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11888714" y="648866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709130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7" name="Picture 6" descr="Base_apresentação_IDE_PPT_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7801" y="36662"/>
            <a:ext cx="9494199" cy="682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8" name="Agrupar 197"/>
          <p:cNvGrpSpPr/>
          <p:nvPr/>
        </p:nvGrpSpPr>
        <p:grpSpPr>
          <a:xfrm>
            <a:off x="369980" y="1883587"/>
            <a:ext cx="11060019" cy="4518091"/>
            <a:chOff x="446181" y="1333252"/>
            <a:chExt cx="10649976" cy="4518091"/>
          </a:xfrm>
        </p:grpSpPr>
        <p:graphicFrame>
          <p:nvGraphicFramePr>
            <p:cNvPr id="199" name="Gráfico 198"/>
            <p:cNvGraphicFramePr>
              <a:graphicFrameLocks/>
            </p:cNvGraphicFramePr>
            <p:nvPr/>
          </p:nvGraphicFramePr>
          <p:xfrm>
            <a:off x="446181" y="1333252"/>
            <a:ext cx="10649976" cy="451809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00" name="CaixaDeTexto 199"/>
            <p:cNvSpPr txBox="1"/>
            <p:nvPr/>
          </p:nvSpPr>
          <p:spPr>
            <a:xfrm>
              <a:off x="3903818" y="4528588"/>
              <a:ext cx="1644791" cy="2853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77">
                <a:defRPr/>
              </a:pPr>
              <a:r>
                <a:rPr lang="pt-BR" sz="1600" dirty="0">
                  <a:solidFill>
                    <a:srgbClr val="00B2A9"/>
                  </a:solidFill>
                  <a:latin typeface="Petrobras Sans"/>
                </a:rPr>
                <a:t>SHALLOW WATER</a:t>
              </a:r>
            </a:p>
          </p:txBody>
        </p:sp>
        <p:sp>
          <p:nvSpPr>
            <p:cNvPr id="201" name="CaixaDeTexto 200"/>
            <p:cNvSpPr txBox="1"/>
            <p:nvPr/>
          </p:nvSpPr>
          <p:spPr>
            <a:xfrm>
              <a:off x="6099015" y="3527760"/>
              <a:ext cx="1251509" cy="2853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77">
                <a:defRPr/>
              </a:pPr>
              <a:r>
                <a:rPr lang="pt-BR" sz="1600" dirty="0">
                  <a:solidFill>
                    <a:srgbClr val="006298"/>
                  </a:solidFill>
                  <a:latin typeface="Petrobras Sans"/>
                </a:rPr>
                <a:t>DEEP WATER</a:t>
              </a:r>
            </a:p>
          </p:txBody>
        </p:sp>
        <p:sp>
          <p:nvSpPr>
            <p:cNvPr id="202" name="CaixaDeTexto 201"/>
            <p:cNvSpPr txBox="1"/>
            <p:nvPr/>
          </p:nvSpPr>
          <p:spPr>
            <a:xfrm>
              <a:off x="6668019" y="2204839"/>
              <a:ext cx="1853085" cy="2853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77">
                <a:defRPr/>
              </a:pPr>
              <a:r>
                <a:rPr lang="pt-BR" sz="1600" dirty="0">
                  <a:solidFill>
                    <a:srgbClr val="004165"/>
                  </a:solidFill>
                  <a:latin typeface="Petrobras Sans"/>
                </a:rPr>
                <a:t>ULTRA DEEP WATER</a:t>
              </a:r>
            </a:p>
          </p:txBody>
        </p:sp>
        <p:sp>
          <p:nvSpPr>
            <p:cNvPr id="203" name="CaixaDeTexto 202"/>
            <p:cNvSpPr txBox="1"/>
            <p:nvPr/>
          </p:nvSpPr>
          <p:spPr>
            <a:xfrm>
              <a:off x="8812194" y="1706590"/>
              <a:ext cx="1000975" cy="2853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77">
                <a:defRPr/>
              </a:pPr>
              <a:r>
                <a:rPr lang="pt-BR" sz="1600" dirty="0">
                  <a:solidFill>
                    <a:srgbClr val="B44D00"/>
                  </a:solidFill>
                  <a:latin typeface="Petrobras Sans"/>
                </a:rPr>
                <a:t>PRE-SALT</a:t>
              </a:r>
            </a:p>
          </p:txBody>
        </p:sp>
        <p:sp>
          <p:nvSpPr>
            <p:cNvPr id="204" name="CaixaDeTexto 203"/>
            <p:cNvSpPr txBox="1"/>
            <p:nvPr/>
          </p:nvSpPr>
          <p:spPr>
            <a:xfrm>
              <a:off x="2229286" y="4839892"/>
              <a:ext cx="999518" cy="2853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>
                <a:defRPr/>
              </a:pPr>
              <a:r>
                <a:rPr lang="pt-BR" sz="1600" dirty="0">
                  <a:solidFill>
                    <a:srgbClr val="6E7600"/>
                  </a:solidFill>
                  <a:latin typeface="Petrobras Sans"/>
                </a:rPr>
                <a:t>ONSHORE</a:t>
              </a:r>
            </a:p>
          </p:txBody>
        </p:sp>
      </p:grpSp>
      <p:sp>
        <p:nvSpPr>
          <p:cNvPr id="205" name="Espaço Reservado para Texto 1"/>
          <p:cNvSpPr txBox="1">
            <a:spLocks/>
          </p:cNvSpPr>
          <p:nvPr/>
        </p:nvSpPr>
        <p:spPr>
          <a:xfrm>
            <a:off x="512040" y="554100"/>
            <a:ext cx="9696262" cy="8120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60957" tIns="60957" rIns="60957" bIns="60957"/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Trebuchet MS" panose="020B0603020202020204" pitchFamily="34" charset="0"/>
                <a:ea typeface="Arial"/>
                <a:cs typeface="Arial"/>
                <a:sym typeface="Arial"/>
              </a:defRPr>
            </a:lvl1pPr>
            <a:lvl2pPr marL="45720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sz="2800" dirty="0">
                <a:latin typeface="+mn-lt"/>
                <a:ea typeface="+mn-ea"/>
                <a:cs typeface="+mn-cs"/>
              </a:rPr>
              <a:t>Brazilian gas production has followed oil production growth</a:t>
            </a:r>
          </a:p>
        </p:txBody>
      </p:sp>
      <p:sp>
        <p:nvSpPr>
          <p:cNvPr id="206" name="Retângulo 205">
            <a:extLst>
              <a:ext uri="{FF2B5EF4-FFF2-40B4-BE49-F238E27FC236}">
                <a16:creationId xmlns:a16="http://schemas.microsoft.com/office/drawing/2014/main" id="{DCA6FE93-2C6D-4A20-8332-9BFC1C3884DD}"/>
              </a:ext>
            </a:extLst>
          </p:cNvPr>
          <p:cNvSpPr/>
          <p:nvPr/>
        </p:nvSpPr>
        <p:spPr>
          <a:xfrm>
            <a:off x="9511568" y="6292088"/>
            <a:ext cx="2468767" cy="4829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53"/>
            <a:r>
              <a:rPr lang="pt-BR" sz="1320" dirty="0">
                <a:solidFill>
                  <a:srgbClr val="BCBDBC">
                    <a:lumMod val="25000"/>
                  </a:srgbClr>
                </a:solidFill>
                <a:latin typeface="Trebuchet MS"/>
                <a:cs typeface="Calibri"/>
                <a:sym typeface="Helvetica"/>
              </a:rPr>
              <a:t>Source: Petrobras PNG 20-24 </a:t>
            </a:r>
          </a:p>
        </p:txBody>
      </p:sp>
    </p:spTree>
    <p:extLst>
      <p:ext uri="{BB962C8B-B14F-4D97-AF65-F5344CB8AC3E}">
        <p14:creationId xmlns:p14="http://schemas.microsoft.com/office/powerpoint/2010/main" val="2801183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7" name="Picture 6" descr="Base_apresentação_IDE_PPT_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0224" y="22425"/>
            <a:ext cx="9494199" cy="682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3" descr="Image result for offshore platform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t="6050" r="19041" b="8112"/>
          <a:stretch/>
        </p:blipFill>
        <p:spPr bwMode="auto">
          <a:xfrm>
            <a:off x="2963319" y="5375292"/>
            <a:ext cx="714829" cy="616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reeform 11"/>
          <p:cNvSpPr/>
          <p:nvPr/>
        </p:nvSpPr>
        <p:spPr>
          <a:xfrm flipH="1">
            <a:off x="5310851" y="3600555"/>
            <a:ext cx="1156430" cy="1939329"/>
          </a:xfrm>
          <a:custGeom>
            <a:avLst/>
            <a:gdLst>
              <a:gd name="connsiteX0" fmla="*/ 533400 w 533400"/>
              <a:gd name="connsiteY0" fmla="*/ 168275 h 168275"/>
              <a:gd name="connsiteX1" fmla="*/ 0 w 533400"/>
              <a:gd name="connsiteY1" fmla="*/ 168275 h 168275"/>
              <a:gd name="connsiteX2" fmla="*/ 0 w 533400"/>
              <a:gd name="connsiteY2" fmla="*/ 0 h 168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" h="168275">
                <a:moveTo>
                  <a:pt x="533400" y="168275"/>
                </a:moveTo>
                <a:lnTo>
                  <a:pt x="0" y="168275"/>
                </a:lnTo>
                <a:lnTo>
                  <a:pt x="0" y="0"/>
                </a:lnTo>
              </a:path>
            </a:pathLst>
          </a:custGeom>
          <a:ln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12"/>
          <p:cNvSpPr/>
          <p:nvPr/>
        </p:nvSpPr>
        <p:spPr>
          <a:xfrm>
            <a:off x="1538974" y="4956812"/>
            <a:ext cx="6176874" cy="296419"/>
          </a:xfrm>
          <a:prstGeom prst="rect">
            <a:avLst/>
          </a:prstGeom>
          <a:solidFill>
            <a:schemeClr val="accent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National Production and Processing</a:t>
            </a:r>
          </a:p>
        </p:txBody>
      </p:sp>
      <p:grpSp>
        <p:nvGrpSpPr>
          <p:cNvPr id="9" name="Group 12"/>
          <p:cNvGrpSpPr/>
          <p:nvPr/>
        </p:nvGrpSpPr>
        <p:grpSpPr>
          <a:xfrm>
            <a:off x="4507882" y="1557744"/>
            <a:ext cx="2615777" cy="2443917"/>
            <a:chOff x="-32061150" y="-33575625"/>
            <a:chExt cx="74029888" cy="74010837"/>
          </a:xfrm>
          <a:solidFill>
            <a:srgbClr val="292929">
              <a:lumMod val="10000"/>
              <a:lumOff val="9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" name="Group 680"/>
            <p:cNvGrpSpPr/>
            <p:nvPr/>
          </p:nvGrpSpPr>
          <p:grpSpPr>
            <a:xfrm>
              <a:off x="35175825" y="-4899025"/>
              <a:ext cx="3433763" cy="4017963"/>
              <a:chOff x="35175825" y="-4899025"/>
              <a:chExt cx="3433763" cy="4017963"/>
            </a:xfrm>
            <a:grpFill/>
          </p:grpSpPr>
          <p:sp>
            <p:nvSpPr>
              <p:cNvPr id="132" name="Freeform 238"/>
              <p:cNvSpPr>
                <a:spLocks/>
              </p:cNvSpPr>
              <p:nvPr/>
            </p:nvSpPr>
            <p:spPr bwMode="auto">
              <a:xfrm>
                <a:off x="35175825" y="-4899025"/>
                <a:ext cx="3433763" cy="4017963"/>
              </a:xfrm>
              <a:custGeom>
                <a:avLst/>
                <a:gdLst/>
                <a:ahLst/>
                <a:cxnLst>
                  <a:cxn ang="0">
                    <a:pos x="333" y="166"/>
                  </a:cxn>
                  <a:cxn ang="0">
                    <a:pos x="333" y="368"/>
                  </a:cxn>
                  <a:cxn ang="0">
                    <a:pos x="404" y="582"/>
                  </a:cxn>
                  <a:cxn ang="0">
                    <a:pos x="523" y="642"/>
                  </a:cxn>
                  <a:cxn ang="0">
                    <a:pos x="595" y="808"/>
                  </a:cxn>
                  <a:cxn ang="0">
                    <a:pos x="595" y="998"/>
                  </a:cxn>
                  <a:cxn ang="0">
                    <a:pos x="511" y="1105"/>
                  </a:cxn>
                  <a:cxn ang="0">
                    <a:pos x="535" y="1390"/>
                  </a:cxn>
                  <a:cxn ang="0">
                    <a:pos x="464" y="1485"/>
                  </a:cxn>
                  <a:cxn ang="0">
                    <a:pos x="286" y="1545"/>
                  </a:cxn>
                  <a:cxn ang="0">
                    <a:pos x="167" y="1509"/>
                  </a:cxn>
                  <a:cxn ang="0">
                    <a:pos x="48" y="1533"/>
                  </a:cxn>
                  <a:cxn ang="0">
                    <a:pos x="48" y="1794"/>
                  </a:cxn>
                  <a:cxn ang="0">
                    <a:pos x="155" y="2032"/>
                  </a:cxn>
                  <a:cxn ang="0">
                    <a:pos x="274" y="2103"/>
                  </a:cxn>
                  <a:cxn ang="0">
                    <a:pos x="274" y="2293"/>
                  </a:cxn>
                  <a:cxn ang="0">
                    <a:pos x="404" y="2412"/>
                  </a:cxn>
                  <a:cxn ang="0">
                    <a:pos x="583" y="2531"/>
                  </a:cxn>
                  <a:cxn ang="0">
                    <a:pos x="690" y="2507"/>
                  </a:cxn>
                  <a:cxn ang="0">
                    <a:pos x="797" y="2507"/>
                  </a:cxn>
                  <a:cxn ang="0">
                    <a:pos x="927" y="2388"/>
                  </a:cxn>
                  <a:cxn ang="0">
                    <a:pos x="904" y="2305"/>
                  </a:cxn>
                  <a:cxn ang="0">
                    <a:pos x="951" y="2198"/>
                  </a:cxn>
                  <a:cxn ang="0">
                    <a:pos x="1070" y="2139"/>
                  </a:cxn>
                  <a:cxn ang="0">
                    <a:pos x="963" y="2341"/>
                  </a:cxn>
                  <a:cxn ang="0">
                    <a:pos x="1046" y="2329"/>
                  </a:cxn>
                  <a:cxn ang="0">
                    <a:pos x="1141" y="2151"/>
                  </a:cxn>
                  <a:cxn ang="0">
                    <a:pos x="1260" y="2044"/>
                  </a:cxn>
                  <a:cxn ang="0">
                    <a:pos x="1201" y="1996"/>
                  </a:cxn>
                  <a:cxn ang="0">
                    <a:pos x="1177" y="1949"/>
                  </a:cxn>
                  <a:cxn ang="0">
                    <a:pos x="1141" y="1901"/>
                  </a:cxn>
                  <a:cxn ang="0">
                    <a:pos x="1236" y="1925"/>
                  </a:cxn>
                  <a:cxn ang="0">
                    <a:pos x="1296" y="1889"/>
                  </a:cxn>
                  <a:cxn ang="0">
                    <a:pos x="1272" y="1961"/>
                  </a:cxn>
                  <a:cxn ang="0">
                    <a:pos x="1320" y="1961"/>
                  </a:cxn>
                  <a:cxn ang="0">
                    <a:pos x="1415" y="1842"/>
                  </a:cxn>
                  <a:cxn ang="0">
                    <a:pos x="1391" y="1770"/>
                  </a:cxn>
                  <a:cxn ang="0">
                    <a:pos x="1308" y="1664"/>
                  </a:cxn>
                  <a:cxn ang="0">
                    <a:pos x="1343" y="1628"/>
                  </a:cxn>
                  <a:cxn ang="0">
                    <a:pos x="1296" y="1557"/>
                  </a:cxn>
                  <a:cxn ang="0">
                    <a:pos x="1391" y="1628"/>
                  </a:cxn>
                  <a:cxn ang="0">
                    <a:pos x="1426" y="1687"/>
                  </a:cxn>
                  <a:cxn ang="0">
                    <a:pos x="1462" y="1664"/>
                  </a:cxn>
                  <a:cxn ang="0">
                    <a:pos x="1688" y="1497"/>
                  </a:cxn>
                  <a:cxn ang="0">
                    <a:pos x="2044" y="1366"/>
                  </a:cxn>
                  <a:cxn ang="0">
                    <a:pos x="1937" y="1378"/>
                  </a:cxn>
                  <a:cxn ang="0">
                    <a:pos x="2056" y="1307"/>
                  </a:cxn>
                  <a:cxn ang="0">
                    <a:pos x="2104" y="1343"/>
                  </a:cxn>
                  <a:cxn ang="0">
                    <a:pos x="2163" y="1283"/>
                  </a:cxn>
                  <a:cxn ang="0">
                    <a:pos x="2021" y="1176"/>
                  </a:cxn>
                  <a:cxn ang="0">
                    <a:pos x="1985" y="1105"/>
                  </a:cxn>
                  <a:cxn ang="0">
                    <a:pos x="1831" y="974"/>
                  </a:cxn>
                  <a:cxn ang="0">
                    <a:pos x="1569" y="808"/>
                  </a:cxn>
                  <a:cxn ang="0">
                    <a:pos x="1498" y="677"/>
                  </a:cxn>
                  <a:cxn ang="0">
                    <a:pos x="1248" y="535"/>
                  </a:cxn>
                  <a:cxn ang="0">
                    <a:pos x="1022" y="380"/>
                  </a:cxn>
                  <a:cxn ang="0">
                    <a:pos x="844" y="333"/>
                  </a:cxn>
                  <a:cxn ang="0">
                    <a:pos x="725" y="226"/>
                  </a:cxn>
                  <a:cxn ang="0">
                    <a:pos x="535" y="142"/>
                  </a:cxn>
                  <a:cxn ang="0">
                    <a:pos x="333" y="35"/>
                  </a:cxn>
                </a:cxnLst>
                <a:rect l="0" t="0" r="r" b="b"/>
                <a:pathLst>
                  <a:path w="2163" h="2531">
                    <a:moveTo>
                      <a:pt x="286" y="0"/>
                    </a:moveTo>
                    <a:lnTo>
                      <a:pt x="262" y="95"/>
                    </a:lnTo>
                    <a:lnTo>
                      <a:pt x="333" y="166"/>
                    </a:lnTo>
                    <a:lnTo>
                      <a:pt x="309" y="249"/>
                    </a:lnTo>
                    <a:lnTo>
                      <a:pt x="309" y="309"/>
                    </a:lnTo>
                    <a:lnTo>
                      <a:pt x="333" y="368"/>
                    </a:lnTo>
                    <a:lnTo>
                      <a:pt x="381" y="428"/>
                    </a:lnTo>
                    <a:lnTo>
                      <a:pt x="381" y="523"/>
                    </a:lnTo>
                    <a:lnTo>
                      <a:pt x="404" y="582"/>
                    </a:lnTo>
                    <a:lnTo>
                      <a:pt x="416" y="594"/>
                    </a:lnTo>
                    <a:lnTo>
                      <a:pt x="488" y="618"/>
                    </a:lnTo>
                    <a:lnTo>
                      <a:pt x="523" y="642"/>
                    </a:lnTo>
                    <a:lnTo>
                      <a:pt x="547" y="665"/>
                    </a:lnTo>
                    <a:lnTo>
                      <a:pt x="535" y="677"/>
                    </a:lnTo>
                    <a:lnTo>
                      <a:pt x="595" y="808"/>
                    </a:lnTo>
                    <a:lnTo>
                      <a:pt x="606" y="855"/>
                    </a:lnTo>
                    <a:lnTo>
                      <a:pt x="606" y="927"/>
                    </a:lnTo>
                    <a:lnTo>
                      <a:pt x="595" y="998"/>
                    </a:lnTo>
                    <a:lnTo>
                      <a:pt x="559" y="1046"/>
                    </a:lnTo>
                    <a:lnTo>
                      <a:pt x="523" y="1069"/>
                    </a:lnTo>
                    <a:lnTo>
                      <a:pt x="511" y="1105"/>
                    </a:lnTo>
                    <a:lnTo>
                      <a:pt x="535" y="1271"/>
                    </a:lnTo>
                    <a:lnTo>
                      <a:pt x="523" y="1331"/>
                    </a:lnTo>
                    <a:lnTo>
                      <a:pt x="535" y="1390"/>
                    </a:lnTo>
                    <a:lnTo>
                      <a:pt x="535" y="1438"/>
                    </a:lnTo>
                    <a:lnTo>
                      <a:pt x="488" y="1473"/>
                    </a:lnTo>
                    <a:lnTo>
                      <a:pt x="464" y="1485"/>
                    </a:lnTo>
                    <a:lnTo>
                      <a:pt x="393" y="1509"/>
                    </a:lnTo>
                    <a:lnTo>
                      <a:pt x="345" y="1545"/>
                    </a:lnTo>
                    <a:lnTo>
                      <a:pt x="286" y="1545"/>
                    </a:lnTo>
                    <a:lnTo>
                      <a:pt x="238" y="1521"/>
                    </a:lnTo>
                    <a:lnTo>
                      <a:pt x="202" y="1497"/>
                    </a:lnTo>
                    <a:lnTo>
                      <a:pt x="167" y="1509"/>
                    </a:lnTo>
                    <a:lnTo>
                      <a:pt x="143" y="1521"/>
                    </a:lnTo>
                    <a:lnTo>
                      <a:pt x="84" y="1521"/>
                    </a:lnTo>
                    <a:lnTo>
                      <a:pt x="48" y="1533"/>
                    </a:lnTo>
                    <a:lnTo>
                      <a:pt x="0" y="1652"/>
                    </a:lnTo>
                    <a:lnTo>
                      <a:pt x="24" y="1759"/>
                    </a:lnTo>
                    <a:lnTo>
                      <a:pt x="48" y="1794"/>
                    </a:lnTo>
                    <a:lnTo>
                      <a:pt x="131" y="1901"/>
                    </a:lnTo>
                    <a:lnTo>
                      <a:pt x="143" y="1937"/>
                    </a:lnTo>
                    <a:lnTo>
                      <a:pt x="155" y="2032"/>
                    </a:lnTo>
                    <a:lnTo>
                      <a:pt x="191" y="2056"/>
                    </a:lnTo>
                    <a:lnTo>
                      <a:pt x="262" y="2079"/>
                    </a:lnTo>
                    <a:lnTo>
                      <a:pt x="274" y="2103"/>
                    </a:lnTo>
                    <a:lnTo>
                      <a:pt x="274" y="2127"/>
                    </a:lnTo>
                    <a:lnTo>
                      <a:pt x="262" y="2246"/>
                    </a:lnTo>
                    <a:lnTo>
                      <a:pt x="274" y="2293"/>
                    </a:lnTo>
                    <a:lnTo>
                      <a:pt x="309" y="2317"/>
                    </a:lnTo>
                    <a:lnTo>
                      <a:pt x="381" y="2353"/>
                    </a:lnTo>
                    <a:lnTo>
                      <a:pt x="404" y="2412"/>
                    </a:lnTo>
                    <a:lnTo>
                      <a:pt x="440" y="2436"/>
                    </a:lnTo>
                    <a:lnTo>
                      <a:pt x="476" y="2484"/>
                    </a:lnTo>
                    <a:lnTo>
                      <a:pt x="583" y="2531"/>
                    </a:lnTo>
                    <a:lnTo>
                      <a:pt x="630" y="2531"/>
                    </a:lnTo>
                    <a:lnTo>
                      <a:pt x="666" y="2507"/>
                    </a:lnTo>
                    <a:lnTo>
                      <a:pt x="690" y="2507"/>
                    </a:lnTo>
                    <a:lnTo>
                      <a:pt x="761" y="2531"/>
                    </a:lnTo>
                    <a:lnTo>
                      <a:pt x="785" y="2531"/>
                    </a:lnTo>
                    <a:lnTo>
                      <a:pt x="797" y="2507"/>
                    </a:lnTo>
                    <a:lnTo>
                      <a:pt x="880" y="2484"/>
                    </a:lnTo>
                    <a:lnTo>
                      <a:pt x="939" y="2424"/>
                    </a:lnTo>
                    <a:lnTo>
                      <a:pt x="927" y="2388"/>
                    </a:lnTo>
                    <a:lnTo>
                      <a:pt x="927" y="2365"/>
                    </a:lnTo>
                    <a:lnTo>
                      <a:pt x="904" y="2317"/>
                    </a:lnTo>
                    <a:lnTo>
                      <a:pt x="904" y="2305"/>
                    </a:lnTo>
                    <a:lnTo>
                      <a:pt x="951" y="2281"/>
                    </a:lnTo>
                    <a:lnTo>
                      <a:pt x="963" y="2270"/>
                    </a:lnTo>
                    <a:lnTo>
                      <a:pt x="951" y="2198"/>
                    </a:lnTo>
                    <a:lnTo>
                      <a:pt x="1011" y="2198"/>
                    </a:lnTo>
                    <a:lnTo>
                      <a:pt x="1058" y="2139"/>
                    </a:lnTo>
                    <a:lnTo>
                      <a:pt x="1070" y="2139"/>
                    </a:lnTo>
                    <a:lnTo>
                      <a:pt x="1070" y="2175"/>
                    </a:lnTo>
                    <a:lnTo>
                      <a:pt x="975" y="2293"/>
                    </a:lnTo>
                    <a:lnTo>
                      <a:pt x="963" y="2341"/>
                    </a:lnTo>
                    <a:lnTo>
                      <a:pt x="975" y="2365"/>
                    </a:lnTo>
                    <a:lnTo>
                      <a:pt x="1022" y="2353"/>
                    </a:lnTo>
                    <a:lnTo>
                      <a:pt x="1046" y="2329"/>
                    </a:lnTo>
                    <a:lnTo>
                      <a:pt x="1082" y="2234"/>
                    </a:lnTo>
                    <a:lnTo>
                      <a:pt x="1117" y="2175"/>
                    </a:lnTo>
                    <a:lnTo>
                      <a:pt x="1141" y="2151"/>
                    </a:lnTo>
                    <a:lnTo>
                      <a:pt x="1213" y="2127"/>
                    </a:lnTo>
                    <a:lnTo>
                      <a:pt x="1272" y="2068"/>
                    </a:lnTo>
                    <a:lnTo>
                      <a:pt x="1260" y="2044"/>
                    </a:lnTo>
                    <a:lnTo>
                      <a:pt x="1236" y="2044"/>
                    </a:lnTo>
                    <a:lnTo>
                      <a:pt x="1224" y="2008"/>
                    </a:lnTo>
                    <a:lnTo>
                      <a:pt x="1201" y="1996"/>
                    </a:lnTo>
                    <a:lnTo>
                      <a:pt x="1177" y="1984"/>
                    </a:lnTo>
                    <a:lnTo>
                      <a:pt x="1189" y="1961"/>
                    </a:lnTo>
                    <a:lnTo>
                      <a:pt x="1177" y="1949"/>
                    </a:lnTo>
                    <a:lnTo>
                      <a:pt x="1129" y="1925"/>
                    </a:lnTo>
                    <a:lnTo>
                      <a:pt x="1117" y="1913"/>
                    </a:lnTo>
                    <a:lnTo>
                      <a:pt x="1141" y="1901"/>
                    </a:lnTo>
                    <a:lnTo>
                      <a:pt x="1165" y="1901"/>
                    </a:lnTo>
                    <a:lnTo>
                      <a:pt x="1201" y="1925"/>
                    </a:lnTo>
                    <a:lnTo>
                      <a:pt x="1236" y="1925"/>
                    </a:lnTo>
                    <a:lnTo>
                      <a:pt x="1260" y="1913"/>
                    </a:lnTo>
                    <a:lnTo>
                      <a:pt x="1272" y="1889"/>
                    </a:lnTo>
                    <a:lnTo>
                      <a:pt x="1296" y="1889"/>
                    </a:lnTo>
                    <a:lnTo>
                      <a:pt x="1296" y="1901"/>
                    </a:lnTo>
                    <a:lnTo>
                      <a:pt x="1272" y="1925"/>
                    </a:lnTo>
                    <a:lnTo>
                      <a:pt x="1272" y="1961"/>
                    </a:lnTo>
                    <a:lnTo>
                      <a:pt x="1272" y="1973"/>
                    </a:lnTo>
                    <a:lnTo>
                      <a:pt x="1296" y="1973"/>
                    </a:lnTo>
                    <a:lnTo>
                      <a:pt x="1320" y="1961"/>
                    </a:lnTo>
                    <a:lnTo>
                      <a:pt x="1355" y="1889"/>
                    </a:lnTo>
                    <a:lnTo>
                      <a:pt x="1403" y="1854"/>
                    </a:lnTo>
                    <a:lnTo>
                      <a:pt x="1415" y="1842"/>
                    </a:lnTo>
                    <a:lnTo>
                      <a:pt x="1415" y="1818"/>
                    </a:lnTo>
                    <a:lnTo>
                      <a:pt x="1379" y="1806"/>
                    </a:lnTo>
                    <a:lnTo>
                      <a:pt x="1391" y="1770"/>
                    </a:lnTo>
                    <a:lnTo>
                      <a:pt x="1391" y="1735"/>
                    </a:lnTo>
                    <a:lnTo>
                      <a:pt x="1308" y="1687"/>
                    </a:lnTo>
                    <a:lnTo>
                      <a:pt x="1308" y="1664"/>
                    </a:lnTo>
                    <a:lnTo>
                      <a:pt x="1308" y="1652"/>
                    </a:lnTo>
                    <a:lnTo>
                      <a:pt x="1331" y="1640"/>
                    </a:lnTo>
                    <a:lnTo>
                      <a:pt x="1343" y="1628"/>
                    </a:lnTo>
                    <a:lnTo>
                      <a:pt x="1331" y="1604"/>
                    </a:lnTo>
                    <a:lnTo>
                      <a:pt x="1296" y="1580"/>
                    </a:lnTo>
                    <a:lnTo>
                      <a:pt x="1296" y="1557"/>
                    </a:lnTo>
                    <a:lnTo>
                      <a:pt x="1331" y="1568"/>
                    </a:lnTo>
                    <a:lnTo>
                      <a:pt x="1391" y="1580"/>
                    </a:lnTo>
                    <a:lnTo>
                      <a:pt x="1391" y="1628"/>
                    </a:lnTo>
                    <a:lnTo>
                      <a:pt x="1403" y="1640"/>
                    </a:lnTo>
                    <a:lnTo>
                      <a:pt x="1438" y="1664"/>
                    </a:lnTo>
                    <a:lnTo>
                      <a:pt x="1426" y="1687"/>
                    </a:lnTo>
                    <a:lnTo>
                      <a:pt x="1438" y="1687"/>
                    </a:lnTo>
                    <a:lnTo>
                      <a:pt x="1462" y="1675"/>
                    </a:lnTo>
                    <a:lnTo>
                      <a:pt x="1462" y="1664"/>
                    </a:lnTo>
                    <a:lnTo>
                      <a:pt x="1510" y="1604"/>
                    </a:lnTo>
                    <a:lnTo>
                      <a:pt x="1652" y="1533"/>
                    </a:lnTo>
                    <a:lnTo>
                      <a:pt x="1688" y="1497"/>
                    </a:lnTo>
                    <a:lnTo>
                      <a:pt x="1819" y="1438"/>
                    </a:lnTo>
                    <a:lnTo>
                      <a:pt x="2033" y="1378"/>
                    </a:lnTo>
                    <a:lnTo>
                      <a:pt x="2044" y="1366"/>
                    </a:lnTo>
                    <a:lnTo>
                      <a:pt x="2044" y="1355"/>
                    </a:lnTo>
                    <a:lnTo>
                      <a:pt x="1949" y="1378"/>
                    </a:lnTo>
                    <a:lnTo>
                      <a:pt x="1937" y="1378"/>
                    </a:lnTo>
                    <a:lnTo>
                      <a:pt x="1937" y="1366"/>
                    </a:lnTo>
                    <a:lnTo>
                      <a:pt x="2009" y="1355"/>
                    </a:lnTo>
                    <a:lnTo>
                      <a:pt x="2056" y="1307"/>
                    </a:lnTo>
                    <a:lnTo>
                      <a:pt x="2080" y="1319"/>
                    </a:lnTo>
                    <a:lnTo>
                      <a:pt x="2092" y="1343"/>
                    </a:lnTo>
                    <a:lnTo>
                      <a:pt x="2104" y="1343"/>
                    </a:lnTo>
                    <a:lnTo>
                      <a:pt x="2139" y="1331"/>
                    </a:lnTo>
                    <a:lnTo>
                      <a:pt x="2163" y="1319"/>
                    </a:lnTo>
                    <a:lnTo>
                      <a:pt x="2163" y="1283"/>
                    </a:lnTo>
                    <a:lnTo>
                      <a:pt x="2151" y="1224"/>
                    </a:lnTo>
                    <a:lnTo>
                      <a:pt x="2104" y="1200"/>
                    </a:lnTo>
                    <a:lnTo>
                      <a:pt x="2021" y="1176"/>
                    </a:lnTo>
                    <a:lnTo>
                      <a:pt x="1997" y="1164"/>
                    </a:lnTo>
                    <a:lnTo>
                      <a:pt x="1985" y="1129"/>
                    </a:lnTo>
                    <a:lnTo>
                      <a:pt x="1985" y="1105"/>
                    </a:lnTo>
                    <a:lnTo>
                      <a:pt x="1961" y="1034"/>
                    </a:lnTo>
                    <a:lnTo>
                      <a:pt x="1914" y="998"/>
                    </a:lnTo>
                    <a:lnTo>
                      <a:pt x="1831" y="974"/>
                    </a:lnTo>
                    <a:lnTo>
                      <a:pt x="1771" y="939"/>
                    </a:lnTo>
                    <a:lnTo>
                      <a:pt x="1700" y="915"/>
                    </a:lnTo>
                    <a:lnTo>
                      <a:pt x="1569" y="808"/>
                    </a:lnTo>
                    <a:lnTo>
                      <a:pt x="1545" y="725"/>
                    </a:lnTo>
                    <a:lnTo>
                      <a:pt x="1533" y="689"/>
                    </a:lnTo>
                    <a:lnTo>
                      <a:pt x="1498" y="677"/>
                    </a:lnTo>
                    <a:lnTo>
                      <a:pt x="1415" y="642"/>
                    </a:lnTo>
                    <a:lnTo>
                      <a:pt x="1343" y="582"/>
                    </a:lnTo>
                    <a:lnTo>
                      <a:pt x="1248" y="535"/>
                    </a:lnTo>
                    <a:lnTo>
                      <a:pt x="1177" y="475"/>
                    </a:lnTo>
                    <a:lnTo>
                      <a:pt x="1106" y="440"/>
                    </a:lnTo>
                    <a:lnTo>
                      <a:pt x="1022" y="380"/>
                    </a:lnTo>
                    <a:lnTo>
                      <a:pt x="987" y="368"/>
                    </a:lnTo>
                    <a:lnTo>
                      <a:pt x="904" y="356"/>
                    </a:lnTo>
                    <a:lnTo>
                      <a:pt x="844" y="333"/>
                    </a:lnTo>
                    <a:lnTo>
                      <a:pt x="785" y="297"/>
                    </a:lnTo>
                    <a:lnTo>
                      <a:pt x="749" y="261"/>
                    </a:lnTo>
                    <a:lnTo>
                      <a:pt x="725" y="226"/>
                    </a:lnTo>
                    <a:lnTo>
                      <a:pt x="666" y="202"/>
                    </a:lnTo>
                    <a:lnTo>
                      <a:pt x="595" y="190"/>
                    </a:lnTo>
                    <a:lnTo>
                      <a:pt x="535" y="142"/>
                    </a:lnTo>
                    <a:lnTo>
                      <a:pt x="500" y="95"/>
                    </a:lnTo>
                    <a:lnTo>
                      <a:pt x="393" y="59"/>
                    </a:lnTo>
                    <a:lnTo>
                      <a:pt x="333" y="35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rgbClr val="EAEAEA"/>
              </a:solidFill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33" name="Freeform 240"/>
              <p:cNvSpPr>
                <a:spLocks/>
              </p:cNvSpPr>
              <p:nvPr/>
            </p:nvSpPr>
            <p:spPr bwMode="auto">
              <a:xfrm>
                <a:off x="37439600" y="-2371725"/>
                <a:ext cx="284163" cy="282575"/>
              </a:xfrm>
              <a:custGeom>
                <a:avLst/>
                <a:gdLst/>
                <a:ahLst/>
                <a:cxnLst>
                  <a:cxn ang="0">
                    <a:pos x="0" y="155"/>
                  </a:cxn>
                  <a:cxn ang="0">
                    <a:pos x="60" y="83"/>
                  </a:cxn>
                  <a:cxn ang="0">
                    <a:pos x="72" y="60"/>
                  </a:cxn>
                  <a:cxn ang="0">
                    <a:pos x="131" y="12"/>
                  </a:cxn>
                  <a:cxn ang="0">
                    <a:pos x="179" y="0"/>
                  </a:cxn>
                  <a:cxn ang="0">
                    <a:pos x="179" y="12"/>
                  </a:cxn>
                  <a:cxn ang="0">
                    <a:pos x="167" y="36"/>
                  </a:cxn>
                  <a:cxn ang="0">
                    <a:pos x="84" y="83"/>
                  </a:cxn>
                  <a:cxn ang="0">
                    <a:pos x="48" y="143"/>
                  </a:cxn>
                  <a:cxn ang="0">
                    <a:pos x="24" y="178"/>
                  </a:cxn>
                  <a:cxn ang="0">
                    <a:pos x="0" y="178"/>
                  </a:cxn>
                  <a:cxn ang="0">
                    <a:pos x="0" y="155"/>
                  </a:cxn>
                </a:cxnLst>
                <a:rect l="0" t="0" r="r" b="b"/>
                <a:pathLst>
                  <a:path w="179" h="178">
                    <a:moveTo>
                      <a:pt x="0" y="155"/>
                    </a:moveTo>
                    <a:lnTo>
                      <a:pt x="60" y="83"/>
                    </a:lnTo>
                    <a:lnTo>
                      <a:pt x="72" y="60"/>
                    </a:lnTo>
                    <a:lnTo>
                      <a:pt x="131" y="12"/>
                    </a:lnTo>
                    <a:lnTo>
                      <a:pt x="179" y="0"/>
                    </a:lnTo>
                    <a:lnTo>
                      <a:pt x="179" y="12"/>
                    </a:lnTo>
                    <a:lnTo>
                      <a:pt x="167" y="36"/>
                    </a:lnTo>
                    <a:lnTo>
                      <a:pt x="84" y="83"/>
                    </a:lnTo>
                    <a:lnTo>
                      <a:pt x="48" y="143"/>
                    </a:lnTo>
                    <a:lnTo>
                      <a:pt x="24" y="178"/>
                    </a:lnTo>
                    <a:lnTo>
                      <a:pt x="0" y="178"/>
                    </a:lnTo>
                    <a:lnTo>
                      <a:pt x="0" y="15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</p:grpSp>
        <p:sp>
          <p:nvSpPr>
            <p:cNvPr id="11" name="Freeform 242"/>
            <p:cNvSpPr>
              <a:spLocks/>
            </p:cNvSpPr>
            <p:nvPr/>
          </p:nvSpPr>
          <p:spPr bwMode="auto">
            <a:xfrm>
              <a:off x="35271075" y="-6162675"/>
              <a:ext cx="5903913" cy="3281363"/>
            </a:xfrm>
            <a:custGeom>
              <a:avLst/>
              <a:gdLst/>
              <a:ahLst/>
              <a:cxnLst>
                <a:cxn ang="0">
                  <a:pos x="2127" y="2067"/>
                </a:cxn>
                <a:cxn ang="0">
                  <a:pos x="2270" y="1853"/>
                </a:cxn>
                <a:cxn ang="0">
                  <a:pos x="2436" y="1711"/>
                </a:cxn>
                <a:cxn ang="0">
                  <a:pos x="2590" y="1604"/>
                </a:cxn>
                <a:cxn ang="0">
                  <a:pos x="2733" y="1438"/>
                </a:cxn>
                <a:cxn ang="0">
                  <a:pos x="2709" y="1366"/>
                </a:cxn>
                <a:cxn ang="0">
                  <a:pos x="2674" y="1331"/>
                </a:cxn>
                <a:cxn ang="0">
                  <a:pos x="2757" y="1366"/>
                </a:cxn>
                <a:cxn ang="0">
                  <a:pos x="2864" y="1236"/>
                </a:cxn>
                <a:cxn ang="0">
                  <a:pos x="2899" y="1176"/>
                </a:cxn>
                <a:cxn ang="0">
                  <a:pos x="2923" y="1212"/>
                </a:cxn>
                <a:cxn ang="0">
                  <a:pos x="3113" y="1045"/>
                </a:cxn>
                <a:cxn ang="0">
                  <a:pos x="3292" y="843"/>
                </a:cxn>
                <a:cxn ang="0">
                  <a:pos x="3422" y="736"/>
                </a:cxn>
                <a:cxn ang="0">
                  <a:pos x="3494" y="641"/>
                </a:cxn>
                <a:cxn ang="0">
                  <a:pos x="3613" y="451"/>
                </a:cxn>
                <a:cxn ang="0">
                  <a:pos x="3719" y="225"/>
                </a:cxn>
                <a:cxn ang="0">
                  <a:pos x="3672" y="178"/>
                </a:cxn>
                <a:cxn ang="0">
                  <a:pos x="3589" y="190"/>
                </a:cxn>
                <a:cxn ang="0">
                  <a:pos x="3446" y="154"/>
                </a:cxn>
                <a:cxn ang="0">
                  <a:pos x="3280" y="107"/>
                </a:cxn>
                <a:cxn ang="0">
                  <a:pos x="3078" y="190"/>
                </a:cxn>
                <a:cxn ang="0">
                  <a:pos x="2959" y="190"/>
                </a:cxn>
                <a:cxn ang="0">
                  <a:pos x="2626" y="202"/>
                </a:cxn>
                <a:cxn ang="0">
                  <a:pos x="2531" y="344"/>
                </a:cxn>
                <a:cxn ang="0">
                  <a:pos x="2388" y="463"/>
                </a:cxn>
                <a:cxn ang="0">
                  <a:pos x="2246" y="582"/>
                </a:cxn>
                <a:cxn ang="0">
                  <a:pos x="2068" y="618"/>
                </a:cxn>
                <a:cxn ang="0">
                  <a:pos x="1961" y="724"/>
                </a:cxn>
                <a:cxn ang="0">
                  <a:pos x="1640" y="618"/>
                </a:cxn>
                <a:cxn ang="0">
                  <a:pos x="1545" y="724"/>
                </a:cxn>
                <a:cxn ang="0">
                  <a:pos x="1414" y="606"/>
                </a:cxn>
                <a:cxn ang="0">
                  <a:pos x="1343" y="570"/>
                </a:cxn>
                <a:cxn ang="0">
                  <a:pos x="1212" y="511"/>
                </a:cxn>
                <a:cxn ang="0">
                  <a:pos x="962" y="237"/>
                </a:cxn>
                <a:cxn ang="0">
                  <a:pos x="796" y="237"/>
                </a:cxn>
                <a:cxn ang="0">
                  <a:pos x="665" y="95"/>
                </a:cxn>
                <a:cxn ang="0">
                  <a:pos x="546" y="35"/>
                </a:cxn>
                <a:cxn ang="0">
                  <a:pos x="487" y="178"/>
                </a:cxn>
                <a:cxn ang="0">
                  <a:pos x="273" y="380"/>
                </a:cxn>
                <a:cxn ang="0">
                  <a:pos x="12" y="594"/>
                </a:cxn>
                <a:cxn ang="0">
                  <a:pos x="59" y="689"/>
                </a:cxn>
                <a:cxn ang="0">
                  <a:pos x="178" y="772"/>
                </a:cxn>
                <a:cxn ang="0">
                  <a:pos x="273" y="831"/>
                </a:cxn>
                <a:cxn ang="0">
                  <a:pos x="535" y="986"/>
                </a:cxn>
                <a:cxn ang="0">
                  <a:pos x="725" y="1093"/>
                </a:cxn>
                <a:cxn ang="0">
                  <a:pos x="962" y="1176"/>
                </a:cxn>
                <a:cxn ang="0">
                  <a:pos x="1283" y="1378"/>
                </a:cxn>
                <a:cxn ang="0">
                  <a:pos x="1485" y="1521"/>
                </a:cxn>
                <a:cxn ang="0">
                  <a:pos x="1771" y="1770"/>
                </a:cxn>
                <a:cxn ang="0">
                  <a:pos x="1925" y="1925"/>
                </a:cxn>
                <a:cxn ang="0">
                  <a:pos x="2091" y="2020"/>
                </a:cxn>
              </a:cxnLst>
              <a:rect l="0" t="0" r="r" b="b"/>
              <a:pathLst>
                <a:path w="3719" h="2067">
                  <a:moveTo>
                    <a:pt x="2091" y="2020"/>
                  </a:moveTo>
                  <a:lnTo>
                    <a:pt x="2103" y="2020"/>
                  </a:lnTo>
                  <a:lnTo>
                    <a:pt x="2103" y="2055"/>
                  </a:lnTo>
                  <a:lnTo>
                    <a:pt x="2127" y="2067"/>
                  </a:lnTo>
                  <a:lnTo>
                    <a:pt x="2175" y="2008"/>
                  </a:lnTo>
                  <a:lnTo>
                    <a:pt x="2246" y="1949"/>
                  </a:lnTo>
                  <a:lnTo>
                    <a:pt x="2258" y="1877"/>
                  </a:lnTo>
                  <a:lnTo>
                    <a:pt x="2270" y="1853"/>
                  </a:lnTo>
                  <a:lnTo>
                    <a:pt x="2329" y="1794"/>
                  </a:lnTo>
                  <a:lnTo>
                    <a:pt x="2388" y="1711"/>
                  </a:lnTo>
                  <a:lnTo>
                    <a:pt x="2424" y="1711"/>
                  </a:lnTo>
                  <a:lnTo>
                    <a:pt x="2436" y="1711"/>
                  </a:lnTo>
                  <a:lnTo>
                    <a:pt x="2460" y="1699"/>
                  </a:lnTo>
                  <a:lnTo>
                    <a:pt x="2507" y="1651"/>
                  </a:lnTo>
                  <a:lnTo>
                    <a:pt x="2567" y="1628"/>
                  </a:lnTo>
                  <a:lnTo>
                    <a:pt x="2590" y="1604"/>
                  </a:lnTo>
                  <a:lnTo>
                    <a:pt x="2638" y="1509"/>
                  </a:lnTo>
                  <a:lnTo>
                    <a:pt x="2686" y="1473"/>
                  </a:lnTo>
                  <a:lnTo>
                    <a:pt x="2709" y="1449"/>
                  </a:lnTo>
                  <a:lnTo>
                    <a:pt x="2733" y="1438"/>
                  </a:lnTo>
                  <a:lnTo>
                    <a:pt x="2745" y="1426"/>
                  </a:lnTo>
                  <a:lnTo>
                    <a:pt x="2757" y="1390"/>
                  </a:lnTo>
                  <a:lnTo>
                    <a:pt x="2733" y="1366"/>
                  </a:lnTo>
                  <a:lnTo>
                    <a:pt x="2709" y="1366"/>
                  </a:lnTo>
                  <a:lnTo>
                    <a:pt x="2686" y="1366"/>
                  </a:lnTo>
                  <a:lnTo>
                    <a:pt x="2662" y="1366"/>
                  </a:lnTo>
                  <a:lnTo>
                    <a:pt x="2662" y="1354"/>
                  </a:lnTo>
                  <a:lnTo>
                    <a:pt x="2674" y="1331"/>
                  </a:lnTo>
                  <a:lnTo>
                    <a:pt x="2697" y="1342"/>
                  </a:lnTo>
                  <a:lnTo>
                    <a:pt x="2721" y="1342"/>
                  </a:lnTo>
                  <a:lnTo>
                    <a:pt x="2733" y="1354"/>
                  </a:lnTo>
                  <a:lnTo>
                    <a:pt x="2757" y="1366"/>
                  </a:lnTo>
                  <a:lnTo>
                    <a:pt x="2781" y="1354"/>
                  </a:lnTo>
                  <a:lnTo>
                    <a:pt x="2804" y="1319"/>
                  </a:lnTo>
                  <a:lnTo>
                    <a:pt x="2876" y="1259"/>
                  </a:lnTo>
                  <a:lnTo>
                    <a:pt x="2864" y="1236"/>
                  </a:lnTo>
                  <a:lnTo>
                    <a:pt x="2804" y="1259"/>
                  </a:lnTo>
                  <a:lnTo>
                    <a:pt x="2804" y="1236"/>
                  </a:lnTo>
                  <a:lnTo>
                    <a:pt x="2852" y="1212"/>
                  </a:lnTo>
                  <a:lnTo>
                    <a:pt x="2899" y="1176"/>
                  </a:lnTo>
                  <a:lnTo>
                    <a:pt x="2911" y="1152"/>
                  </a:lnTo>
                  <a:lnTo>
                    <a:pt x="2923" y="1152"/>
                  </a:lnTo>
                  <a:lnTo>
                    <a:pt x="2911" y="1200"/>
                  </a:lnTo>
                  <a:lnTo>
                    <a:pt x="2923" y="1212"/>
                  </a:lnTo>
                  <a:lnTo>
                    <a:pt x="3018" y="1200"/>
                  </a:lnTo>
                  <a:lnTo>
                    <a:pt x="3030" y="1188"/>
                  </a:lnTo>
                  <a:lnTo>
                    <a:pt x="3042" y="1140"/>
                  </a:lnTo>
                  <a:lnTo>
                    <a:pt x="3113" y="1045"/>
                  </a:lnTo>
                  <a:lnTo>
                    <a:pt x="3232" y="927"/>
                  </a:lnTo>
                  <a:lnTo>
                    <a:pt x="3244" y="855"/>
                  </a:lnTo>
                  <a:lnTo>
                    <a:pt x="3280" y="855"/>
                  </a:lnTo>
                  <a:lnTo>
                    <a:pt x="3292" y="843"/>
                  </a:lnTo>
                  <a:lnTo>
                    <a:pt x="3327" y="808"/>
                  </a:lnTo>
                  <a:lnTo>
                    <a:pt x="3351" y="772"/>
                  </a:lnTo>
                  <a:lnTo>
                    <a:pt x="3399" y="748"/>
                  </a:lnTo>
                  <a:lnTo>
                    <a:pt x="3422" y="736"/>
                  </a:lnTo>
                  <a:lnTo>
                    <a:pt x="3446" y="713"/>
                  </a:lnTo>
                  <a:lnTo>
                    <a:pt x="3458" y="689"/>
                  </a:lnTo>
                  <a:lnTo>
                    <a:pt x="3470" y="665"/>
                  </a:lnTo>
                  <a:lnTo>
                    <a:pt x="3494" y="641"/>
                  </a:lnTo>
                  <a:lnTo>
                    <a:pt x="3506" y="629"/>
                  </a:lnTo>
                  <a:lnTo>
                    <a:pt x="3517" y="606"/>
                  </a:lnTo>
                  <a:lnTo>
                    <a:pt x="3553" y="534"/>
                  </a:lnTo>
                  <a:lnTo>
                    <a:pt x="3613" y="451"/>
                  </a:lnTo>
                  <a:lnTo>
                    <a:pt x="3660" y="380"/>
                  </a:lnTo>
                  <a:lnTo>
                    <a:pt x="3696" y="332"/>
                  </a:lnTo>
                  <a:lnTo>
                    <a:pt x="3719" y="273"/>
                  </a:lnTo>
                  <a:lnTo>
                    <a:pt x="3719" y="225"/>
                  </a:lnTo>
                  <a:lnTo>
                    <a:pt x="3719" y="178"/>
                  </a:lnTo>
                  <a:lnTo>
                    <a:pt x="3696" y="166"/>
                  </a:lnTo>
                  <a:lnTo>
                    <a:pt x="3684" y="166"/>
                  </a:lnTo>
                  <a:lnTo>
                    <a:pt x="3672" y="178"/>
                  </a:lnTo>
                  <a:lnTo>
                    <a:pt x="3648" y="178"/>
                  </a:lnTo>
                  <a:lnTo>
                    <a:pt x="3636" y="166"/>
                  </a:lnTo>
                  <a:lnTo>
                    <a:pt x="3613" y="154"/>
                  </a:lnTo>
                  <a:lnTo>
                    <a:pt x="3589" y="190"/>
                  </a:lnTo>
                  <a:lnTo>
                    <a:pt x="3529" y="178"/>
                  </a:lnTo>
                  <a:lnTo>
                    <a:pt x="3470" y="166"/>
                  </a:lnTo>
                  <a:lnTo>
                    <a:pt x="3458" y="154"/>
                  </a:lnTo>
                  <a:lnTo>
                    <a:pt x="3446" y="154"/>
                  </a:lnTo>
                  <a:lnTo>
                    <a:pt x="3434" y="142"/>
                  </a:lnTo>
                  <a:lnTo>
                    <a:pt x="3327" y="95"/>
                  </a:lnTo>
                  <a:lnTo>
                    <a:pt x="3327" y="107"/>
                  </a:lnTo>
                  <a:lnTo>
                    <a:pt x="3280" y="107"/>
                  </a:lnTo>
                  <a:lnTo>
                    <a:pt x="3220" y="130"/>
                  </a:lnTo>
                  <a:lnTo>
                    <a:pt x="3161" y="166"/>
                  </a:lnTo>
                  <a:lnTo>
                    <a:pt x="3113" y="190"/>
                  </a:lnTo>
                  <a:lnTo>
                    <a:pt x="3078" y="190"/>
                  </a:lnTo>
                  <a:lnTo>
                    <a:pt x="3054" y="190"/>
                  </a:lnTo>
                  <a:lnTo>
                    <a:pt x="3030" y="202"/>
                  </a:lnTo>
                  <a:lnTo>
                    <a:pt x="2983" y="190"/>
                  </a:lnTo>
                  <a:lnTo>
                    <a:pt x="2959" y="190"/>
                  </a:lnTo>
                  <a:lnTo>
                    <a:pt x="2935" y="166"/>
                  </a:lnTo>
                  <a:lnTo>
                    <a:pt x="2852" y="154"/>
                  </a:lnTo>
                  <a:lnTo>
                    <a:pt x="2745" y="190"/>
                  </a:lnTo>
                  <a:lnTo>
                    <a:pt x="2626" y="202"/>
                  </a:lnTo>
                  <a:lnTo>
                    <a:pt x="2590" y="225"/>
                  </a:lnTo>
                  <a:lnTo>
                    <a:pt x="2567" y="249"/>
                  </a:lnTo>
                  <a:lnTo>
                    <a:pt x="2543" y="273"/>
                  </a:lnTo>
                  <a:lnTo>
                    <a:pt x="2531" y="344"/>
                  </a:lnTo>
                  <a:lnTo>
                    <a:pt x="2495" y="392"/>
                  </a:lnTo>
                  <a:lnTo>
                    <a:pt x="2472" y="416"/>
                  </a:lnTo>
                  <a:lnTo>
                    <a:pt x="2412" y="439"/>
                  </a:lnTo>
                  <a:lnTo>
                    <a:pt x="2388" y="463"/>
                  </a:lnTo>
                  <a:lnTo>
                    <a:pt x="2353" y="511"/>
                  </a:lnTo>
                  <a:lnTo>
                    <a:pt x="2293" y="522"/>
                  </a:lnTo>
                  <a:lnTo>
                    <a:pt x="2293" y="534"/>
                  </a:lnTo>
                  <a:lnTo>
                    <a:pt x="2246" y="582"/>
                  </a:lnTo>
                  <a:lnTo>
                    <a:pt x="2210" y="606"/>
                  </a:lnTo>
                  <a:lnTo>
                    <a:pt x="2186" y="594"/>
                  </a:lnTo>
                  <a:lnTo>
                    <a:pt x="2079" y="606"/>
                  </a:lnTo>
                  <a:lnTo>
                    <a:pt x="2068" y="618"/>
                  </a:lnTo>
                  <a:lnTo>
                    <a:pt x="2044" y="665"/>
                  </a:lnTo>
                  <a:lnTo>
                    <a:pt x="1996" y="701"/>
                  </a:lnTo>
                  <a:lnTo>
                    <a:pt x="1961" y="701"/>
                  </a:lnTo>
                  <a:lnTo>
                    <a:pt x="1961" y="724"/>
                  </a:lnTo>
                  <a:lnTo>
                    <a:pt x="1901" y="689"/>
                  </a:lnTo>
                  <a:lnTo>
                    <a:pt x="1818" y="629"/>
                  </a:lnTo>
                  <a:lnTo>
                    <a:pt x="1687" y="606"/>
                  </a:lnTo>
                  <a:lnTo>
                    <a:pt x="1640" y="618"/>
                  </a:lnTo>
                  <a:lnTo>
                    <a:pt x="1592" y="677"/>
                  </a:lnTo>
                  <a:lnTo>
                    <a:pt x="1580" y="713"/>
                  </a:lnTo>
                  <a:lnTo>
                    <a:pt x="1568" y="724"/>
                  </a:lnTo>
                  <a:lnTo>
                    <a:pt x="1545" y="724"/>
                  </a:lnTo>
                  <a:lnTo>
                    <a:pt x="1509" y="689"/>
                  </a:lnTo>
                  <a:lnTo>
                    <a:pt x="1462" y="665"/>
                  </a:lnTo>
                  <a:lnTo>
                    <a:pt x="1426" y="618"/>
                  </a:lnTo>
                  <a:lnTo>
                    <a:pt x="1414" y="606"/>
                  </a:lnTo>
                  <a:lnTo>
                    <a:pt x="1414" y="558"/>
                  </a:lnTo>
                  <a:lnTo>
                    <a:pt x="1402" y="546"/>
                  </a:lnTo>
                  <a:lnTo>
                    <a:pt x="1355" y="546"/>
                  </a:lnTo>
                  <a:lnTo>
                    <a:pt x="1343" y="570"/>
                  </a:lnTo>
                  <a:lnTo>
                    <a:pt x="1331" y="582"/>
                  </a:lnTo>
                  <a:lnTo>
                    <a:pt x="1295" y="582"/>
                  </a:lnTo>
                  <a:lnTo>
                    <a:pt x="1248" y="558"/>
                  </a:lnTo>
                  <a:lnTo>
                    <a:pt x="1212" y="511"/>
                  </a:lnTo>
                  <a:lnTo>
                    <a:pt x="1164" y="380"/>
                  </a:lnTo>
                  <a:lnTo>
                    <a:pt x="1117" y="332"/>
                  </a:lnTo>
                  <a:lnTo>
                    <a:pt x="1010" y="285"/>
                  </a:lnTo>
                  <a:lnTo>
                    <a:pt x="962" y="237"/>
                  </a:lnTo>
                  <a:lnTo>
                    <a:pt x="927" y="213"/>
                  </a:lnTo>
                  <a:lnTo>
                    <a:pt x="903" y="213"/>
                  </a:lnTo>
                  <a:lnTo>
                    <a:pt x="867" y="213"/>
                  </a:lnTo>
                  <a:lnTo>
                    <a:pt x="796" y="237"/>
                  </a:lnTo>
                  <a:lnTo>
                    <a:pt x="749" y="213"/>
                  </a:lnTo>
                  <a:lnTo>
                    <a:pt x="725" y="202"/>
                  </a:lnTo>
                  <a:lnTo>
                    <a:pt x="689" y="130"/>
                  </a:lnTo>
                  <a:lnTo>
                    <a:pt x="665" y="95"/>
                  </a:lnTo>
                  <a:lnTo>
                    <a:pt x="630" y="59"/>
                  </a:lnTo>
                  <a:lnTo>
                    <a:pt x="606" y="11"/>
                  </a:lnTo>
                  <a:lnTo>
                    <a:pt x="582" y="0"/>
                  </a:lnTo>
                  <a:lnTo>
                    <a:pt x="546" y="35"/>
                  </a:lnTo>
                  <a:lnTo>
                    <a:pt x="535" y="59"/>
                  </a:lnTo>
                  <a:lnTo>
                    <a:pt x="523" y="95"/>
                  </a:lnTo>
                  <a:lnTo>
                    <a:pt x="511" y="130"/>
                  </a:lnTo>
                  <a:lnTo>
                    <a:pt x="487" y="178"/>
                  </a:lnTo>
                  <a:lnTo>
                    <a:pt x="451" y="225"/>
                  </a:lnTo>
                  <a:lnTo>
                    <a:pt x="392" y="261"/>
                  </a:lnTo>
                  <a:lnTo>
                    <a:pt x="333" y="332"/>
                  </a:lnTo>
                  <a:lnTo>
                    <a:pt x="273" y="380"/>
                  </a:lnTo>
                  <a:lnTo>
                    <a:pt x="190" y="404"/>
                  </a:lnTo>
                  <a:lnTo>
                    <a:pt x="119" y="439"/>
                  </a:lnTo>
                  <a:lnTo>
                    <a:pt x="35" y="534"/>
                  </a:lnTo>
                  <a:lnTo>
                    <a:pt x="12" y="594"/>
                  </a:lnTo>
                  <a:lnTo>
                    <a:pt x="0" y="618"/>
                  </a:lnTo>
                  <a:lnTo>
                    <a:pt x="24" y="641"/>
                  </a:lnTo>
                  <a:lnTo>
                    <a:pt x="47" y="665"/>
                  </a:lnTo>
                  <a:lnTo>
                    <a:pt x="59" y="689"/>
                  </a:lnTo>
                  <a:lnTo>
                    <a:pt x="83" y="701"/>
                  </a:lnTo>
                  <a:lnTo>
                    <a:pt x="107" y="724"/>
                  </a:lnTo>
                  <a:lnTo>
                    <a:pt x="131" y="748"/>
                  </a:lnTo>
                  <a:lnTo>
                    <a:pt x="178" y="772"/>
                  </a:lnTo>
                  <a:lnTo>
                    <a:pt x="226" y="796"/>
                  </a:lnTo>
                  <a:lnTo>
                    <a:pt x="226" y="796"/>
                  </a:lnTo>
                  <a:lnTo>
                    <a:pt x="226" y="796"/>
                  </a:lnTo>
                  <a:lnTo>
                    <a:pt x="273" y="831"/>
                  </a:lnTo>
                  <a:lnTo>
                    <a:pt x="333" y="855"/>
                  </a:lnTo>
                  <a:lnTo>
                    <a:pt x="440" y="891"/>
                  </a:lnTo>
                  <a:lnTo>
                    <a:pt x="475" y="938"/>
                  </a:lnTo>
                  <a:lnTo>
                    <a:pt x="535" y="986"/>
                  </a:lnTo>
                  <a:lnTo>
                    <a:pt x="606" y="998"/>
                  </a:lnTo>
                  <a:lnTo>
                    <a:pt x="665" y="1022"/>
                  </a:lnTo>
                  <a:lnTo>
                    <a:pt x="689" y="1057"/>
                  </a:lnTo>
                  <a:lnTo>
                    <a:pt x="725" y="1093"/>
                  </a:lnTo>
                  <a:lnTo>
                    <a:pt x="784" y="1129"/>
                  </a:lnTo>
                  <a:lnTo>
                    <a:pt x="844" y="1152"/>
                  </a:lnTo>
                  <a:lnTo>
                    <a:pt x="927" y="1164"/>
                  </a:lnTo>
                  <a:lnTo>
                    <a:pt x="962" y="1176"/>
                  </a:lnTo>
                  <a:lnTo>
                    <a:pt x="1046" y="1236"/>
                  </a:lnTo>
                  <a:lnTo>
                    <a:pt x="1117" y="1271"/>
                  </a:lnTo>
                  <a:lnTo>
                    <a:pt x="1188" y="1331"/>
                  </a:lnTo>
                  <a:lnTo>
                    <a:pt x="1283" y="1378"/>
                  </a:lnTo>
                  <a:lnTo>
                    <a:pt x="1355" y="1438"/>
                  </a:lnTo>
                  <a:lnTo>
                    <a:pt x="1438" y="1473"/>
                  </a:lnTo>
                  <a:lnTo>
                    <a:pt x="1473" y="1485"/>
                  </a:lnTo>
                  <a:lnTo>
                    <a:pt x="1485" y="1521"/>
                  </a:lnTo>
                  <a:lnTo>
                    <a:pt x="1509" y="1604"/>
                  </a:lnTo>
                  <a:lnTo>
                    <a:pt x="1640" y="1711"/>
                  </a:lnTo>
                  <a:lnTo>
                    <a:pt x="1711" y="1735"/>
                  </a:lnTo>
                  <a:lnTo>
                    <a:pt x="1771" y="1770"/>
                  </a:lnTo>
                  <a:lnTo>
                    <a:pt x="1854" y="1794"/>
                  </a:lnTo>
                  <a:lnTo>
                    <a:pt x="1901" y="1830"/>
                  </a:lnTo>
                  <a:lnTo>
                    <a:pt x="1925" y="1901"/>
                  </a:lnTo>
                  <a:lnTo>
                    <a:pt x="1925" y="1925"/>
                  </a:lnTo>
                  <a:lnTo>
                    <a:pt x="1937" y="1960"/>
                  </a:lnTo>
                  <a:lnTo>
                    <a:pt x="1961" y="1972"/>
                  </a:lnTo>
                  <a:lnTo>
                    <a:pt x="2044" y="1996"/>
                  </a:lnTo>
                  <a:lnTo>
                    <a:pt x="2091" y="2020"/>
                  </a:lnTo>
                  <a:close/>
                </a:path>
              </a:pathLst>
            </a:custGeom>
            <a:solidFill>
              <a:srgbClr val="EAEAEA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12" name="Freeform 250"/>
            <p:cNvSpPr>
              <a:spLocks/>
            </p:cNvSpPr>
            <p:nvPr/>
          </p:nvSpPr>
          <p:spPr bwMode="auto">
            <a:xfrm>
              <a:off x="34515425" y="-11634788"/>
              <a:ext cx="7453313" cy="4491038"/>
            </a:xfrm>
            <a:custGeom>
              <a:avLst/>
              <a:gdLst/>
              <a:ahLst/>
              <a:cxnLst>
                <a:cxn ang="0">
                  <a:pos x="4671" y="1510"/>
                </a:cxn>
                <a:cxn ang="0">
                  <a:pos x="4623" y="1486"/>
                </a:cxn>
                <a:cxn ang="0">
                  <a:pos x="4623" y="1296"/>
                </a:cxn>
                <a:cxn ang="0">
                  <a:pos x="4504" y="880"/>
                </a:cxn>
                <a:cxn ang="0">
                  <a:pos x="4302" y="737"/>
                </a:cxn>
                <a:cxn ang="0">
                  <a:pos x="3827" y="654"/>
                </a:cxn>
                <a:cxn ang="0">
                  <a:pos x="3423" y="630"/>
                </a:cxn>
                <a:cxn ang="0">
                  <a:pos x="3233" y="547"/>
                </a:cxn>
                <a:cxn ang="0">
                  <a:pos x="2971" y="476"/>
                </a:cxn>
                <a:cxn ang="0">
                  <a:pos x="2853" y="381"/>
                </a:cxn>
                <a:cxn ang="0">
                  <a:pos x="2710" y="630"/>
                </a:cxn>
                <a:cxn ang="0">
                  <a:pos x="2686" y="725"/>
                </a:cxn>
                <a:cxn ang="0">
                  <a:pos x="2698" y="951"/>
                </a:cxn>
                <a:cxn ang="0">
                  <a:pos x="2449" y="1129"/>
                </a:cxn>
                <a:cxn ang="0">
                  <a:pos x="2401" y="1022"/>
                </a:cxn>
                <a:cxn ang="0">
                  <a:pos x="2187" y="927"/>
                </a:cxn>
                <a:cxn ang="0">
                  <a:pos x="1985" y="999"/>
                </a:cxn>
                <a:cxn ang="0">
                  <a:pos x="1783" y="1022"/>
                </a:cxn>
                <a:cxn ang="0">
                  <a:pos x="1664" y="880"/>
                </a:cxn>
                <a:cxn ang="0">
                  <a:pos x="1474" y="678"/>
                </a:cxn>
                <a:cxn ang="0">
                  <a:pos x="1712" y="345"/>
                </a:cxn>
                <a:cxn ang="0">
                  <a:pos x="1961" y="48"/>
                </a:cxn>
                <a:cxn ang="0">
                  <a:pos x="1688" y="60"/>
                </a:cxn>
                <a:cxn ang="0">
                  <a:pos x="1296" y="250"/>
                </a:cxn>
                <a:cxn ang="0">
                  <a:pos x="963" y="428"/>
                </a:cxn>
                <a:cxn ang="0">
                  <a:pos x="785" y="559"/>
                </a:cxn>
                <a:cxn ang="0">
                  <a:pos x="618" y="535"/>
                </a:cxn>
                <a:cxn ang="0">
                  <a:pos x="416" y="404"/>
                </a:cxn>
                <a:cxn ang="0">
                  <a:pos x="309" y="369"/>
                </a:cxn>
                <a:cxn ang="0">
                  <a:pos x="155" y="678"/>
                </a:cxn>
                <a:cxn ang="0">
                  <a:pos x="0" y="1022"/>
                </a:cxn>
                <a:cxn ang="0">
                  <a:pos x="96" y="1260"/>
                </a:cxn>
                <a:cxn ang="0">
                  <a:pos x="238" y="1510"/>
                </a:cxn>
                <a:cxn ang="0">
                  <a:pos x="24" y="1925"/>
                </a:cxn>
                <a:cxn ang="0">
                  <a:pos x="226" y="2080"/>
                </a:cxn>
                <a:cxn ang="0">
                  <a:pos x="523" y="2175"/>
                </a:cxn>
                <a:cxn ang="0">
                  <a:pos x="773" y="2151"/>
                </a:cxn>
                <a:cxn ang="0">
                  <a:pos x="1177" y="1878"/>
                </a:cxn>
                <a:cxn ang="0">
                  <a:pos x="1391" y="1783"/>
                </a:cxn>
                <a:cxn ang="0">
                  <a:pos x="1700" y="1533"/>
                </a:cxn>
                <a:cxn ang="0">
                  <a:pos x="2021" y="1700"/>
                </a:cxn>
                <a:cxn ang="0">
                  <a:pos x="1902" y="1878"/>
                </a:cxn>
                <a:cxn ang="0">
                  <a:pos x="1842" y="2187"/>
                </a:cxn>
                <a:cxn ang="0">
                  <a:pos x="1629" y="2377"/>
                </a:cxn>
                <a:cxn ang="0">
                  <a:pos x="1771" y="2413"/>
                </a:cxn>
                <a:cxn ang="0">
                  <a:pos x="1854" y="2698"/>
                </a:cxn>
                <a:cxn ang="0">
                  <a:pos x="2175" y="2745"/>
                </a:cxn>
                <a:cxn ang="0">
                  <a:pos x="2674" y="2365"/>
                </a:cxn>
                <a:cxn ang="0">
                  <a:pos x="2900" y="2282"/>
                </a:cxn>
                <a:cxn ang="0">
                  <a:pos x="3090" y="2234"/>
                </a:cxn>
                <a:cxn ang="0">
                  <a:pos x="3328" y="2318"/>
                </a:cxn>
                <a:cxn ang="0">
                  <a:pos x="3399" y="2175"/>
                </a:cxn>
                <a:cxn ang="0">
                  <a:pos x="3732" y="2104"/>
                </a:cxn>
                <a:cxn ang="0">
                  <a:pos x="3851" y="1854"/>
                </a:cxn>
                <a:cxn ang="0">
                  <a:pos x="4291" y="1795"/>
                </a:cxn>
                <a:cxn ang="0">
                  <a:pos x="4576" y="1997"/>
                </a:cxn>
              </a:cxnLst>
              <a:rect l="0" t="0" r="r" b="b"/>
              <a:pathLst>
                <a:path w="4695" h="2829">
                  <a:moveTo>
                    <a:pt x="4659" y="1997"/>
                  </a:moveTo>
                  <a:lnTo>
                    <a:pt x="4659" y="1985"/>
                  </a:lnTo>
                  <a:lnTo>
                    <a:pt x="4671" y="1961"/>
                  </a:lnTo>
                  <a:lnTo>
                    <a:pt x="4683" y="1676"/>
                  </a:lnTo>
                  <a:lnTo>
                    <a:pt x="4695" y="1545"/>
                  </a:lnTo>
                  <a:lnTo>
                    <a:pt x="4671" y="1510"/>
                  </a:lnTo>
                  <a:lnTo>
                    <a:pt x="4671" y="1462"/>
                  </a:lnTo>
                  <a:lnTo>
                    <a:pt x="4671" y="1355"/>
                  </a:lnTo>
                  <a:lnTo>
                    <a:pt x="4659" y="1355"/>
                  </a:lnTo>
                  <a:lnTo>
                    <a:pt x="4635" y="1414"/>
                  </a:lnTo>
                  <a:lnTo>
                    <a:pt x="4623" y="1450"/>
                  </a:lnTo>
                  <a:lnTo>
                    <a:pt x="4623" y="1486"/>
                  </a:lnTo>
                  <a:lnTo>
                    <a:pt x="4600" y="1486"/>
                  </a:lnTo>
                  <a:lnTo>
                    <a:pt x="4588" y="1486"/>
                  </a:lnTo>
                  <a:lnTo>
                    <a:pt x="4576" y="1474"/>
                  </a:lnTo>
                  <a:lnTo>
                    <a:pt x="4600" y="1414"/>
                  </a:lnTo>
                  <a:lnTo>
                    <a:pt x="4600" y="1343"/>
                  </a:lnTo>
                  <a:lnTo>
                    <a:pt x="4623" y="1296"/>
                  </a:lnTo>
                  <a:lnTo>
                    <a:pt x="4623" y="1260"/>
                  </a:lnTo>
                  <a:lnTo>
                    <a:pt x="4588" y="1189"/>
                  </a:lnTo>
                  <a:lnTo>
                    <a:pt x="4576" y="1153"/>
                  </a:lnTo>
                  <a:lnTo>
                    <a:pt x="4564" y="1082"/>
                  </a:lnTo>
                  <a:lnTo>
                    <a:pt x="4552" y="1022"/>
                  </a:lnTo>
                  <a:lnTo>
                    <a:pt x="4504" y="880"/>
                  </a:lnTo>
                  <a:lnTo>
                    <a:pt x="4516" y="690"/>
                  </a:lnTo>
                  <a:lnTo>
                    <a:pt x="4445" y="713"/>
                  </a:lnTo>
                  <a:lnTo>
                    <a:pt x="4362" y="690"/>
                  </a:lnTo>
                  <a:lnTo>
                    <a:pt x="4350" y="701"/>
                  </a:lnTo>
                  <a:lnTo>
                    <a:pt x="4302" y="713"/>
                  </a:lnTo>
                  <a:lnTo>
                    <a:pt x="4302" y="737"/>
                  </a:lnTo>
                  <a:lnTo>
                    <a:pt x="4255" y="701"/>
                  </a:lnTo>
                  <a:lnTo>
                    <a:pt x="4207" y="701"/>
                  </a:lnTo>
                  <a:lnTo>
                    <a:pt x="4148" y="725"/>
                  </a:lnTo>
                  <a:lnTo>
                    <a:pt x="4112" y="725"/>
                  </a:lnTo>
                  <a:lnTo>
                    <a:pt x="3958" y="666"/>
                  </a:lnTo>
                  <a:lnTo>
                    <a:pt x="3827" y="654"/>
                  </a:lnTo>
                  <a:lnTo>
                    <a:pt x="3732" y="630"/>
                  </a:lnTo>
                  <a:lnTo>
                    <a:pt x="3649" y="594"/>
                  </a:lnTo>
                  <a:lnTo>
                    <a:pt x="3542" y="594"/>
                  </a:lnTo>
                  <a:lnTo>
                    <a:pt x="3506" y="606"/>
                  </a:lnTo>
                  <a:lnTo>
                    <a:pt x="3494" y="618"/>
                  </a:lnTo>
                  <a:lnTo>
                    <a:pt x="3423" y="630"/>
                  </a:lnTo>
                  <a:lnTo>
                    <a:pt x="3399" y="630"/>
                  </a:lnTo>
                  <a:lnTo>
                    <a:pt x="3364" y="630"/>
                  </a:lnTo>
                  <a:lnTo>
                    <a:pt x="3328" y="618"/>
                  </a:lnTo>
                  <a:lnTo>
                    <a:pt x="3304" y="583"/>
                  </a:lnTo>
                  <a:lnTo>
                    <a:pt x="3269" y="571"/>
                  </a:lnTo>
                  <a:lnTo>
                    <a:pt x="3233" y="547"/>
                  </a:lnTo>
                  <a:lnTo>
                    <a:pt x="3162" y="523"/>
                  </a:lnTo>
                  <a:lnTo>
                    <a:pt x="3078" y="523"/>
                  </a:lnTo>
                  <a:lnTo>
                    <a:pt x="3031" y="511"/>
                  </a:lnTo>
                  <a:lnTo>
                    <a:pt x="3019" y="511"/>
                  </a:lnTo>
                  <a:lnTo>
                    <a:pt x="2995" y="499"/>
                  </a:lnTo>
                  <a:lnTo>
                    <a:pt x="2971" y="476"/>
                  </a:lnTo>
                  <a:lnTo>
                    <a:pt x="2983" y="428"/>
                  </a:lnTo>
                  <a:lnTo>
                    <a:pt x="2960" y="381"/>
                  </a:lnTo>
                  <a:lnTo>
                    <a:pt x="2948" y="357"/>
                  </a:lnTo>
                  <a:lnTo>
                    <a:pt x="2936" y="345"/>
                  </a:lnTo>
                  <a:lnTo>
                    <a:pt x="2900" y="357"/>
                  </a:lnTo>
                  <a:lnTo>
                    <a:pt x="2853" y="381"/>
                  </a:lnTo>
                  <a:lnTo>
                    <a:pt x="2793" y="476"/>
                  </a:lnTo>
                  <a:lnTo>
                    <a:pt x="2746" y="440"/>
                  </a:lnTo>
                  <a:lnTo>
                    <a:pt x="2710" y="440"/>
                  </a:lnTo>
                  <a:lnTo>
                    <a:pt x="2686" y="547"/>
                  </a:lnTo>
                  <a:lnTo>
                    <a:pt x="2686" y="583"/>
                  </a:lnTo>
                  <a:lnTo>
                    <a:pt x="2710" y="630"/>
                  </a:lnTo>
                  <a:lnTo>
                    <a:pt x="2758" y="666"/>
                  </a:lnTo>
                  <a:lnTo>
                    <a:pt x="2769" y="713"/>
                  </a:lnTo>
                  <a:lnTo>
                    <a:pt x="2769" y="737"/>
                  </a:lnTo>
                  <a:lnTo>
                    <a:pt x="2758" y="761"/>
                  </a:lnTo>
                  <a:lnTo>
                    <a:pt x="2722" y="737"/>
                  </a:lnTo>
                  <a:lnTo>
                    <a:pt x="2686" y="725"/>
                  </a:lnTo>
                  <a:lnTo>
                    <a:pt x="2662" y="785"/>
                  </a:lnTo>
                  <a:lnTo>
                    <a:pt x="2662" y="832"/>
                  </a:lnTo>
                  <a:lnTo>
                    <a:pt x="2627" y="868"/>
                  </a:lnTo>
                  <a:lnTo>
                    <a:pt x="2639" y="903"/>
                  </a:lnTo>
                  <a:lnTo>
                    <a:pt x="2698" y="915"/>
                  </a:lnTo>
                  <a:lnTo>
                    <a:pt x="2698" y="951"/>
                  </a:lnTo>
                  <a:lnTo>
                    <a:pt x="2674" y="987"/>
                  </a:lnTo>
                  <a:lnTo>
                    <a:pt x="2627" y="1046"/>
                  </a:lnTo>
                  <a:lnTo>
                    <a:pt x="2603" y="1105"/>
                  </a:lnTo>
                  <a:lnTo>
                    <a:pt x="2579" y="1129"/>
                  </a:lnTo>
                  <a:lnTo>
                    <a:pt x="2520" y="1117"/>
                  </a:lnTo>
                  <a:lnTo>
                    <a:pt x="2449" y="1129"/>
                  </a:lnTo>
                  <a:lnTo>
                    <a:pt x="2413" y="1177"/>
                  </a:lnTo>
                  <a:lnTo>
                    <a:pt x="2401" y="1177"/>
                  </a:lnTo>
                  <a:lnTo>
                    <a:pt x="2389" y="1141"/>
                  </a:lnTo>
                  <a:lnTo>
                    <a:pt x="2377" y="1105"/>
                  </a:lnTo>
                  <a:lnTo>
                    <a:pt x="2377" y="1082"/>
                  </a:lnTo>
                  <a:lnTo>
                    <a:pt x="2401" y="1022"/>
                  </a:lnTo>
                  <a:lnTo>
                    <a:pt x="2389" y="975"/>
                  </a:lnTo>
                  <a:lnTo>
                    <a:pt x="2330" y="951"/>
                  </a:lnTo>
                  <a:lnTo>
                    <a:pt x="2306" y="892"/>
                  </a:lnTo>
                  <a:lnTo>
                    <a:pt x="2270" y="880"/>
                  </a:lnTo>
                  <a:lnTo>
                    <a:pt x="2235" y="915"/>
                  </a:lnTo>
                  <a:lnTo>
                    <a:pt x="2187" y="927"/>
                  </a:lnTo>
                  <a:lnTo>
                    <a:pt x="2163" y="915"/>
                  </a:lnTo>
                  <a:lnTo>
                    <a:pt x="2116" y="868"/>
                  </a:lnTo>
                  <a:lnTo>
                    <a:pt x="2068" y="915"/>
                  </a:lnTo>
                  <a:lnTo>
                    <a:pt x="2056" y="903"/>
                  </a:lnTo>
                  <a:lnTo>
                    <a:pt x="2033" y="963"/>
                  </a:lnTo>
                  <a:lnTo>
                    <a:pt x="1985" y="999"/>
                  </a:lnTo>
                  <a:lnTo>
                    <a:pt x="1973" y="999"/>
                  </a:lnTo>
                  <a:lnTo>
                    <a:pt x="1938" y="963"/>
                  </a:lnTo>
                  <a:lnTo>
                    <a:pt x="1890" y="963"/>
                  </a:lnTo>
                  <a:lnTo>
                    <a:pt x="1842" y="1022"/>
                  </a:lnTo>
                  <a:lnTo>
                    <a:pt x="1807" y="1034"/>
                  </a:lnTo>
                  <a:lnTo>
                    <a:pt x="1783" y="1022"/>
                  </a:lnTo>
                  <a:lnTo>
                    <a:pt x="1759" y="999"/>
                  </a:lnTo>
                  <a:lnTo>
                    <a:pt x="1759" y="975"/>
                  </a:lnTo>
                  <a:lnTo>
                    <a:pt x="1771" y="927"/>
                  </a:lnTo>
                  <a:lnTo>
                    <a:pt x="1771" y="903"/>
                  </a:lnTo>
                  <a:lnTo>
                    <a:pt x="1736" y="880"/>
                  </a:lnTo>
                  <a:lnTo>
                    <a:pt x="1664" y="880"/>
                  </a:lnTo>
                  <a:lnTo>
                    <a:pt x="1581" y="856"/>
                  </a:lnTo>
                  <a:lnTo>
                    <a:pt x="1557" y="856"/>
                  </a:lnTo>
                  <a:lnTo>
                    <a:pt x="1522" y="856"/>
                  </a:lnTo>
                  <a:lnTo>
                    <a:pt x="1486" y="832"/>
                  </a:lnTo>
                  <a:lnTo>
                    <a:pt x="1474" y="808"/>
                  </a:lnTo>
                  <a:lnTo>
                    <a:pt x="1474" y="678"/>
                  </a:lnTo>
                  <a:lnTo>
                    <a:pt x="1510" y="606"/>
                  </a:lnTo>
                  <a:lnTo>
                    <a:pt x="1605" y="583"/>
                  </a:lnTo>
                  <a:lnTo>
                    <a:pt x="1617" y="571"/>
                  </a:lnTo>
                  <a:lnTo>
                    <a:pt x="1652" y="452"/>
                  </a:lnTo>
                  <a:lnTo>
                    <a:pt x="1664" y="392"/>
                  </a:lnTo>
                  <a:lnTo>
                    <a:pt x="1712" y="345"/>
                  </a:lnTo>
                  <a:lnTo>
                    <a:pt x="1736" y="321"/>
                  </a:lnTo>
                  <a:lnTo>
                    <a:pt x="1795" y="274"/>
                  </a:lnTo>
                  <a:lnTo>
                    <a:pt x="1807" y="274"/>
                  </a:lnTo>
                  <a:lnTo>
                    <a:pt x="1890" y="190"/>
                  </a:lnTo>
                  <a:lnTo>
                    <a:pt x="1949" y="83"/>
                  </a:lnTo>
                  <a:lnTo>
                    <a:pt x="1961" y="48"/>
                  </a:lnTo>
                  <a:lnTo>
                    <a:pt x="1938" y="12"/>
                  </a:lnTo>
                  <a:lnTo>
                    <a:pt x="1914" y="24"/>
                  </a:lnTo>
                  <a:lnTo>
                    <a:pt x="1866" y="0"/>
                  </a:lnTo>
                  <a:lnTo>
                    <a:pt x="1759" y="12"/>
                  </a:lnTo>
                  <a:lnTo>
                    <a:pt x="1700" y="36"/>
                  </a:lnTo>
                  <a:lnTo>
                    <a:pt x="1688" y="60"/>
                  </a:lnTo>
                  <a:lnTo>
                    <a:pt x="1629" y="83"/>
                  </a:lnTo>
                  <a:lnTo>
                    <a:pt x="1510" y="72"/>
                  </a:lnTo>
                  <a:lnTo>
                    <a:pt x="1438" y="95"/>
                  </a:lnTo>
                  <a:lnTo>
                    <a:pt x="1367" y="167"/>
                  </a:lnTo>
                  <a:lnTo>
                    <a:pt x="1331" y="214"/>
                  </a:lnTo>
                  <a:lnTo>
                    <a:pt x="1296" y="250"/>
                  </a:lnTo>
                  <a:lnTo>
                    <a:pt x="1129" y="321"/>
                  </a:lnTo>
                  <a:lnTo>
                    <a:pt x="1070" y="369"/>
                  </a:lnTo>
                  <a:lnTo>
                    <a:pt x="1070" y="369"/>
                  </a:lnTo>
                  <a:lnTo>
                    <a:pt x="1046" y="392"/>
                  </a:lnTo>
                  <a:lnTo>
                    <a:pt x="975" y="440"/>
                  </a:lnTo>
                  <a:lnTo>
                    <a:pt x="963" y="428"/>
                  </a:lnTo>
                  <a:lnTo>
                    <a:pt x="939" y="440"/>
                  </a:lnTo>
                  <a:lnTo>
                    <a:pt x="927" y="440"/>
                  </a:lnTo>
                  <a:lnTo>
                    <a:pt x="820" y="488"/>
                  </a:lnTo>
                  <a:lnTo>
                    <a:pt x="797" y="511"/>
                  </a:lnTo>
                  <a:lnTo>
                    <a:pt x="797" y="535"/>
                  </a:lnTo>
                  <a:lnTo>
                    <a:pt x="785" y="559"/>
                  </a:lnTo>
                  <a:lnTo>
                    <a:pt x="737" y="559"/>
                  </a:lnTo>
                  <a:lnTo>
                    <a:pt x="690" y="511"/>
                  </a:lnTo>
                  <a:lnTo>
                    <a:pt x="654" y="499"/>
                  </a:lnTo>
                  <a:lnTo>
                    <a:pt x="642" y="499"/>
                  </a:lnTo>
                  <a:lnTo>
                    <a:pt x="630" y="523"/>
                  </a:lnTo>
                  <a:lnTo>
                    <a:pt x="618" y="535"/>
                  </a:lnTo>
                  <a:lnTo>
                    <a:pt x="595" y="535"/>
                  </a:lnTo>
                  <a:lnTo>
                    <a:pt x="571" y="523"/>
                  </a:lnTo>
                  <a:lnTo>
                    <a:pt x="571" y="488"/>
                  </a:lnTo>
                  <a:lnTo>
                    <a:pt x="547" y="464"/>
                  </a:lnTo>
                  <a:lnTo>
                    <a:pt x="440" y="452"/>
                  </a:lnTo>
                  <a:lnTo>
                    <a:pt x="416" y="404"/>
                  </a:lnTo>
                  <a:lnTo>
                    <a:pt x="369" y="392"/>
                  </a:lnTo>
                  <a:lnTo>
                    <a:pt x="357" y="369"/>
                  </a:lnTo>
                  <a:lnTo>
                    <a:pt x="369" y="345"/>
                  </a:lnTo>
                  <a:lnTo>
                    <a:pt x="357" y="321"/>
                  </a:lnTo>
                  <a:lnTo>
                    <a:pt x="333" y="333"/>
                  </a:lnTo>
                  <a:lnTo>
                    <a:pt x="309" y="369"/>
                  </a:lnTo>
                  <a:lnTo>
                    <a:pt x="309" y="392"/>
                  </a:lnTo>
                  <a:lnTo>
                    <a:pt x="238" y="440"/>
                  </a:lnTo>
                  <a:lnTo>
                    <a:pt x="191" y="511"/>
                  </a:lnTo>
                  <a:lnTo>
                    <a:pt x="167" y="606"/>
                  </a:lnTo>
                  <a:lnTo>
                    <a:pt x="155" y="678"/>
                  </a:lnTo>
                  <a:lnTo>
                    <a:pt x="155" y="678"/>
                  </a:lnTo>
                  <a:lnTo>
                    <a:pt x="119" y="785"/>
                  </a:lnTo>
                  <a:lnTo>
                    <a:pt x="119" y="903"/>
                  </a:lnTo>
                  <a:lnTo>
                    <a:pt x="107" y="963"/>
                  </a:lnTo>
                  <a:lnTo>
                    <a:pt x="60" y="975"/>
                  </a:lnTo>
                  <a:lnTo>
                    <a:pt x="60" y="987"/>
                  </a:lnTo>
                  <a:lnTo>
                    <a:pt x="0" y="1022"/>
                  </a:lnTo>
                  <a:lnTo>
                    <a:pt x="0" y="1046"/>
                  </a:lnTo>
                  <a:lnTo>
                    <a:pt x="12" y="1177"/>
                  </a:lnTo>
                  <a:lnTo>
                    <a:pt x="24" y="1189"/>
                  </a:lnTo>
                  <a:lnTo>
                    <a:pt x="60" y="1201"/>
                  </a:lnTo>
                  <a:lnTo>
                    <a:pt x="72" y="1224"/>
                  </a:lnTo>
                  <a:lnTo>
                    <a:pt x="96" y="1260"/>
                  </a:lnTo>
                  <a:lnTo>
                    <a:pt x="96" y="1331"/>
                  </a:lnTo>
                  <a:lnTo>
                    <a:pt x="72" y="1355"/>
                  </a:lnTo>
                  <a:lnTo>
                    <a:pt x="72" y="1379"/>
                  </a:lnTo>
                  <a:lnTo>
                    <a:pt x="84" y="1391"/>
                  </a:lnTo>
                  <a:lnTo>
                    <a:pt x="167" y="1414"/>
                  </a:lnTo>
                  <a:lnTo>
                    <a:pt x="238" y="1510"/>
                  </a:lnTo>
                  <a:lnTo>
                    <a:pt x="238" y="1545"/>
                  </a:lnTo>
                  <a:lnTo>
                    <a:pt x="238" y="1593"/>
                  </a:lnTo>
                  <a:lnTo>
                    <a:pt x="191" y="1652"/>
                  </a:lnTo>
                  <a:lnTo>
                    <a:pt x="24" y="1902"/>
                  </a:lnTo>
                  <a:lnTo>
                    <a:pt x="24" y="1925"/>
                  </a:lnTo>
                  <a:lnTo>
                    <a:pt x="24" y="1925"/>
                  </a:lnTo>
                  <a:lnTo>
                    <a:pt x="84" y="1961"/>
                  </a:lnTo>
                  <a:lnTo>
                    <a:pt x="131" y="2032"/>
                  </a:lnTo>
                  <a:lnTo>
                    <a:pt x="143" y="2032"/>
                  </a:lnTo>
                  <a:lnTo>
                    <a:pt x="155" y="2068"/>
                  </a:lnTo>
                  <a:lnTo>
                    <a:pt x="179" y="2092"/>
                  </a:lnTo>
                  <a:lnTo>
                    <a:pt x="226" y="2080"/>
                  </a:lnTo>
                  <a:lnTo>
                    <a:pt x="345" y="2032"/>
                  </a:lnTo>
                  <a:lnTo>
                    <a:pt x="393" y="2021"/>
                  </a:lnTo>
                  <a:lnTo>
                    <a:pt x="428" y="2021"/>
                  </a:lnTo>
                  <a:lnTo>
                    <a:pt x="476" y="2056"/>
                  </a:lnTo>
                  <a:lnTo>
                    <a:pt x="500" y="2139"/>
                  </a:lnTo>
                  <a:lnTo>
                    <a:pt x="523" y="2175"/>
                  </a:lnTo>
                  <a:lnTo>
                    <a:pt x="571" y="2199"/>
                  </a:lnTo>
                  <a:lnTo>
                    <a:pt x="595" y="2199"/>
                  </a:lnTo>
                  <a:lnTo>
                    <a:pt x="630" y="2163"/>
                  </a:lnTo>
                  <a:lnTo>
                    <a:pt x="654" y="2151"/>
                  </a:lnTo>
                  <a:lnTo>
                    <a:pt x="737" y="2175"/>
                  </a:lnTo>
                  <a:lnTo>
                    <a:pt x="773" y="2151"/>
                  </a:lnTo>
                  <a:lnTo>
                    <a:pt x="785" y="2104"/>
                  </a:lnTo>
                  <a:lnTo>
                    <a:pt x="880" y="2104"/>
                  </a:lnTo>
                  <a:lnTo>
                    <a:pt x="916" y="2092"/>
                  </a:lnTo>
                  <a:lnTo>
                    <a:pt x="963" y="2009"/>
                  </a:lnTo>
                  <a:lnTo>
                    <a:pt x="1165" y="1890"/>
                  </a:lnTo>
                  <a:lnTo>
                    <a:pt x="1177" y="1878"/>
                  </a:lnTo>
                  <a:lnTo>
                    <a:pt x="1236" y="1878"/>
                  </a:lnTo>
                  <a:lnTo>
                    <a:pt x="1236" y="1866"/>
                  </a:lnTo>
                  <a:lnTo>
                    <a:pt x="1272" y="1854"/>
                  </a:lnTo>
                  <a:lnTo>
                    <a:pt x="1272" y="1830"/>
                  </a:lnTo>
                  <a:lnTo>
                    <a:pt x="1355" y="1819"/>
                  </a:lnTo>
                  <a:lnTo>
                    <a:pt x="1391" y="1783"/>
                  </a:lnTo>
                  <a:lnTo>
                    <a:pt x="1427" y="1747"/>
                  </a:lnTo>
                  <a:lnTo>
                    <a:pt x="1486" y="1664"/>
                  </a:lnTo>
                  <a:lnTo>
                    <a:pt x="1569" y="1664"/>
                  </a:lnTo>
                  <a:lnTo>
                    <a:pt x="1617" y="1640"/>
                  </a:lnTo>
                  <a:lnTo>
                    <a:pt x="1652" y="1569"/>
                  </a:lnTo>
                  <a:lnTo>
                    <a:pt x="1700" y="1533"/>
                  </a:lnTo>
                  <a:lnTo>
                    <a:pt x="1747" y="1533"/>
                  </a:lnTo>
                  <a:lnTo>
                    <a:pt x="1771" y="1545"/>
                  </a:lnTo>
                  <a:lnTo>
                    <a:pt x="1831" y="1581"/>
                  </a:lnTo>
                  <a:lnTo>
                    <a:pt x="1890" y="1640"/>
                  </a:lnTo>
                  <a:lnTo>
                    <a:pt x="1997" y="1676"/>
                  </a:lnTo>
                  <a:lnTo>
                    <a:pt x="2021" y="1700"/>
                  </a:lnTo>
                  <a:lnTo>
                    <a:pt x="2068" y="1783"/>
                  </a:lnTo>
                  <a:lnTo>
                    <a:pt x="2068" y="1830"/>
                  </a:lnTo>
                  <a:lnTo>
                    <a:pt x="2056" y="1854"/>
                  </a:lnTo>
                  <a:lnTo>
                    <a:pt x="1997" y="1842"/>
                  </a:lnTo>
                  <a:lnTo>
                    <a:pt x="1961" y="1842"/>
                  </a:lnTo>
                  <a:lnTo>
                    <a:pt x="1902" y="1878"/>
                  </a:lnTo>
                  <a:lnTo>
                    <a:pt x="1866" y="1890"/>
                  </a:lnTo>
                  <a:lnTo>
                    <a:pt x="1819" y="1925"/>
                  </a:lnTo>
                  <a:lnTo>
                    <a:pt x="1819" y="2021"/>
                  </a:lnTo>
                  <a:lnTo>
                    <a:pt x="1854" y="2104"/>
                  </a:lnTo>
                  <a:lnTo>
                    <a:pt x="1854" y="2139"/>
                  </a:lnTo>
                  <a:lnTo>
                    <a:pt x="1842" y="2187"/>
                  </a:lnTo>
                  <a:lnTo>
                    <a:pt x="1819" y="2223"/>
                  </a:lnTo>
                  <a:lnTo>
                    <a:pt x="1783" y="2234"/>
                  </a:lnTo>
                  <a:lnTo>
                    <a:pt x="1688" y="2330"/>
                  </a:lnTo>
                  <a:lnTo>
                    <a:pt x="1640" y="2353"/>
                  </a:lnTo>
                  <a:lnTo>
                    <a:pt x="1640" y="2365"/>
                  </a:lnTo>
                  <a:lnTo>
                    <a:pt x="1629" y="2377"/>
                  </a:lnTo>
                  <a:lnTo>
                    <a:pt x="1629" y="2401"/>
                  </a:lnTo>
                  <a:lnTo>
                    <a:pt x="1640" y="2425"/>
                  </a:lnTo>
                  <a:lnTo>
                    <a:pt x="1664" y="2436"/>
                  </a:lnTo>
                  <a:lnTo>
                    <a:pt x="1700" y="2425"/>
                  </a:lnTo>
                  <a:lnTo>
                    <a:pt x="1747" y="2413"/>
                  </a:lnTo>
                  <a:lnTo>
                    <a:pt x="1771" y="2413"/>
                  </a:lnTo>
                  <a:lnTo>
                    <a:pt x="1831" y="2448"/>
                  </a:lnTo>
                  <a:lnTo>
                    <a:pt x="1866" y="2508"/>
                  </a:lnTo>
                  <a:lnTo>
                    <a:pt x="1842" y="2591"/>
                  </a:lnTo>
                  <a:lnTo>
                    <a:pt x="1854" y="2615"/>
                  </a:lnTo>
                  <a:lnTo>
                    <a:pt x="1878" y="2638"/>
                  </a:lnTo>
                  <a:lnTo>
                    <a:pt x="1854" y="2698"/>
                  </a:lnTo>
                  <a:lnTo>
                    <a:pt x="1866" y="2722"/>
                  </a:lnTo>
                  <a:lnTo>
                    <a:pt x="1902" y="2757"/>
                  </a:lnTo>
                  <a:lnTo>
                    <a:pt x="1949" y="2769"/>
                  </a:lnTo>
                  <a:lnTo>
                    <a:pt x="1997" y="2817"/>
                  </a:lnTo>
                  <a:lnTo>
                    <a:pt x="2033" y="2829"/>
                  </a:lnTo>
                  <a:lnTo>
                    <a:pt x="2175" y="2745"/>
                  </a:lnTo>
                  <a:lnTo>
                    <a:pt x="2425" y="2638"/>
                  </a:lnTo>
                  <a:lnTo>
                    <a:pt x="2508" y="2377"/>
                  </a:lnTo>
                  <a:lnTo>
                    <a:pt x="2520" y="2353"/>
                  </a:lnTo>
                  <a:lnTo>
                    <a:pt x="2567" y="2341"/>
                  </a:lnTo>
                  <a:lnTo>
                    <a:pt x="2615" y="2365"/>
                  </a:lnTo>
                  <a:lnTo>
                    <a:pt x="2674" y="2365"/>
                  </a:lnTo>
                  <a:lnTo>
                    <a:pt x="2710" y="2330"/>
                  </a:lnTo>
                  <a:lnTo>
                    <a:pt x="2722" y="2270"/>
                  </a:lnTo>
                  <a:lnTo>
                    <a:pt x="2746" y="2234"/>
                  </a:lnTo>
                  <a:lnTo>
                    <a:pt x="2769" y="2223"/>
                  </a:lnTo>
                  <a:lnTo>
                    <a:pt x="2817" y="2234"/>
                  </a:lnTo>
                  <a:lnTo>
                    <a:pt x="2900" y="2282"/>
                  </a:lnTo>
                  <a:lnTo>
                    <a:pt x="2924" y="2282"/>
                  </a:lnTo>
                  <a:lnTo>
                    <a:pt x="2936" y="2258"/>
                  </a:lnTo>
                  <a:lnTo>
                    <a:pt x="2936" y="2234"/>
                  </a:lnTo>
                  <a:lnTo>
                    <a:pt x="2948" y="2223"/>
                  </a:lnTo>
                  <a:lnTo>
                    <a:pt x="3031" y="2223"/>
                  </a:lnTo>
                  <a:lnTo>
                    <a:pt x="3090" y="2234"/>
                  </a:lnTo>
                  <a:lnTo>
                    <a:pt x="3114" y="2223"/>
                  </a:lnTo>
                  <a:lnTo>
                    <a:pt x="3150" y="2246"/>
                  </a:lnTo>
                  <a:lnTo>
                    <a:pt x="3209" y="2270"/>
                  </a:lnTo>
                  <a:lnTo>
                    <a:pt x="3280" y="2341"/>
                  </a:lnTo>
                  <a:lnTo>
                    <a:pt x="3304" y="2341"/>
                  </a:lnTo>
                  <a:lnTo>
                    <a:pt x="3328" y="2318"/>
                  </a:lnTo>
                  <a:lnTo>
                    <a:pt x="3364" y="2306"/>
                  </a:lnTo>
                  <a:lnTo>
                    <a:pt x="3375" y="2294"/>
                  </a:lnTo>
                  <a:lnTo>
                    <a:pt x="3364" y="2258"/>
                  </a:lnTo>
                  <a:lnTo>
                    <a:pt x="3340" y="2223"/>
                  </a:lnTo>
                  <a:lnTo>
                    <a:pt x="3352" y="2175"/>
                  </a:lnTo>
                  <a:lnTo>
                    <a:pt x="3399" y="2175"/>
                  </a:lnTo>
                  <a:lnTo>
                    <a:pt x="3435" y="2223"/>
                  </a:lnTo>
                  <a:lnTo>
                    <a:pt x="3471" y="2211"/>
                  </a:lnTo>
                  <a:lnTo>
                    <a:pt x="3530" y="2175"/>
                  </a:lnTo>
                  <a:lnTo>
                    <a:pt x="3589" y="2163"/>
                  </a:lnTo>
                  <a:lnTo>
                    <a:pt x="3637" y="2151"/>
                  </a:lnTo>
                  <a:lnTo>
                    <a:pt x="3732" y="2104"/>
                  </a:lnTo>
                  <a:lnTo>
                    <a:pt x="3768" y="2080"/>
                  </a:lnTo>
                  <a:lnTo>
                    <a:pt x="3791" y="2056"/>
                  </a:lnTo>
                  <a:lnTo>
                    <a:pt x="3803" y="2009"/>
                  </a:lnTo>
                  <a:lnTo>
                    <a:pt x="3815" y="1937"/>
                  </a:lnTo>
                  <a:lnTo>
                    <a:pt x="3803" y="1925"/>
                  </a:lnTo>
                  <a:lnTo>
                    <a:pt x="3851" y="1854"/>
                  </a:lnTo>
                  <a:lnTo>
                    <a:pt x="3875" y="1842"/>
                  </a:lnTo>
                  <a:lnTo>
                    <a:pt x="3982" y="1842"/>
                  </a:lnTo>
                  <a:lnTo>
                    <a:pt x="4053" y="1807"/>
                  </a:lnTo>
                  <a:lnTo>
                    <a:pt x="4100" y="1783"/>
                  </a:lnTo>
                  <a:lnTo>
                    <a:pt x="4172" y="1759"/>
                  </a:lnTo>
                  <a:lnTo>
                    <a:pt x="4291" y="1795"/>
                  </a:lnTo>
                  <a:lnTo>
                    <a:pt x="4302" y="1795"/>
                  </a:lnTo>
                  <a:lnTo>
                    <a:pt x="4350" y="1783"/>
                  </a:lnTo>
                  <a:lnTo>
                    <a:pt x="4433" y="1830"/>
                  </a:lnTo>
                  <a:lnTo>
                    <a:pt x="4469" y="1925"/>
                  </a:lnTo>
                  <a:lnTo>
                    <a:pt x="4493" y="1961"/>
                  </a:lnTo>
                  <a:lnTo>
                    <a:pt x="4576" y="1997"/>
                  </a:lnTo>
                  <a:lnTo>
                    <a:pt x="4659" y="199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13" name="Freeform 252"/>
            <p:cNvSpPr>
              <a:spLocks/>
            </p:cNvSpPr>
            <p:nvPr/>
          </p:nvSpPr>
          <p:spPr bwMode="auto">
            <a:xfrm>
              <a:off x="34874200" y="-14011275"/>
              <a:ext cx="6848475" cy="4244975"/>
            </a:xfrm>
            <a:custGeom>
              <a:avLst/>
              <a:gdLst/>
              <a:ahLst/>
              <a:cxnLst>
                <a:cxn ang="0">
                  <a:pos x="4267" y="1973"/>
                </a:cxn>
                <a:cxn ang="0">
                  <a:pos x="4195" y="1806"/>
                </a:cxn>
                <a:cxn ang="0">
                  <a:pos x="4100" y="1402"/>
                </a:cxn>
                <a:cxn ang="0">
                  <a:pos x="4029" y="1010"/>
                </a:cxn>
                <a:cxn ang="0">
                  <a:pos x="3934" y="784"/>
                </a:cxn>
                <a:cxn ang="0">
                  <a:pos x="3803" y="523"/>
                </a:cxn>
                <a:cxn ang="0">
                  <a:pos x="3399" y="380"/>
                </a:cxn>
                <a:cxn ang="0">
                  <a:pos x="2995" y="345"/>
                </a:cxn>
                <a:cxn ang="0">
                  <a:pos x="2555" y="309"/>
                </a:cxn>
                <a:cxn ang="0">
                  <a:pos x="2318" y="345"/>
                </a:cxn>
                <a:cxn ang="0">
                  <a:pos x="2068" y="143"/>
                </a:cxn>
                <a:cxn ang="0">
                  <a:pos x="1759" y="131"/>
                </a:cxn>
                <a:cxn ang="0">
                  <a:pos x="1177" y="131"/>
                </a:cxn>
                <a:cxn ang="0">
                  <a:pos x="963" y="535"/>
                </a:cxn>
                <a:cxn ang="0">
                  <a:pos x="654" y="974"/>
                </a:cxn>
                <a:cxn ang="0">
                  <a:pos x="630" y="1165"/>
                </a:cxn>
                <a:cxn ang="0">
                  <a:pos x="547" y="1283"/>
                </a:cxn>
                <a:cxn ang="0">
                  <a:pos x="428" y="1390"/>
                </a:cxn>
                <a:cxn ang="0">
                  <a:pos x="321" y="1509"/>
                </a:cxn>
                <a:cxn ang="0">
                  <a:pos x="143" y="1604"/>
                </a:cxn>
                <a:cxn ang="0">
                  <a:pos x="0" y="1866"/>
                </a:cxn>
                <a:cxn ang="0">
                  <a:pos x="83" y="1866"/>
                </a:cxn>
                <a:cxn ang="0">
                  <a:pos x="143" y="1889"/>
                </a:cxn>
                <a:cxn ang="0">
                  <a:pos x="345" y="2020"/>
                </a:cxn>
                <a:cxn ang="0">
                  <a:pos x="428" y="1996"/>
                </a:cxn>
                <a:cxn ang="0">
                  <a:pos x="571" y="2008"/>
                </a:cxn>
                <a:cxn ang="0">
                  <a:pos x="749" y="1937"/>
                </a:cxn>
                <a:cxn ang="0">
                  <a:pos x="1070" y="1747"/>
                </a:cxn>
                <a:cxn ang="0">
                  <a:pos x="1403" y="1580"/>
                </a:cxn>
                <a:cxn ang="0">
                  <a:pos x="1688" y="1521"/>
                </a:cxn>
                <a:cxn ang="0">
                  <a:pos x="1581" y="1771"/>
                </a:cxn>
                <a:cxn ang="0">
                  <a:pos x="1426" y="1949"/>
                </a:cxn>
                <a:cxn ang="0">
                  <a:pos x="1248" y="2305"/>
                </a:cxn>
                <a:cxn ang="0">
                  <a:pos x="1438" y="2377"/>
                </a:cxn>
                <a:cxn ang="0">
                  <a:pos x="1533" y="2496"/>
                </a:cxn>
                <a:cxn ang="0">
                  <a:pos x="1712" y="2460"/>
                </a:cxn>
                <a:cxn ang="0">
                  <a:pos x="1842" y="2412"/>
                </a:cxn>
                <a:cxn ang="0">
                  <a:pos x="2044" y="2377"/>
                </a:cxn>
                <a:cxn ang="0">
                  <a:pos x="2151" y="2579"/>
                </a:cxn>
                <a:cxn ang="0">
                  <a:pos x="2223" y="2626"/>
                </a:cxn>
                <a:cxn ang="0">
                  <a:pos x="2448" y="2484"/>
                </a:cxn>
                <a:cxn ang="0">
                  <a:pos x="2436" y="2329"/>
                </a:cxn>
                <a:cxn ang="0">
                  <a:pos x="2543" y="2234"/>
                </a:cxn>
                <a:cxn ang="0">
                  <a:pos x="2460" y="2044"/>
                </a:cxn>
                <a:cxn ang="0">
                  <a:pos x="2674" y="1854"/>
                </a:cxn>
                <a:cxn ang="0">
                  <a:pos x="2745" y="1973"/>
                </a:cxn>
                <a:cxn ang="0">
                  <a:pos x="2936" y="2020"/>
                </a:cxn>
                <a:cxn ang="0">
                  <a:pos x="3138" y="2127"/>
                </a:cxn>
                <a:cxn ang="0">
                  <a:pos x="3316" y="2091"/>
                </a:cxn>
                <a:cxn ang="0">
                  <a:pos x="3886" y="2222"/>
                </a:cxn>
                <a:cxn ang="0">
                  <a:pos x="4076" y="2210"/>
                </a:cxn>
              </a:cxnLst>
              <a:rect l="0" t="0" r="r" b="b"/>
              <a:pathLst>
                <a:path w="4314" h="2674">
                  <a:moveTo>
                    <a:pt x="4290" y="2187"/>
                  </a:moveTo>
                  <a:lnTo>
                    <a:pt x="4290" y="2187"/>
                  </a:lnTo>
                  <a:lnTo>
                    <a:pt x="4314" y="2091"/>
                  </a:lnTo>
                  <a:lnTo>
                    <a:pt x="4314" y="2056"/>
                  </a:lnTo>
                  <a:lnTo>
                    <a:pt x="4267" y="1973"/>
                  </a:lnTo>
                  <a:lnTo>
                    <a:pt x="4207" y="1949"/>
                  </a:lnTo>
                  <a:lnTo>
                    <a:pt x="4243" y="1901"/>
                  </a:lnTo>
                  <a:lnTo>
                    <a:pt x="4255" y="1866"/>
                  </a:lnTo>
                  <a:lnTo>
                    <a:pt x="4231" y="1842"/>
                  </a:lnTo>
                  <a:lnTo>
                    <a:pt x="4195" y="1806"/>
                  </a:lnTo>
                  <a:lnTo>
                    <a:pt x="4183" y="1771"/>
                  </a:lnTo>
                  <a:lnTo>
                    <a:pt x="4160" y="1652"/>
                  </a:lnTo>
                  <a:lnTo>
                    <a:pt x="4160" y="1592"/>
                  </a:lnTo>
                  <a:lnTo>
                    <a:pt x="4124" y="1474"/>
                  </a:lnTo>
                  <a:lnTo>
                    <a:pt x="4100" y="1402"/>
                  </a:lnTo>
                  <a:lnTo>
                    <a:pt x="4076" y="1355"/>
                  </a:lnTo>
                  <a:lnTo>
                    <a:pt x="4076" y="1248"/>
                  </a:lnTo>
                  <a:lnTo>
                    <a:pt x="4076" y="1212"/>
                  </a:lnTo>
                  <a:lnTo>
                    <a:pt x="4053" y="1117"/>
                  </a:lnTo>
                  <a:lnTo>
                    <a:pt x="4029" y="1010"/>
                  </a:lnTo>
                  <a:lnTo>
                    <a:pt x="3993" y="927"/>
                  </a:lnTo>
                  <a:lnTo>
                    <a:pt x="4005" y="879"/>
                  </a:lnTo>
                  <a:lnTo>
                    <a:pt x="3969" y="844"/>
                  </a:lnTo>
                  <a:lnTo>
                    <a:pt x="3969" y="808"/>
                  </a:lnTo>
                  <a:lnTo>
                    <a:pt x="3934" y="784"/>
                  </a:lnTo>
                  <a:lnTo>
                    <a:pt x="3934" y="749"/>
                  </a:lnTo>
                  <a:lnTo>
                    <a:pt x="3886" y="713"/>
                  </a:lnTo>
                  <a:lnTo>
                    <a:pt x="3874" y="618"/>
                  </a:lnTo>
                  <a:lnTo>
                    <a:pt x="3851" y="570"/>
                  </a:lnTo>
                  <a:lnTo>
                    <a:pt x="3803" y="523"/>
                  </a:lnTo>
                  <a:lnTo>
                    <a:pt x="3767" y="511"/>
                  </a:lnTo>
                  <a:lnTo>
                    <a:pt x="3744" y="463"/>
                  </a:lnTo>
                  <a:lnTo>
                    <a:pt x="3696" y="440"/>
                  </a:lnTo>
                  <a:lnTo>
                    <a:pt x="3613" y="416"/>
                  </a:lnTo>
                  <a:lnTo>
                    <a:pt x="3399" y="380"/>
                  </a:lnTo>
                  <a:lnTo>
                    <a:pt x="3268" y="321"/>
                  </a:lnTo>
                  <a:lnTo>
                    <a:pt x="3114" y="297"/>
                  </a:lnTo>
                  <a:lnTo>
                    <a:pt x="3090" y="309"/>
                  </a:lnTo>
                  <a:lnTo>
                    <a:pt x="3031" y="321"/>
                  </a:lnTo>
                  <a:lnTo>
                    <a:pt x="2995" y="345"/>
                  </a:lnTo>
                  <a:lnTo>
                    <a:pt x="2936" y="345"/>
                  </a:lnTo>
                  <a:lnTo>
                    <a:pt x="2686" y="345"/>
                  </a:lnTo>
                  <a:lnTo>
                    <a:pt x="2567" y="297"/>
                  </a:lnTo>
                  <a:lnTo>
                    <a:pt x="2555" y="297"/>
                  </a:lnTo>
                  <a:lnTo>
                    <a:pt x="2555" y="309"/>
                  </a:lnTo>
                  <a:lnTo>
                    <a:pt x="2543" y="321"/>
                  </a:lnTo>
                  <a:lnTo>
                    <a:pt x="2448" y="321"/>
                  </a:lnTo>
                  <a:lnTo>
                    <a:pt x="2413" y="333"/>
                  </a:lnTo>
                  <a:lnTo>
                    <a:pt x="2365" y="345"/>
                  </a:lnTo>
                  <a:lnTo>
                    <a:pt x="2318" y="345"/>
                  </a:lnTo>
                  <a:lnTo>
                    <a:pt x="2234" y="309"/>
                  </a:lnTo>
                  <a:lnTo>
                    <a:pt x="2139" y="249"/>
                  </a:lnTo>
                  <a:lnTo>
                    <a:pt x="2116" y="214"/>
                  </a:lnTo>
                  <a:lnTo>
                    <a:pt x="2104" y="178"/>
                  </a:lnTo>
                  <a:lnTo>
                    <a:pt x="2068" y="143"/>
                  </a:lnTo>
                  <a:lnTo>
                    <a:pt x="1961" y="119"/>
                  </a:lnTo>
                  <a:lnTo>
                    <a:pt x="1878" y="131"/>
                  </a:lnTo>
                  <a:lnTo>
                    <a:pt x="1818" y="131"/>
                  </a:lnTo>
                  <a:lnTo>
                    <a:pt x="1807" y="119"/>
                  </a:lnTo>
                  <a:lnTo>
                    <a:pt x="1759" y="131"/>
                  </a:lnTo>
                  <a:lnTo>
                    <a:pt x="1723" y="119"/>
                  </a:lnTo>
                  <a:lnTo>
                    <a:pt x="1628" y="0"/>
                  </a:lnTo>
                  <a:lnTo>
                    <a:pt x="1355" y="36"/>
                  </a:lnTo>
                  <a:lnTo>
                    <a:pt x="1260" y="71"/>
                  </a:lnTo>
                  <a:lnTo>
                    <a:pt x="1177" y="131"/>
                  </a:lnTo>
                  <a:lnTo>
                    <a:pt x="1129" y="178"/>
                  </a:lnTo>
                  <a:lnTo>
                    <a:pt x="1046" y="356"/>
                  </a:lnTo>
                  <a:lnTo>
                    <a:pt x="987" y="440"/>
                  </a:lnTo>
                  <a:lnTo>
                    <a:pt x="963" y="487"/>
                  </a:lnTo>
                  <a:lnTo>
                    <a:pt x="963" y="535"/>
                  </a:lnTo>
                  <a:lnTo>
                    <a:pt x="915" y="642"/>
                  </a:lnTo>
                  <a:lnTo>
                    <a:pt x="856" y="725"/>
                  </a:lnTo>
                  <a:lnTo>
                    <a:pt x="844" y="784"/>
                  </a:lnTo>
                  <a:lnTo>
                    <a:pt x="832" y="808"/>
                  </a:lnTo>
                  <a:lnTo>
                    <a:pt x="654" y="974"/>
                  </a:lnTo>
                  <a:lnTo>
                    <a:pt x="630" y="1022"/>
                  </a:lnTo>
                  <a:lnTo>
                    <a:pt x="606" y="1069"/>
                  </a:lnTo>
                  <a:lnTo>
                    <a:pt x="606" y="1093"/>
                  </a:lnTo>
                  <a:lnTo>
                    <a:pt x="642" y="1153"/>
                  </a:lnTo>
                  <a:lnTo>
                    <a:pt x="630" y="1165"/>
                  </a:lnTo>
                  <a:lnTo>
                    <a:pt x="618" y="1212"/>
                  </a:lnTo>
                  <a:lnTo>
                    <a:pt x="618" y="1212"/>
                  </a:lnTo>
                  <a:lnTo>
                    <a:pt x="571" y="1248"/>
                  </a:lnTo>
                  <a:lnTo>
                    <a:pt x="571" y="1260"/>
                  </a:lnTo>
                  <a:lnTo>
                    <a:pt x="547" y="1283"/>
                  </a:lnTo>
                  <a:lnTo>
                    <a:pt x="499" y="1331"/>
                  </a:lnTo>
                  <a:lnTo>
                    <a:pt x="476" y="1343"/>
                  </a:lnTo>
                  <a:lnTo>
                    <a:pt x="452" y="1355"/>
                  </a:lnTo>
                  <a:lnTo>
                    <a:pt x="440" y="1367"/>
                  </a:lnTo>
                  <a:lnTo>
                    <a:pt x="428" y="1390"/>
                  </a:lnTo>
                  <a:lnTo>
                    <a:pt x="404" y="1402"/>
                  </a:lnTo>
                  <a:lnTo>
                    <a:pt x="369" y="1450"/>
                  </a:lnTo>
                  <a:lnTo>
                    <a:pt x="381" y="1474"/>
                  </a:lnTo>
                  <a:lnTo>
                    <a:pt x="345" y="1497"/>
                  </a:lnTo>
                  <a:lnTo>
                    <a:pt x="321" y="1509"/>
                  </a:lnTo>
                  <a:lnTo>
                    <a:pt x="274" y="1509"/>
                  </a:lnTo>
                  <a:lnTo>
                    <a:pt x="202" y="1509"/>
                  </a:lnTo>
                  <a:lnTo>
                    <a:pt x="179" y="1509"/>
                  </a:lnTo>
                  <a:lnTo>
                    <a:pt x="155" y="1545"/>
                  </a:lnTo>
                  <a:lnTo>
                    <a:pt x="143" y="1604"/>
                  </a:lnTo>
                  <a:lnTo>
                    <a:pt x="83" y="1699"/>
                  </a:lnTo>
                  <a:lnTo>
                    <a:pt x="36" y="1735"/>
                  </a:lnTo>
                  <a:lnTo>
                    <a:pt x="24" y="1782"/>
                  </a:lnTo>
                  <a:lnTo>
                    <a:pt x="24" y="1818"/>
                  </a:lnTo>
                  <a:lnTo>
                    <a:pt x="0" y="1866"/>
                  </a:lnTo>
                  <a:lnTo>
                    <a:pt x="0" y="1878"/>
                  </a:lnTo>
                  <a:lnTo>
                    <a:pt x="24" y="1878"/>
                  </a:lnTo>
                  <a:lnTo>
                    <a:pt x="48" y="1866"/>
                  </a:lnTo>
                  <a:lnTo>
                    <a:pt x="83" y="1866"/>
                  </a:lnTo>
                  <a:lnTo>
                    <a:pt x="83" y="1866"/>
                  </a:lnTo>
                  <a:lnTo>
                    <a:pt x="107" y="1830"/>
                  </a:lnTo>
                  <a:lnTo>
                    <a:pt x="131" y="1818"/>
                  </a:lnTo>
                  <a:lnTo>
                    <a:pt x="143" y="1842"/>
                  </a:lnTo>
                  <a:lnTo>
                    <a:pt x="131" y="1866"/>
                  </a:lnTo>
                  <a:lnTo>
                    <a:pt x="143" y="1889"/>
                  </a:lnTo>
                  <a:lnTo>
                    <a:pt x="190" y="1901"/>
                  </a:lnTo>
                  <a:lnTo>
                    <a:pt x="214" y="1949"/>
                  </a:lnTo>
                  <a:lnTo>
                    <a:pt x="321" y="1961"/>
                  </a:lnTo>
                  <a:lnTo>
                    <a:pt x="345" y="1985"/>
                  </a:lnTo>
                  <a:lnTo>
                    <a:pt x="345" y="2020"/>
                  </a:lnTo>
                  <a:lnTo>
                    <a:pt x="369" y="2032"/>
                  </a:lnTo>
                  <a:lnTo>
                    <a:pt x="392" y="2032"/>
                  </a:lnTo>
                  <a:lnTo>
                    <a:pt x="404" y="2020"/>
                  </a:lnTo>
                  <a:lnTo>
                    <a:pt x="416" y="1996"/>
                  </a:lnTo>
                  <a:lnTo>
                    <a:pt x="428" y="1996"/>
                  </a:lnTo>
                  <a:lnTo>
                    <a:pt x="464" y="2008"/>
                  </a:lnTo>
                  <a:lnTo>
                    <a:pt x="511" y="2056"/>
                  </a:lnTo>
                  <a:lnTo>
                    <a:pt x="559" y="2056"/>
                  </a:lnTo>
                  <a:lnTo>
                    <a:pt x="571" y="2032"/>
                  </a:lnTo>
                  <a:lnTo>
                    <a:pt x="571" y="2008"/>
                  </a:lnTo>
                  <a:lnTo>
                    <a:pt x="594" y="1985"/>
                  </a:lnTo>
                  <a:lnTo>
                    <a:pt x="701" y="1937"/>
                  </a:lnTo>
                  <a:lnTo>
                    <a:pt x="713" y="1937"/>
                  </a:lnTo>
                  <a:lnTo>
                    <a:pt x="737" y="1925"/>
                  </a:lnTo>
                  <a:lnTo>
                    <a:pt x="749" y="1937"/>
                  </a:lnTo>
                  <a:lnTo>
                    <a:pt x="820" y="1889"/>
                  </a:lnTo>
                  <a:lnTo>
                    <a:pt x="844" y="1866"/>
                  </a:lnTo>
                  <a:lnTo>
                    <a:pt x="844" y="1866"/>
                  </a:lnTo>
                  <a:lnTo>
                    <a:pt x="903" y="1818"/>
                  </a:lnTo>
                  <a:lnTo>
                    <a:pt x="1070" y="1747"/>
                  </a:lnTo>
                  <a:lnTo>
                    <a:pt x="1105" y="1711"/>
                  </a:lnTo>
                  <a:lnTo>
                    <a:pt x="1141" y="1664"/>
                  </a:lnTo>
                  <a:lnTo>
                    <a:pt x="1212" y="1592"/>
                  </a:lnTo>
                  <a:lnTo>
                    <a:pt x="1284" y="1569"/>
                  </a:lnTo>
                  <a:lnTo>
                    <a:pt x="1403" y="1580"/>
                  </a:lnTo>
                  <a:lnTo>
                    <a:pt x="1462" y="1557"/>
                  </a:lnTo>
                  <a:lnTo>
                    <a:pt x="1474" y="1533"/>
                  </a:lnTo>
                  <a:lnTo>
                    <a:pt x="1533" y="1509"/>
                  </a:lnTo>
                  <a:lnTo>
                    <a:pt x="1640" y="1497"/>
                  </a:lnTo>
                  <a:lnTo>
                    <a:pt x="1688" y="1521"/>
                  </a:lnTo>
                  <a:lnTo>
                    <a:pt x="1712" y="1509"/>
                  </a:lnTo>
                  <a:lnTo>
                    <a:pt x="1735" y="1545"/>
                  </a:lnTo>
                  <a:lnTo>
                    <a:pt x="1723" y="1580"/>
                  </a:lnTo>
                  <a:lnTo>
                    <a:pt x="1664" y="1687"/>
                  </a:lnTo>
                  <a:lnTo>
                    <a:pt x="1581" y="1771"/>
                  </a:lnTo>
                  <a:lnTo>
                    <a:pt x="1569" y="1771"/>
                  </a:lnTo>
                  <a:lnTo>
                    <a:pt x="1510" y="1818"/>
                  </a:lnTo>
                  <a:lnTo>
                    <a:pt x="1486" y="1842"/>
                  </a:lnTo>
                  <a:lnTo>
                    <a:pt x="1438" y="1889"/>
                  </a:lnTo>
                  <a:lnTo>
                    <a:pt x="1426" y="1949"/>
                  </a:lnTo>
                  <a:lnTo>
                    <a:pt x="1391" y="2068"/>
                  </a:lnTo>
                  <a:lnTo>
                    <a:pt x="1379" y="2080"/>
                  </a:lnTo>
                  <a:lnTo>
                    <a:pt x="1284" y="2103"/>
                  </a:lnTo>
                  <a:lnTo>
                    <a:pt x="1248" y="2175"/>
                  </a:lnTo>
                  <a:lnTo>
                    <a:pt x="1248" y="2305"/>
                  </a:lnTo>
                  <a:lnTo>
                    <a:pt x="1260" y="2329"/>
                  </a:lnTo>
                  <a:lnTo>
                    <a:pt x="1296" y="2353"/>
                  </a:lnTo>
                  <a:lnTo>
                    <a:pt x="1331" y="2353"/>
                  </a:lnTo>
                  <a:lnTo>
                    <a:pt x="1355" y="2353"/>
                  </a:lnTo>
                  <a:lnTo>
                    <a:pt x="1438" y="2377"/>
                  </a:lnTo>
                  <a:lnTo>
                    <a:pt x="1510" y="2377"/>
                  </a:lnTo>
                  <a:lnTo>
                    <a:pt x="1545" y="2400"/>
                  </a:lnTo>
                  <a:lnTo>
                    <a:pt x="1545" y="2424"/>
                  </a:lnTo>
                  <a:lnTo>
                    <a:pt x="1533" y="2472"/>
                  </a:lnTo>
                  <a:lnTo>
                    <a:pt x="1533" y="2496"/>
                  </a:lnTo>
                  <a:lnTo>
                    <a:pt x="1557" y="2519"/>
                  </a:lnTo>
                  <a:lnTo>
                    <a:pt x="1581" y="2531"/>
                  </a:lnTo>
                  <a:lnTo>
                    <a:pt x="1616" y="2519"/>
                  </a:lnTo>
                  <a:lnTo>
                    <a:pt x="1664" y="2460"/>
                  </a:lnTo>
                  <a:lnTo>
                    <a:pt x="1712" y="2460"/>
                  </a:lnTo>
                  <a:lnTo>
                    <a:pt x="1747" y="2496"/>
                  </a:lnTo>
                  <a:lnTo>
                    <a:pt x="1759" y="2496"/>
                  </a:lnTo>
                  <a:lnTo>
                    <a:pt x="1807" y="2460"/>
                  </a:lnTo>
                  <a:lnTo>
                    <a:pt x="1830" y="2400"/>
                  </a:lnTo>
                  <a:lnTo>
                    <a:pt x="1842" y="2412"/>
                  </a:lnTo>
                  <a:lnTo>
                    <a:pt x="1890" y="2365"/>
                  </a:lnTo>
                  <a:lnTo>
                    <a:pt x="1937" y="2412"/>
                  </a:lnTo>
                  <a:lnTo>
                    <a:pt x="1961" y="2424"/>
                  </a:lnTo>
                  <a:lnTo>
                    <a:pt x="2009" y="2412"/>
                  </a:lnTo>
                  <a:lnTo>
                    <a:pt x="2044" y="2377"/>
                  </a:lnTo>
                  <a:lnTo>
                    <a:pt x="2080" y="2389"/>
                  </a:lnTo>
                  <a:lnTo>
                    <a:pt x="2104" y="2448"/>
                  </a:lnTo>
                  <a:lnTo>
                    <a:pt x="2163" y="2472"/>
                  </a:lnTo>
                  <a:lnTo>
                    <a:pt x="2175" y="2519"/>
                  </a:lnTo>
                  <a:lnTo>
                    <a:pt x="2151" y="2579"/>
                  </a:lnTo>
                  <a:lnTo>
                    <a:pt x="2151" y="2602"/>
                  </a:lnTo>
                  <a:lnTo>
                    <a:pt x="2163" y="2638"/>
                  </a:lnTo>
                  <a:lnTo>
                    <a:pt x="2175" y="2674"/>
                  </a:lnTo>
                  <a:lnTo>
                    <a:pt x="2187" y="2674"/>
                  </a:lnTo>
                  <a:lnTo>
                    <a:pt x="2223" y="2626"/>
                  </a:lnTo>
                  <a:lnTo>
                    <a:pt x="2294" y="2614"/>
                  </a:lnTo>
                  <a:lnTo>
                    <a:pt x="2353" y="2626"/>
                  </a:lnTo>
                  <a:lnTo>
                    <a:pt x="2377" y="2602"/>
                  </a:lnTo>
                  <a:lnTo>
                    <a:pt x="2401" y="2543"/>
                  </a:lnTo>
                  <a:lnTo>
                    <a:pt x="2448" y="2484"/>
                  </a:lnTo>
                  <a:lnTo>
                    <a:pt x="2472" y="2448"/>
                  </a:lnTo>
                  <a:lnTo>
                    <a:pt x="2472" y="2412"/>
                  </a:lnTo>
                  <a:lnTo>
                    <a:pt x="2413" y="2400"/>
                  </a:lnTo>
                  <a:lnTo>
                    <a:pt x="2401" y="2365"/>
                  </a:lnTo>
                  <a:lnTo>
                    <a:pt x="2436" y="2329"/>
                  </a:lnTo>
                  <a:lnTo>
                    <a:pt x="2436" y="2282"/>
                  </a:lnTo>
                  <a:lnTo>
                    <a:pt x="2460" y="2222"/>
                  </a:lnTo>
                  <a:lnTo>
                    <a:pt x="2496" y="2234"/>
                  </a:lnTo>
                  <a:lnTo>
                    <a:pt x="2532" y="2258"/>
                  </a:lnTo>
                  <a:lnTo>
                    <a:pt x="2543" y="2234"/>
                  </a:lnTo>
                  <a:lnTo>
                    <a:pt x="2543" y="2210"/>
                  </a:lnTo>
                  <a:lnTo>
                    <a:pt x="2532" y="2163"/>
                  </a:lnTo>
                  <a:lnTo>
                    <a:pt x="2484" y="2127"/>
                  </a:lnTo>
                  <a:lnTo>
                    <a:pt x="2460" y="2080"/>
                  </a:lnTo>
                  <a:lnTo>
                    <a:pt x="2460" y="2044"/>
                  </a:lnTo>
                  <a:lnTo>
                    <a:pt x="2484" y="1937"/>
                  </a:lnTo>
                  <a:lnTo>
                    <a:pt x="2520" y="1937"/>
                  </a:lnTo>
                  <a:lnTo>
                    <a:pt x="2567" y="1973"/>
                  </a:lnTo>
                  <a:lnTo>
                    <a:pt x="2627" y="1878"/>
                  </a:lnTo>
                  <a:lnTo>
                    <a:pt x="2674" y="1854"/>
                  </a:lnTo>
                  <a:lnTo>
                    <a:pt x="2710" y="1842"/>
                  </a:lnTo>
                  <a:lnTo>
                    <a:pt x="2722" y="1854"/>
                  </a:lnTo>
                  <a:lnTo>
                    <a:pt x="2734" y="1878"/>
                  </a:lnTo>
                  <a:lnTo>
                    <a:pt x="2757" y="1925"/>
                  </a:lnTo>
                  <a:lnTo>
                    <a:pt x="2745" y="1973"/>
                  </a:lnTo>
                  <a:lnTo>
                    <a:pt x="2769" y="1996"/>
                  </a:lnTo>
                  <a:lnTo>
                    <a:pt x="2793" y="2008"/>
                  </a:lnTo>
                  <a:lnTo>
                    <a:pt x="2805" y="2008"/>
                  </a:lnTo>
                  <a:lnTo>
                    <a:pt x="2852" y="2020"/>
                  </a:lnTo>
                  <a:lnTo>
                    <a:pt x="2936" y="2020"/>
                  </a:lnTo>
                  <a:lnTo>
                    <a:pt x="3007" y="2044"/>
                  </a:lnTo>
                  <a:lnTo>
                    <a:pt x="3043" y="2068"/>
                  </a:lnTo>
                  <a:lnTo>
                    <a:pt x="3078" y="2080"/>
                  </a:lnTo>
                  <a:lnTo>
                    <a:pt x="3102" y="2115"/>
                  </a:lnTo>
                  <a:lnTo>
                    <a:pt x="3138" y="2127"/>
                  </a:lnTo>
                  <a:lnTo>
                    <a:pt x="3173" y="2127"/>
                  </a:lnTo>
                  <a:lnTo>
                    <a:pt x="3197" y="2127"/>
                  </a:lnTo>
                  <a:lnTo>
                    <a:pt x="3268" y="2115"/>
                  </a:lnTo>
                  <a:lnTo>
                    <a:pt x="3280" y="2103"/>
                  </a:lnTo>
                  <a:lnTo>
                    <a:pt x="3316" y="2091"/>
                  </a:lnTo>
                  <a:lnTo>
                    <a:pt x="3423" y="2091"/>
                  </a:lnTo>
                  <a:lnTo>
                    <a:pt x="3506" y="2127"/>
                  </a:lnTo>
                  <a:lnTo>
                    <a:pt x="3601" y="2151"/>
                  </a:lnTo>
                  <a:lnTo>
                    <a:pt x="3732" y="2163"/>
                  </a:lnTo>
                  <a:lnTo>
                    <a:pt x="3886" y="2222"/>
                  </a:lnTo>
                  <a:lnTo>
                    <a:pt x="3922" y="2222"/>
                  </a:lnTo>
                  <a:lnTo>
                    <a:pt x="3981" y="2198"/>
                  </a:lnTo>
                  <a:lnTo>
                    <a:pt x="4029" y="2198"/>
                  </a:lnTo>
                  <a:lnTo>
                    <a:pt x="4076" y="2234"/>
                  </a:lnTo>
                  <a:lnTo>
                    <a:pt x="4076" y="2210"/>
                  </a:lnTo>
                  <a:lnTo>
                    <a:pt x="4124" y="2198"/>
                  </a:lnTo>
                  <a:lnTo>
                    <a:pt x="4136" y="2187"/>
                  </a:lnTo>
                  <a:lnTo>
                    <a:pt x="4219" y="2210"/>
                  </a:lnTo>
                  <a:lnTo>
                    <a:pt x="4290" y="2187"/>
                  </a:lnTo>
                  <a:close/>
                </a:path>
              </a:pathLst>
            </a:custGeom>
            <a:solidFill>
              <a:srgbClr val="EAEAEA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14" name="Freeform 254"/>
            <p:cNvSpPr>
              <a:spLocks/>
            </p:cNvSpPr>
            <p:nvPr/>
          </p:nvSpPr>
          <p:spPr bwMode="auto">
            <a:xfrm>
              <a:off x="29648150" y="-18105438"/>
              <a:ext cx="7810500" cy="9904413"/>
            </a:xfrm>
            <a:custGeom>
              <a:avLst/>
              <a:gdLst/>
              <a:ahLst/>
              <a:cxnLst>
                <a:cxn ang="0">
                  <a:pos x="4635" y="2317"/>
                </a:cxn>
                <a:cxn ang="0">
                  <a:pos x="4338" y="2080"/>
                </a:cxn>
                <a:cxn ang="0">
                  <a:pos x="3958" y="1759"/>
                </a:cxn>
                <a:cxn ang="0">
                  <a:pos x="3720" y="1438"/>
                </a:cxn>
                <a:cxn ang="0">
                  <a:pos x="3268" y="1082"/>
                </a:cxn>
                <a:cxn ang="0">
                  <a:pos x="2983" y="868"/>
                </a:cxn>
                <a:cxn ang="0">
                  <a:pos x="2948" y="773"/>
                </a:cxn>
                <a:cxn ang="0">
                  <a:pos x="2603" y="523"/>
                </a:cxn>
                <a:cxn ang="0">
                  <a:pos x="2425" y="452"/>
                </a:cxn>
                <a:cxn ang="0">
                  <a:pos x="2068" y="273"/>
                </a:cxn>
                <a:cxn ang="0">
                  <a:pos x="1545" y="83"/>
                </a:cxn>
                <a:cxn ang="0">
                  <a:pos x="1106" y="0"/>
                </a:cxn>
                <a:cxn ang="0">
                  <a:pos x="797" y="60"/>
                </a:cxn>
                <a:cxn ang="0">
                  <a:pos x="761" y="262"/>
                </a:cxn>
                <a:cxn ang="0">
                  <a:pos x="690" y="95"/>
                </a:cxn>
                <a:cxn ang="0">
                  <a:pos x="404" y="119"/>
                </a:cxn>
                <a:cxn ang="0">
                  <a:pos x="179" y="119"/>
                </a:cxn>
                <a:cxn ang="0">
                  <a:pos x="202" y="285"/>
                </a:cxn>
                <a:cxn ang="0">
                  <a:pos x="96" y="464"/>
                </a:cxn>
                <a:cxn ang="0">
                  <a:pos x="0" y="725"/>
                </a:cxn>
                <a:cxn ang="0">
                  <a:pos x="84" y="1070"/>
                </a:cxn>
                <a:cxn ang="0">
                  <a:pos x="262" y="1533"/>
                </a:cxn>
                <a:cxn ang="0">
                  <a:pos x="511" y="1925"/>
                </a:cxn>
                <a:cxn ang="0">
                  <a:pos x="500" y="2353"/>
                </a:cxn>
                <a:cxn ang="0">
                  <a:pos x="452" y="2615"/>
                </a:cxn>
                <a:cxn ang="0">
                  <a:pos x="535" y="3090"/>
                </a:cxn>
                <a:cxn ang="0">
                  <a:pos x="523" y="3233"/>
                </a:cxn>
                <a:cxn ang="0">
                  <a:pos x="559" y="3720"/>
                </a:cxn>
                <a:cxn ang="0">
                  <a:pos x="583" y="4005"/>
                </a:cxn>
                <a:cxn ang="0">
                  <a:pos x="630" y="4445"/>
                </a:cxn>
                <a:cxn ang="0">
                  <a:pos x="761" y="4766"/>
                </a:cxn>
                <a:cxn ang="0">
                  <a:pos x="1118" y="4872"/>
                </a:cxn>
                <a:cxn ang="0">
                  <a:pos x="1022" y="5277"/>
                </a:cxn>
                <a:cxn ang="0">
                  <a:pos x="987" y="5550"/>
                </a:cxn>
                <a:cxn ang="0">
                  <a:pos x="1189" y="5562"/>
                </a:cxn>
                <a:cxn ang="0">
                  <a:pos x="1462" y="5645"/>
                </a:cxn>
                <a:cxn ang="0">
                  <a:pos x="1938" y="5562"/>
                </a:cxn>
                <a:cxn ang="0">
                  <a:pos x="2163" y="5764"/>
                </a:cxn>
                <a:cxn ang="0">
                  <a:pos x="2342" y="5871"/>
                </a:cxn>
                <a:cxn ang="0">
                  <a:pos x="2508" y="6049"/>
                </a:cxn>
                <a:cxn ang="0">
                  <a:pos x="2722" y="6215"/>
                </a:cxn>
                <a:cxn ang="0">
                  <a:pos x="2900" y="6120"/>
                </a:cxn>
                <a:cxn ang="0">
                  <a:pos x="3090" y="6001"/>
                </a:cxn>
                <a:cxn ang="0">
                  <a:pos x="3233" y="5490"/>
                </a:cxn>
                <a:cxn ang="0">
                  <a:pos x="3138" y="5300"/>
                </a:cxn>
                <a:cxn ang="0">
                  <a:pos x="3126" y="5063"/>
                </a:cxn>
                <a:cxn ang="0">
                  <a:pos x="3221" y="4754"/>
                </a:cxn>
                <a:cxn ang="0">
                  <a:pos x="3340" y="4445"/>
                </a:cxn>
                <a:cxn ang="0">
                  <a:pos x="3328" y="4314"/>
                </a:cxn>
                <a:cxn ang="0">
                  <a:pos x="3566" y="4088"/>
                </a:cxn>
                <a:cxn ang="0">
                  <a:pos x="3720" y="3969"/>
                </a:cxn>
                <a:cxn ang="0">
                  <a:pos x="3863" y="3839"/>
                </a:cxn>
                <a:cxn ang="0">
                  <a:pos x="3898" y="3672"/>
                </a:cxn>
                <a:cxn ang="0">
                  <a:pos x="4148" y="3304"/>
                </a:cxn>
                <a:cxn ang="0">
                  <a:pos x="4421" y="2757"/>
                </a:cxn>
              </a:cxnLst>
              <a:rect l="0" t="0" r="r" b="b"/>
              <a:pathLst>
                <a:path w="4920" h="6239">
                  <a:moveTo>
                    <a:pt x="4920" y="2579"/>
                  </a:moveTo>
                  <a:lnTo>
                    <a:pt x="4920" y="2579"/>
                  </a:lnTo>
                  <a:lnTo>
                    <a:pt x="4873" y="2472"/>
                  </a:lnTo>
                  <a:lnTo>
                    <a:pt x="4837" y="2424"/>
                  </a:lnTo>
                  <a:lnTo>
                    <a:pt x="4671" y="2353"/>
                  </a:lnTo>
                  <a:lnTo>
                    <a:pt x="4635" y="2317"/>
                  </a:lnTo>
                  <a:lnTo>
                    <a:pt x="4611" y="2317"/>
                  </a:lnTo>
                  <a:lnTo>
                    <a:pt x="4588" y="2329"/>
                  </a:lnTo>
                  <a:lnTo>
                    <a:pt x="4516" y="2294"/>
                  </a:lnTo>
                  <a:lnTo>
                    <a:pt x="4409" y="2199"/>
                  </a:lnTo>
                  <a:lnTo>
                    <a:pt x="4397" y="2175"/>
                  </a:lnTo>
                  <a:lnTo>
                    <a:pt x="4338" y="2080"/>
                  </a:lnTo>
                  <a:lnTo>
                    <a:pt x="4291" y="2068"/>
                  </a:lnTo>
                  <a:lnTo>
                    <a:pt x="4279" y="2056"/>
                  </a:lnTo>
                  <a:lnTo>
                    <a:pt x="4302" y="2020"/>
                  </a:lnTo>
                  <a:lnTo>
                    <a:pt x="4231" y="1997"/>
                  </a:lnTo>
                  <a:lnTo>
                    <a:pt x="4148" y="1949"/>
                  </a:lnTo>
                  <a:lnTo>
                    <a:pt x="3958" y="1759"/>
                  </a:lnTo>
                  <a:lnTo>
                    <a:pt x="3886" y="1676"/>
                  </a:lnTo>
                  <a:lnTo>
                    <a:pt x="3851" y="1664"/>
                  </a:lnTo>
                  <a:lnTo>
                    <a:pt x="3839" y="1604"/>
                  </a:lnTo>
                  <a:lnTo>
                    <a:pt x="3803" y="1557"/>
                  </a:lnTo>
                  <a:lnTo>
                    <a:pt x="3756" y="1509"/>
                  </a:lnTo>
                  <a:lnTo>
                    <a:pt x="3720" y="1438"/>
                  </a:lnTo>
                  <a:lnTo>
                    <a:pt x="3625" y="1343"/>
                  </a:lnTo>
                  <a:lnTo>
                    <a:pt x="3566" y="1284"/>
                  </a:lnTo>
                  <a:lnTo>
                    <a:pt x="3482" y="1165"/>
                  </a:lnTo>
                  <a:lnTo>
                    <a:pt x="3411" y="1129"/>
                  </a:lnTo>
                  <a:lnTo>
                    <a:pt x="3328" y="1117"/>
                  </a:lnTo>
                  <a:lnTo>
                    <a:pt x="3268" y="1082"/>
                  </a:lnTo>
                  <a:lnTo>
                    <a:pt x="3209" y="1034"/>
                  </a:lnTo>
                  <a:lnTo>
                    <a:pt x="3126" y="975"/>
                  </a:lnTo>
                  <a:lnTo>
                    <a:pt x="3043" y="868"/>
                  </a:lnTo>
                  <a:lnTo>
                    <a:pt x="2995" y="832"/>
                  </a:lnTo>
                  <a:lnTo>
                    <a:pt x="2983" y="832"/>
                  </a:lnTo>
                  <a:lnTo>
                    <a:pt x="2983" y="868"/>
                  </a:lnTo>
                  <a:lnTo>
                    <a:pt x="2971" y="880"/>
                  </a:lnTo>
                  <a:lnTo>
                    <a:pt x="2995" y="963"/>
                  </a:lnTo>
                  <a:lnTo>
                    <a:pt x="2971" y="963"/>
                  </a:lnTo>
                  <a:lnTo>
                    <a:pt x="2936" y="927"/>
                  </a:lnTo>
                  <a:lnTo>
                    <a:pt x="2948" y="880"/>
                  </a:lnTo>
                  <a:lnTo>
                    <a:pt x="2948" y="773"/>
                  </a:lnTo>
                  <a:lnTo>
                    <a:pt x="2936" y="749"/>
                  </a:lnTo>
                  <a:lnTo>
                    <a:pt x="2888" y="749"/>
                  </a:lnTo>
                  <a:lnTo>
                    <a:pt x="2817" y="737"/>
                  </a:lnTo>
                  <a:lnTo>
                    <a:pt x="2734" y="678"/>
                  </a:lnTo>
                  <a:lnTo>
                    <a:pt x="2662" y="559"/>
                  </a:lnTo>
                  <a:lnTo>
                    <a:pt x="2603" y="523"/>
                  </a:lnTo>
                  <a:lnTo>
                    <a:pt x="2579" y="511"/>
                  </a:lnTo>
                  <a:lnTo>
                    <a:pt x="2520" y="499"/>
                  </a:lnTo>
                  <a:lnTo>
                    <a:pt x="2437" y="499"/>
                  </a:lnTo>
                  <a:lnTo>
                    <a:pt x="2425" y="487"/>
                  </a:lnTo>
                  <a:lnTo>
                    <a:pt x="2437" y="452"/>
                  </a:lnTo>
                  <a:lnTo>
                    <a:pt x="2425" y="452"/>
                  </a:lnTo>
                  <a:lnTo>
                    <a:pt x="2294" y="416"/>
                  </a:lnTo>
                  <a:lnTo>
                    <a:pt x="2235" y="357"/>
                  </a:lnTo>
                  <a:lnTo>
                    <a:pt x="2163" y="321"/>
                  </a:lnTo>
                  <a:lnTo>
                    <a:pt x="2104" y="262"/>
                  </a:lnTo>
                  <a:lnTo>
                    <a:pt x="2080" y="262"/>
                  </a:lnTo>
                  <a:lnTo>
                    <a:pt x="2068" y="273"/>
                  </a:lnTo>
                  <a:lnTo>
                    <a:pt x="2033" y="273"/>
                  </a:lnTo>
                  <a:lnTo>
                    <a:pt x="1902" y="167"/>
                  </a:lnTo>
                  <a:lnTo>
                    <a:pt x="1795" y="107"/>
                  </a:lnTo>
                  <a:lnTo>
                    <a:pt x="1581" y="48"/>
                  </a:lnTo>
                  <a:lnTo>
                    <a:pt x="1557" y="60"/>
                  </a:lnTo>
                  <a:lnTo>
                    <a:pt x="1545" y="83"/>
                  </a:lnTo>
                  <a:lnTo>
                    <a:pt x="1474" y="48"/>
                  </a:lnTo>
                  <a:lnTo>
                    <a:pt x="1367" y="48"/>
                  </a:lnTo>
                  <a:lnTo>
                    <a:pt x="1308" y="36"/>
                  </a:lnTo>
                  <a:lnTo>
                    <a:pt x="1189" y="36"/>
                  </a:lnTo>
                  <a:lnTo>
                    <a:pt x="1153" y="24"/>
                  </a:lnTo>
                  <a:lnTo>
                    <a:pt x="1106" y="0"/>
                  </a:lnTo>
                  <a:lnTo>
                    <a:pt x="1082" y="0"/>
                  </a:lnTo>
                  <a:lnTo>
                    <a:pt x="1046" y="48"/>
                  </a:lnTo>
                  <a:lnTo>
                    <a:pt x="999" y="60"/>
                  </a:lnTo>
                  <a:lnTo>
                    <a:pt x="939" y="60"/>
                  </a:lnTo>
                  <a:lnTo>
                    <a:pt x="832" y="36"/>
                  </a:lnTo>
                  <a:lnTo>
                    <a:pt x="797" y="60"/>
                  </a:lnTo>
                  <a:lnTo>
                    <a:pt x="749" y="83"/>
                  </a:lnTo>
                  <a:lnTo>
                    <a:pt x="725" y="107"/>
                  </a:lnTo>
                  <a:lnTo>
                    <a:pt x="725" y="119"/>
                  </a:lnTo>
                  <a:lnTo>
                    <a:pt x="761" y="190"/>
                  </a:lnTo>
                  <a:lnTo>
                    <a:pt x="761" y="214"/>
                  </a:lnTo>
                  <a:lnTo>
                    <a:pt x="761" y="262"/>
                  </a:lnTo>
                  <a:lnTo>
                    <a:pt x="749" y="285"/>
                  </a:lnTo>
                  <a:lnTo>
                    <a:pt x="737" y="273"/>
                  </a:lnTo>
                  <a:lnTo>
                    <a:pt x="737" y="262"/>
                  </a:lnTo>
                  <a:lnTo>
                    <a:pt x="737" y="167"/>
                  </a:lnTo>
                  <a:lnTo>
                    <a:pt x="702" y="131"/>
                  </a:lnTo>
                  <a:lnTo>
                    <a:pt x="690" y="95"/>
                  </a:lnTo>
                  <a:lnTo>
                    <a:pt x="678" y="83"/>
                  </a:lnTo>
                  <a:lnTo>
                    <a:pt x="630" y="83"/>
                  </a:lnTo>
                  <a:lnTo>
                    <a:pt x="571" y="95"/>
                  </a:lnTo>
                  <a:lnTo>
                    <a:pt x="476" y="95"/>
                  </a:lnTo>
                  <a:lnTo>
                    <a:pt x="452" y="107"/>
                  </a:lnTo>
                  <a:lnTo>
                    <a:pt x="404" y="119"/>
                  </a:lnTo>
                  <a:lnTo>
                    <a:pt x="393" y="143"/>
                  </a:lnTo>
                  <a:lnTo>
                    <a:pt x="357" y="131"/>
                  </a:lnTo>
                  <a:lnTo>
                    <a:pt x="298" y="107"/>
                  </a:lnTo>
                  <a:lnTo>
                    <a:pt x="250" y="95"/>
                  </a:lnTo>
                  <a:lnTo>
                    <a:pt x="191" y="107"/>
                  </a:lnTo>
                  <a:lnTo>
                    <a:pt x="179" y="119"/>
                  </a:lnTo>
                  <a:lnTo>
                    <a:pt x="179" y="131"/>
                  </a:lnTo>
                  <a:lnTo>
                    <a:pt x="214" y="143"/>
                  </a:lnTo>
                  <a:lnTo>
                    <a:pt x="226" y="167"/>
                  </a:lnTo>
                  <a:lnTo>
                    <a:pt x="179" y="214"/>
                  </a:lnTo>
                  <a:lnTo>
                    <a:pt x="167" y="238"/>
                  </a:lnTo>
                  <a:lnTo>
                    <a:pt x="202" y="285"/>
                  </a:lnTo>
                  <a:lnTo>
                    <a:pt x="202" y="345"/>
                  </a:lnTo>
                  <a:lnTo>
                    <a:pt x="179" y="380"/>
                  </a:lnTo>
                  <a:lnTo>
                    <a:pt x="131" y="380"/>
                  </a:lnTo>
                  <a:lnTo>
                    <a:pt x="96" y="428"/>
                  </a:lnTo>
                  <a:lnTo>
                    <a:pt x="107" y="464"/>
                  </a:lnTo>
                  <a:lnTo>
                    <a:pt x="96" y="464"/>
                  </a:lnTo>
                  <a:lnTo>
                    <a:pt x="84" y="487"/>
                  </a:lnTo>
                  <a:lnTo>
                    <a:pt x="72" y="535"/>
                  </a:lnTo>
                  <a:lnTo>
                    <a:pt x="36" y="594"/>
                  </a:lnTo>
                  <a:lnTo>
                    <a:pt x="36" y="630"/>
                  </a:lnTo>
                  <a:lnTo>
                    <a:pt x="12" y="666"/>
                  </a:lnTo>
                  <a:lnTo>
                    <a:pt x="0" y="725"/>
                  </a:lnTo>
                  <a:lnTo>
                    <a:pt x="0" y="749"/>
                  </a:lnTo>
                  <a:lnTo>
                    <a:pt x="24" y="832"/>
                  </a:lnTo>
                  <a:lnTo>
                    <a:pt x="60" y="880"/>
                  </a:lnTo>
                  <a:lnTo>
                    <a:pt x="60" y="986"/>
                  </a:lnTo>
                  <a:lnTo>
                    <a:pt x="96" y="1070"/>
                  </a:lnTo>
                  <a:lnTo>
                    <a:pt x="84" y="1070"/>
                  </a:lnTo>
                  <a:lnTo>
                    <a:pt x="107" y="1117"/>
                  </a:lnTo>
                  <a:lnTo>
                    <a:pt x="155" y="1224"/>
                  </a:lnTo>
                  <a:lnTo>
                    <a:pt x="155" y="1295"/>
                  </a:lnTo>
                  <a:lnTo>
                    <a:pt x="155" y="1379"/>
                  </a:lnTo>
                  <a:lnTo>
                    <a:pt x="214" y="1462"/>
                  </a:lnTo>
                  <a:lnTo>
                    <a:pt x="262" y="1533"/>
                  </a:lnTo>
                  <a:lnTo>
                    <a:pt x="321" y="1628"/>
                  </a:lnTo>
                  <a:lnTo>
                    <a:pt x="345" y="1664"/>
                  </a:lnTo>
                  <a:lnTo>
                    <a:pt x="357" y="1664"/>
                  </a:lnTo>
                  <a:lnTo>
                    <a:pt x="393" y="1806"/>
                  </a:lnTo>
                  <a:lnTo>
                    <a:pt x="440" y="1866"/>
                  </a:lnTo>
                  <a:lnTo>
                    <a:pt x="511" y="1925"/>
                  </a:lnTo>
                  <a:lnTo>
                    <a:pt x="523" y="1973"/>
                  </a:lnTo>
                  <a:lnTo>
                    <a:pt x="511" y="2020"/>
                  </a:lnTo>
                  <a:lnTo>
                    <a:pt x="464" y="2104"/>
                  </a:lnTo>
                  <a:lnTo>
                    <a:pt x="452" y="2175"/>
                  </a:lnTo>
                  <a:lnTo>
                    <a:pt x="464" y="2222"/>
                  </a:lnTo>
                  <a:lnTo>
                    <a:pt x="500" y="2353"/>
                  </a:lnTo>
                  <a:lnTo>
                    <a:pt x="500" y="2401"/>
                  </a:lnTo>
                  <a:lnTo>
                    <a:pt x="488" y="2448"/>
                  </a:lnTo>
                  <a:lnTo>
                    <a:pt x="488" y="2520"/>
                  </a:lnTo>
                  <a:lnTo>
                    <a:pt x="464" y="2555"/>
                  </a:lnTo>
                  <a:lnTo>
                    <a:pt x="476" y="2555"/>
                  </a:lnTo>
                  <a:lnTo>
                    <a:pt x="452" y="2615"/>
                  </a:lnTo>
                  <a:lnTo>
                    <a:pt x="500" y="2781"/>
                  </a:lnTo>
                  <a:lnTo>
                    <a:pt x="535" y="2840"/>
                  </a:lnTo>
                  <a:lnTo>
                    <a:pt x="535" y="2924"/>
                  </a:lnTo>
                  <a:lnTo>
                    <a:pt x="559" y="3031"/>
                  </a:lnTo>
                  <a:lnTo>
                    <a:pt x="547" y="3078"/>
                  </a:lnTo>
                  <a:lnTo>
                    <a:pt x="535" y="3090"/>
                  </a:lnTo>
                  <a:lnTo>
                    <a:pt x="488" y="3114"/>
                  </a:lnTo>
                  <a:lnTo>
                    <a:pt x="500" y="3126"/>
                  </a:lnTo>
                  <a:lnTo>
                    <a:pt x="488" y="3149"/>
                  </a:lnTo>
                  <a:lnTo>
                    <a:pt x="476" y="3173"/>
                  </a:lnTo>
                  <a:lnTo>
                    <a:pt x="511" y="3197"/>
                  </a:lnTo>
                  <a:lnTo>
                    <a:pt x="523" y="3233"/>
                  </a:lnTo>
                  <a:lnTo>
                    <a:pt x="535" y="3280"/>
                  </a:lnTo>
                  <a:lnTo>
                    <a:pt x="523" y="3518"/>
                  </a:lnTo>
                  <a:lnTo>
                    <a:pt x="523" y="3542"/>
                  </a:lnTo>
                  <a:lnTo>
                    <a:pt x="547" y="3577"/>
                  </a:lnTo>
                  <a:lnTo>
                    <a:pt x="571" y="3625"/>
                  </a:lnTo>
                  <a:lnTo>
                    <a:pt x="559" y="3720"/>
                  </a:lnTo>
                  <a:lnTo>
                    <a:pt x="595" y="3755"/>
                  </a:lnTo>
                  <a:lnTo>
                    <a:pt x="607" y="3791"/>
                  </a:lnTo>
                  <a:lnTo>
                    <a:pt x="595" y="3886"/>
                  </a:lnTo>
                  <a:lnTo>
                    <a:pt x="571" y="3922"/>
                  </a:lnTo>
                  <a:lnTo>
                    <a:pt x="559" y="3946"/>
                  </a:lnTo>
                  <a:lnTo>
                    <a:pt x="583" y="4005"/>
                  </a:lnTo>
                  <a:lnTo>
                    <a:pt x="583" y="4005"/>
                  </a:lnTo>
                  <a:lnTo>
                    <a:pt x="607" y="4076"/>
                  </a:lnTo>
                  <a:lnTo>
                    <a:pt x="618" y="4195"/>
                  </a:lnTo>
                  <a:lnTo>
                    <a:pt x="654" y="4326"/>
                  </a:lnTo>
                  <a:lnTo>
                    <a:pt x="654" y="4373"/>
                  </a:lnTo>
                  <a:lnTo>
                    <a:pt x="630" y="4445"/>
                  </a:lnTo>
                  <a:lnTo>
                    <a:pt x="678" y="4504"/>
                  </a:lnTo>
                  <a:lnTo>
                    <a:pt x="725" y="4552"/>
                  </a:lnTo>
                  <a:lnTo>
                    <a:pt x="749" y="4611"/>
                  </a:lnTo>
                  <a:lnTo>
                    <a:pt x="761" y="4706"/>
                  </a:lnTo>
                  <a:lnTo>
                    <a:pt x="749" y="4718"/>
                  </a:lnTo>
                  <a:lnTo>
                    <a:pt x="761" y="4766"/>
                  </a:lnTo>
                  <a:lnTo>
                    <a:pt x="820" y="4789"/>
                  </a:lnTo>
                  <a:lnTo>
                    <a:pt x="904" y="4801"/>
                  </a:lnTo>
                  <a:lnTo>
                    <a:pt x="987" y="4837"/>
                  </a:lnTo>
                  <a:lnTo>
                    <a:pt x="1058" y="4849"/>
                  </a:lnTo>
                  <a:lnTo>
                    <a:pt x="1106" y="4872"/>
                  </a:lnTo>
                  <a:lnTo>
                    <a:pt x="1118" y="4872"/>
                  </a:lnTo>
                  <a:lnTo>
                    <a:pt x="1129" y="4896"/>
                  </a:lnTo>
                  <a:lnTo>
                    <a:pt x="1129" y="4932"/>
                  </a:lnTo>
                  <a:lnTo>
                    <a:pt x="1082" y="5027"/>
                  </a:lnTo>
                  <a:lnTo>
                    <a:pt x="1082" y="5134"/>
                  </a:lnTo>
                  <a:lnTo>
                    <a:pt x="1070" y="5170"/>
                  </a:lnTo>
                  <a:lnTo>
                    <a:pt x="1022" y="5277"/>
                  </a:lnTo>
                  <a:lnTo>
                    <a:pt x="999" y="5312"/>
                  </a:lnTo>
                  <a:lnTo>
                    <a:pt x="1011" y="5324"/>
                  </a:lnTo>
                  <a:lnTo>
                    <a:pt x="987" y="5372"/>
                  </a:lnTo>
                  <a:lnTo>
                    <a:pt x="987" y="5455"/>
                  </a:lnTo>
                  <a:lnTo>
                    <a:pt x="987" y="5550"/>
                  </a:lnTo>
                  <a:lnTo>
                    <a:pt x="987" y="5550"/>
                  </a:lnTo>
                  <a:lnTo>
                    <a:pt x="987" y="5550"/>
                  </a:lnTo>
                  <a:lnTo>
                    <a:pt x="1046" y="5562"/>
                  </a:lnTo>
                  <a:lnTo>
                    <a:pt x="1082" y="5609"/>
                  </a:lnTo>
                  <a:lnTo>
                    <a:pt x="1129" y="5621"/>
                  </a:lnTo>
                  <a:lnTo>
                    <a:pt x="1189" y="5574"/>
                  </a:lnTo>
                  <a:lnTo>
                    <a:pt x="1189" y="5562"/>
                  </a:lnTo>
                  <a:lnTo>
                    <a:pt x="1201" y="5538"/>
                  </a:lnTo>
                  <a:lnTo>
                    <a:pt x="1236" y="5526"/>
                  </a:lnTo>
                  <a:lnTo>
                    <a:pt x="1260" y="5597"/>
                  </a:lnTo>
                  <a:lnTo>
                    <a:pt x="1296" y="5621"/>
                  </a:lnTo>
                  <a:lnTo>
                    <a:pt x="1320" y="5633"/>
                  </a:lnTo>
                  <a:lnTo>
                    <a:pt x="1462" y="5645"/>
                  </a:lnTo>
                  <a:lnTo>
                    <a:pt x="1462" y="5633"/>
                  </a:lnTo>
                  <a:lnTo>
                    <a:pt x="1533" y="5633"/>
                  </a:lnTo>
                  <a:lnTo>
                    <a:pt x="1617" y="5597"/>
                  </a:lnTo>
                  <a:lnTo>
                    <a:pt x="1664" y="5586"/>
                  </a:lnTo>
                  <a:lnTo>
                    <a:pt x="1807" y="5609"/>
                  </a:lnTo>
                  <a:lnTo>
                    <a:pt x="1938" y="5562"/>
                  </a:lnTo>
                  <a:lnTo>
                    <a:pt x="1973" y="5574"/>
                  </a:lnTo>
                  <a:lnTo>
                    <a:pt x="2044" y="5621"/>
                  </a:lnTo>
                  <a:lnTo>
                    <a:pt x="2092" y="5669"/>
                  </a:lnTo>
                  <a:lnTo>
                    <a:pt x="2104" y="5704"/>
                  </a:lnTo>
                  <a:lnTo>
                    <a:pt x="2151" y="5752"/>
                  </a:lnTo>
                  <a:lnTo>
                    <a:pt x="2163" y="5764"/>
                  </a:lnTo>
                  <a:lnTo>
                    <a:pt x="2199" y="5752"/>
                  </a:lnTo>
                  <a:lnTo>
                    <a:pt x="2199" y="5740"/>
                  </a:lnTo>
                  <a:lnTo>
                    <a:pt x="2270" y="5764"/>
                  </a:lnTo>
                  <a:lnTo>
                    <a:pt x="2294" y="5788"/>
                  </a:lnTo>
                  <a:lnTo>
                    <a:pt x="2306" y="5788"/>
                  </a:lnTo>
                  <a:lnTo>
                    <a:pt x="2342" y="5871"/>
                  </a:lnTo>
                  <a:lnTo>
                    <a:pt x="2353" y="5918"/>
                  </a:lnTo>
                  <a:lnTo>
                    <a:pt x="2342" y="5966"/>
                  </a:lnTo>
                  <a:lnTo>
                    <a:pt x="2365" y="6013"/>
                  </a:lnTo>
                  <a:lnTo>
                    <a:pt x="2401" y="6037"/>
                  </a:lnTo>
                  <a:lnTo>
                    <a:pt x="2460" y="6025"/>
                  </a:lnTo>
                  <a:lnTo>
                    <a:pt x="2508" y="6049"/>
                  </a:lnTo>
                  <a:lnTo>
                    <a:pt x="2544" y="6085"/>
                  </a:lnTo>
                  <a:lnTo>
                    <a:pt x="2544" y="6108"/>
                  </a:lnTo>
                  <a:lnTo>
                    <a:pt x="2651" y="6227"/>
                  </a:lnTo>
                  <a:lnTo>
                    <a:pt x="2674" y="6227"/>
                  </a:lnTo>
                  <a:lnTo>
                    <a:pt x="2698" y="6203"/>
                  </a:lnTo>
                  <a:lnTo>
                    <a:pt x="2722" y="6215"/>
                  </a:lnTo>
                  <a:lnTo>
                    <a:pt x="2746" y="6239"/>
                  </a:lnTo>
                  <a:lnTo>
                    <a:pt x="2769" y="6227"/>
                  </a:lnTo>
                  <a:lnTo>
                    <a:pt x="2769" y="6215"/>
                  </a:lnTo>
                  <a:lnTo>
                    <a:pt x="2781" y="6168"/>
                  </a:lnTo>
                  <a:lnTo>
                    <a:pt x="2781" y="6144"/>
                  </a:lnTo>
                  <a:lnTo>
                    <a:pt x="2900" y="6120"/>
                  </a:lnTo>
                  <a:lnTo>
                    <a:pt x="2912" y="6108"/>
                  </a:lnTo>
                  <a:lnTo>
                    <a:pt x="2948" y="6025"/>
                  </a:lnTo>
                  <a:lnTo>
                    <a:pt x="2971" y="6001"/>
                  </a:lnTo>
                  <a:lnTo>
                    <a:pt x="3031" y="5990"/>
                  </a:lnTo>
                  <a:lnTo>
                    <a:pt x="3090" y="6001"/>
                  </a:lnTo>
                  <a:lnTo>
                    <a:pt x="3090" y="6001"/>
                  </a:lnTo>
                  <a:lnTo>
                    <a:pt x="3090" y="5978"/>
                  </a:lnTo>
                  <a:lnTo>
                    <a:pt x="3257" y="5728"/>
                  </a:lnTo>
                  <a:lnTo>
                    <a:pt x="3304" y="5669"/>
                  </a:lnTo>
                  <a:lnTo>
                    <a:pt x="3304" y="5621"/>
                  </a:lnTo>
                  <a:lnTo>
                    <a:pt x="3304" y="5586"/>
                  </a:lnTo>
                  <a:lnTo>
                    <a:pt x="3233" y="5490"/>
                  </a:lnTo>
                  <a:lnTo>
                    <a:pt x="3150" y="5467"/>
                  </a:lnTo>
                  <a:lnTo>
                    <a:pt x="3138" y="5455"/>
                  </a:lnTo>
                  <a:lnTo>
                    <a:pt x="3138" y="5431"/>
                  </a:lnTo>
                  <a:lnTo>
                    <a:pt x="3162" y="5407"/>
                  </a:lnTo>
                  <a:lnTo>
                    <a:pt x="3162" y="5336"/>
                  </a:lnTo>
                  <a:lnTo>
                    <a:pt x="3138" y="5300"/>
                  </a:lnTo>
                  <a:lnTo>
                    <a:pt x="3126" y="5277"/>
                  </a:lnTo>
                  <a:lnTo>
                    <a:pt x="3090" y="5265"/>
                  </a:lnTo>
                  <a:lnTo>
                    <a:pt x="3078" y="5253"/>
                  </a:lnTo>
                  <a:lnTo>
                    <a:pt x="3066" y="5122"/>
                  </a:lnTo>
                  <a:lnTo>
                    <a:pt x="3066" y="5098"/>
                  </a:lnTo>
                  <a:lnTo>
                    <a:pt x="3126" y="5063"/>
                  </a:lnTo>
                  <a:lnTo>
                    <a:pt x="3126" y="5051"/>
                  </a:lnTo>
                  <a:lnTo>
                    <a:pt x="3173" y="5039"/>
                  </a:lnTo>
                  <a:lnTo>
                    <a:pt x="3185" y="4979"/>
                  </a:lnTo>
                  <a:lnTo>
                    <a:pt x="3185" y="4861"/>
                  </a:lnTo>
                  <a:lnTo>
                    <a:pt x="3221" y="4754"/>
                  </a:lnTo>
                  <a:lnTo>
                    <a:pt x="3221" y="4754"/>
                  </a:lnTo>
                  <a:lnTo>
                    <a:pt x="3233" y="4682"/>
                  </a:lnTo>
                  <a:lnTo>
                    <a:pt x="3257" y="4587"/>
                  </a:lnTo>
                  <a:lnTo>
                    <a:pt x="3304" y="4516"/>
                  </a:lnTo>
                  <a:lnTo>
                    <a:pt x="3375" y="4468"/>
                  </a:lnTo>
                  <a:lnTo>
                    <a:pt x="3375" y="4445"/>
                  </a:lnTo>
                  <a:lnTo>
                    <a:pt x="3340" y="4445"/>
                  </a:lnTo>
                  <a:lnTo>
                    <a:pt x="3316" y="4457"/>
                  </a:lnTo>
                  <a:lnTo>
                    <a:pt x="3292" y="4457"/>
                  </a:lnTo>
                  <a:lnTo>
                    <a:pt x="3292" y="4445"/>
                  </a:lnTo>
                  <a:lnTo>
                    <a:pt x="3316" y="4397"/>
                  </a:lnTo>
                  <a:lnTo>
                    <a:pt x="3316" y="4361"/>
                  </a:lnTo>
                  <a:lnTo>
                    <a:pt x="3328" y="4314"/>
                  </a:lnTo>
                  <a:lnTo>
                    <a:pt x="3375" y="4278"/>
                  </a:lnTo>
                  <a:lnTo>
                    <a:pt x="3435" y="4183"/>
                  </a:lnTo>
                  <a:lnTo>
                    <a:pt x="3447" y="4124"/>
                  </a:lnTo>
                  <a:lnTo>
                    <a:pt x="3471" y="4088"/>
                  </a:lnTo>
                  <a:lnTo>
                    <a:pt x="3494" y="4088"/>
                  </a:lnTo>
                  <a:lnTo>
                    <a:pt x="3566" y="4088"/>
                  </a:lnTo>
                  <a:lnTo>
                    <a:pt x="3613" y="4088"/>
                  </a:lnTo>
                  <a:lnTo>
                    <a:pt x="3637" y="4076"/>
                  </a:lnTo>
                  <a:lnTo>
                    <a:pt x="3673" y="4053"/>
                  </a:lnTo>
                  <a:lnTo>
                    <a:pt x="3661" y="4029"/>
                  </a:lnTo>
                  <a:lnTo>
                    <a:pt x="3696" y="3981"/>
                  </a:lnTo>
                  <a:lnTo>
                    <a:pt x="3720" y="3969"/>
                  </a:lnTo>
                  <a:lnTo>
                    <a:pt x="3732" y="3946"/>
                  </a:lnTo>
                  <a:lnTo>
                    <a:pt x="3744" y="3934"/>
                  </a:lnTo>
                  <a:lnTo>
                    <a:pt x="3768" y="3922"/>
                  </a:lnTo>
                  <a:lnTo>
                    <a:pt x="3791" y="3910"/>
                  </a:lnTo>
                  <a:lnTo>
                    <a:pt x="3839" y="3862"/>
                  </a:lnTo>
                  <a:lnTo>
                    <a:pt x="3863" y="3839"/>
                  </a:lnTo>
                  <a:lnTo>
                    <a:pt x="3863" y="3827"/>
                  </a:lnTo>
                  <a:lnTo>
                    <a:pt x="3910" y="3791"/>
                  </a:lnTo>
                  <a:lnTo>
                    <a:pt x="3910" y="3791"/>
                  </a:lnTo>
                  <a:lnTo>
                    <a:pt x="3922" y="3744"/>
                  </a:lnTo>
                  <a:lnTo>
                    <a:pt x="3934" y="3732"/>
                  </a:lnTo>
                  <a:lnTo>
                    <a:pt x="3898" y="3672"/>
                  </a:lnTo>
                  <a:lnTo>
                    <a:pt x="3898" y="3648"/>
                  </a:lnTo>
                  <a:lnTo>
                    <a:pt x="3922" y="3601"/>
                  </a:lnTo>
                  <a:lnTo>
                    <a:pt x="3946" y="3553"/>
                  </a:lnTo>
                  <a:lnTo>
                    <a:pt x="4124" y="3387"/>
                  </a:lnTo>
                  <a:lnTo>
                    <a:pt x="4136" y="3363"/>
                  </a:lnTo>
                  <a:lnTo>
                    <a:pt x="4148" y="3304"/>
                  </a:lnTo>
                  <a:lnTo>
                    <a:pt x="4207" y="3221"/>
                  </a:lnTo>
                  <a:lnTo>
                    <a:pt x="4255" y="3114"/>
                  </a:lnTo>
                  <a:lnTo>
                    <a:pt x="4255" y="3066"/>
                  </a:lnTo>
                  <a:lnTo>
                    <a:pt x="4279" y="3019"/>
                  </a:lnTo>
                  <a:lnTo>
                    <a:pt x="4338" y="2935"/>
                  </a:lnTo>
                  <a:lnTo>
                    <a:pt x="4421" y="2757"/>
                  </a:lnTo>
                  <a:lnTo>
                    <a:pt x="4469" y="2710"/>
                  </a:lnTo>
                  <a:lnTo>
                    <a:pt x="4552" y="2650"/>
                  </a:lnTo>
                  <a:lnTo>
                    <a:pt x="4647" y="2615"/>
                  </a:lnTo>
                  <a:lnTo>
                    <a:pt x="4920" y="2579"/>
                  </a:lnTo>
                  <a:lnTo>
                    <a:pt x="4920" y="2579"/>
                  </a:lnTo>
                  <a:close/>
                </a:path>
              </a:pathLst>
            </a:custGeom>
            <a:solidFill>
              <a:srgbClr val="EAEAEA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15" name="Freeform 256"/>
            <p:cNvSpPr>
              <a:spLocks/>
            </p:cNvSpPr>
            <p:nvPr/>
          </p:nvSpPr>
          <p:spPr bwMode="auto">
            <a:xfrm>
              <a:off x="20650200" y="-18218150"/>
              <a:ext cx="10790238" cy="15582900"/>
            </a:xfrm>
            <a:custGeom>
              <a:avLst/>
              <a:gdLst/>
              <a:ahLst/>
              <a:cxnLst>
                <a:cxn ang="0">
                  <a:pos x="5668" y="285"/>
                </a:cxn>
                <a:cxn ang="0">
                  <a:pos x="5336" y="47"/>
                </a:cxn>
                <a:cxn ang="0">
                  <a:pos x="5229" y="261"/>
                </a:cxn>
                <a:cxn ang="0">
                  <a:pos x="5003" y="570"/>
                </a:cxn>
                <a:cxn ang="0">
                  <a:pos x="4813" y="689"/>
                </a:cxn>
                <a:cxn ang="0">
                  <a:pos x="4516" y="832"/>
                </a:cxn>
                <a:cxn ang="0">
                  <a:pos x="4361" y="808"/>
                </a:cxn>
                <a:cxn ang="0">
                  <a:pos x="4135" y="1093"/>
                </a:cxn>
                <a:cxn ang="0">
                  <a:pos x="3862" y="1616"/>
                </a:cxn>
                <a:cxn ang="0">
                  <a:pos x="3803" y="1925"/>
                </a:cxn>
                <a:cxn ang="0">
                  <a:pos x="3803" y="2329"/>
                </a:cxn>
                <a:cxn ang="0">
                  <a:pos x="3910" y="2781"/>
                </a:cxn>
                <a:cxn ang="0">
                  <a:pos x="3945" y="2995"/>
                </a:cxn>
                <a:cxn ang="0">
                  <a:pos x="3660" y="3410"/>
                </a:cxn>
                <a:cxn ang="0">
                  <a:pos x="3624" y="3862"/>
                </a:cxn>
                <a:cxn ang="0">
                  <a:pos x="3826" y="4183"/>
                </a:cxn>
                <a:cxn ang="0">
                  <a:pos x="3791" y="4623"/>
                </a:cxn>
                <a:cxn ang="0">
                  <a:pos x="3363" y="4837"/>
                </a:cxn>
                <a:cxn ang="0">
                  <a:pos x="2769" y="4741"/>
                </a:cxn>
                <a:cxn ang="0">
                  <a:pos x="2317" y="4920"/>
                </a:cxn>
                <a:cxn ang="0">
                  <a:pos x="2056" y="5217"/>
                </a:cxn>
                <a:cxn ang="0">
                  <a:pos x="1545" y="5490"/>
                </a:cxn>
                <a:cxn ang="0">
                  <a:pos x="974" y="5752"/>
                </a:cxn>
                <a:cxn ang="0">
                  <a:pos x="630" y="6191"/>
                </a:cxn>
                <a:cxn ang="0">
                  <a:pos x="392" y="6797"/>
                </a:cxn>
                <a:cxn ang="0">
                  <a:pos x="142" y="7629"/>
                </a:cxn>
                <a:cxn ang="0">
                  <a:pos x="249" y="8140"/>
                </a:cxn>
                <a:cxn ang="0">
                  <a:pos x="166" y="8770"/>
                </a:cxn>
                <a:cxn ang="0">
                  <a:pos x="202" y="8984"/>
                </a:cxn>
                <a:cxn ang="0">
                  <a:pos x="570" y="8877"/>
                </a:cxn>
                <a:cxn ang="0">
                  <a:pos x="820" y="9519"/>
                </a:cxn>
                <a:cxn ang="0">
                  <a:pos x="1414" y="9756"/>
                </a:cxn>
                <a:cxn ang="0">
                  <a:pos x="1735" y="9471"/>
                </a:cxn>
                <a:cxn ang="0">
                  <a:pos x="2163" y="9483"/>
                </a:cxn>
                <a:cxn ang="0">
                  <a:pos x="2484" y="9222"/>
                </a:cxn>
                <a:cxn ang="0">
                  <a:pos x="2745" y="8830"/>
                </a:cxn>
                <a:cxn ang="0">
                  <a:pos x="2662" y="8437"/>
                </a:cxn>
                <a:cxn ang="0">
                  <a:pos x="2983" y="7879"/>
                </a:cxn>
                <a:cxn ang="0">
                  <a:pos x="3327" y="8045"/>
                </a:cxn>
                <a:cxn ang="0">
                  <a:pos x="3743" y="8152"/>
                </a:cxn>
                <a:cxn ang="0">
                  <a:pos x="4005" y="8188"/>
                </a:cxn>
                <a:cxn ang="0">
                  <a:pos x="4516" y="7914"/>
                </a:cxn>
                <a:cxn ang="0">
                  <a:pos x="5169" y="7605"/>
                </a:cxn>
                <a:cxn ang="0">
                  <a:pos x="5692" y="7213"/>
                </a:cxn>
                <a:cxn ang="0">
                  <a:pos x="6120" y="6940"/>
                </a:cxn>
                <a:cxn ang="0">
                  <a:pos x="6453" y="6619"/>
                </a:cxn>
                <a:cxn ang="0">
                  <a:pos x="6607" y="6203"/>
                </a:cxn>
                <a:cxn ang="0">
                  <a:pos x="6429" y="5728"/>
                </a:cxn>
                <a:cxn ang="0">
                  <a:pos x="6655" y="5621"/>
                </a:cxn>
                <a:cxn ang="0">
                  <a:pos x="6797" y="5003"/>
                </a:cxn>
                <a:cxn ang="0">
                  <a:pos x="6417" y="4789"/>
                </a:cxn>
                <a:cxn ang="0">
                  <a:pos x="6275" y="4147"/>
                </a:cxn>
                <a:cxn ang="0">
                  <a:pos x="6239" y="3696"/>
                </a:cxn>
                <a:cxn ang="0">
                  <a:pos x="6168" y="3197"/>
                </a:cxn>
                <a:cxn ang="0">
                  <a:pos x="6144" y="2626"/>
                </a:cxn>
                <a:cxn ang="0">
                  <a:pos x="6179" y="2091"/>
                </a:cxn>
                <a:cxn ang="0">
                  <a:pos x="5882" y="1533"/>
                </a:cxn>
                <a:cxn ang="0">
                  <a:pos x="5692" y="903"/>
                </a:cxn>
                <a:cxn ang="0">
                  <a:pos x="5775" y="535"/>
                </a:cxn>
              </a:cxnLst>
              <a:rect l="0" t="0" r="r" b="b"/>
              <a:pathLst>
                <a:path w="6797" h="9816">
                  <a:moveTo>
                    <a:pt x="5835" y="309"/>
                  </a:moveTo>
                  <a:lnTo>
                    <a:pt x="5835" y="309"/>
                  </a:lnTo>
                  <a:lnTo>
                    <a:pt x="5799" y="297"/>
                  </a:lnTo>
                  <a:lnTo>
                    <a:pt x="5775" y="285"/>
                  </a:lnTo>
                  <a:lnTo>
                    <a:pt x="5775" y="261"/>
                  </a:lnTo>
                  <a:lnTo>
                    <a:pt x="5764" y="238"/>
                  </a:lnTo>
                  <a:lnTo>
                    <a:pt x="5692" y="214"/>
                  </a:lnTo>
                  <a:lnTo>
                    <a:pt x="5668" y="238"/>
                  </a:lnTo>
                  <a:lnTo>
                    <a:pt x="5668" y="285"/>
                  </a:lnTo>
                  <a:lnTo>
                    <a:pt x="5657" y="297"/>
                  </a:lnTo>
                  <a:lnTo>
                    <a:pt x="5645" y="285"/>
                  </a:lnTo>
                  <a:lnTo>
                    <a:pt x="5633" y="214"/>
                  </a:lnTo>
                  <a:lnTo>
                    <a:pt x="5573" y="178"/>
                  </a:lnTo>
                  <a:lnTo>
                    <a:pt x="5419" y="166"/>
                  </a:lnTo>
                  <a:lnTo>
                    <a:pt x="5383" y="119"/>
                  </a:lnTo>
                  <a:lnTo>
                    <a:pt x="5371" y="107"/>
                  </a:lnTo>
                  <a:lnTo>
                    <a:pt x="5348" y="95"/>
                  </a:lnTo>
                  <a:lnTo>
                    <a:pt x="5336" y="47"/>
                  </a:lnTo>
                  <a:lnTo>
                    <a:pt x="5300" y="35"/>
                  </a:lnTo>
                  <a:lnTo>
                    <a:pt x="5241" y="0"/>
                  </a:lnTo>
                  <a:lnTo>
                    <a:pt x="5217" y="0"/>
                  </a:lnTo>
                  <a:lnTo>
                    <a:pt x="5205" y="12"/>
                  </a:lnTo>
                  <a:lnTo>
                    <a:pt x="5157" y="107"/>
                  </a:lnTo>
                  <a:lnTo>
                    <a:pt x="5157" y="142"/>
                  </a:lnTo>
                  <a:lnTo>
                    <a:pt x="5205" y="202"/>
                  </a:lnTo>
                  <a:lnTo>
                    <a:pt x="5229" y="238"/>
                  </a:lnTo>
                  <a:lnTo>
                    <a:pt x="5229" y="261"/>
                  </a:lnTo>
                  <a:lnTo>
                    <a:pt x="5205" y="285"/>
                  </a:lnTo>
                  <a:lnTo>
                    <a:pt x="5193" y="321"/>
                  </a:lnTo>
                  <a:lnTo>
                    <a:pt x="5146" y="380"/>
                  </a:lnTo>
                  <a:lnTo>
                    <a:pt x="5086" y="404"/>
                  </a:lnTo>
                  <a:lnTo>
                    <a:pt x="5062" y="416"/>
                  </a:lnTo>
                  <a:lnTo>
                    <a:pt x="5050" y="463"/>
                  </a:lnTo>
                  <a:lnTo>
                    <a:pt x="5050" y="499"/>
                  </a:lnTo>
                  <a:lnTo>
                    <a:pt x="5003" y="511"/>
                  </a:lnTo>
                  <a:lnTo>
                    <a:pt x="5003" y="570"/>
                  </a:lnTo>
                  <a:lnTo>
                    <a:pt x="4979" y="582"/>
                  </a:lnTo>
                  <a:lnTo>
                    <a:pt x="4932" y="594"/>
                  </a:lnTo>
                  <a:lnTo>
                    <a:pt x="4813" y="606"/>
                  </a:lnTo>
                  <a:lnTo>
                    <a:pt x="4813" y="630"/>
                  </a:lnTo>
                  <a:lnTo>
                    <a:pt x="4848" y="642"/>
                  </a:lnTo>
                  <a:lnTo>
                    <a:pt x="4848" y="653"/>
                  </a:lnTo>
                  <a:lnTo>
                    <a:pt x="4825" y="653"/>
                  </a:lnTo>
                  <a:lnTo>
                    <a:pt x="4813" y="665"/>
                  </a:lnTo>
                  <a:lnTo>
                    <a:pt x="4813" y="689"/>
                  </a:lnTo>
                  <a:lnTo>
                    <a:pt x="4801" y="713"/>
                  </a:lnTo>
                  <a:lnTo>
                    <a:pt x="4789" y="749"/>
                  </a:lnTo>
                  <a:lnTo>
                    <a:pt x="4718" y="784"/>
                  </a:lnTo>
                  <a:lnTo>
                    <a:pt x="4706" y="808"/>
                  </a:lnTo>
                  <a:lnTo>
                    <a:pt x="4646" y="832"/>
                  </a:lnTo>
                  <a:lnTo>
                    <a:pt x="4623" y="844"/>
                  </a:lnTo>
                  <a:lnTo>
                    <a:pt x="4611" y="844"/>
                  </a:lnTo>
                  <a:lnTo>
                    <a:pt x="4575" y="820"/>
                  </a:lnTo>
                  <a:lnTo>
                    <a:pt x="4516" y="832"/>
                  </a:lnTo>
                  <a:lnTo>
                    <a:pt x="4480" y="808"/>
                  </a:lnTo>
                  <a:lnTo>
                    <a:pt x="4456" y="844"/>
                  </a:lnTo>
                  <a:lnTo>
                    <a:pt x="4444" y="844"/>
                  </a:lnTo>
                  <a:lnTo>
                    <a:pt x="4421" y="832"/>
                  </a:lnTo>
                  <a:lnTo>
                    <a:pt x="4397" y="867"/>
                  </a:lnTo>
                  <a:lnTo>
                    <a:pt x="4385" y="867"/>
                  </a:lnTo>
                  <a:lnTo>
                    <a:pt x="4373" y="855"/>
                  </a:lnTo>
                  <a:lnTo>
                    <a:pt x="4373" y="820"/>
                  </a:lnTo>
                  <a:lnTo>
                    <a:pt x="4361" y="808"/>
                  </a:lnTo>
                  <a:lnTo>
                    <a:pt x="4337" y="832"/>
                  </a:lnTo>
                  <a:lnTo>
                    <a:pt x="4337" y="855"/>
                  </a:lnTo>
                  <a:lnTo>
                    <a:pt x="4302" y="879"/>
                  </a:lnTo>
                  <a:lnTo>
                    <a:pt x="4290" y="939"/>
                  </a:lnTo>
                  <a:lnTo>
                    <a:pt x="4278" y="951"/>
                  </a:lnTo>
                  <a:lnTo>
                    <a:pt x="4230" y="962"/>
                  </a:lnTo>
                  <a:lnTo>
                    <a:pt x="4230" y="1010"/>
                  </a:lnTo>
                  <a:lnTo>
                    <a:pt x="4183" y="1034"/>
                  </a:lnTo>
                  <a:lnTo>
                    <a:pt x="4135" y="1093"/>
                  </a:lnTo>
                  <a:lnTo>
                    <a:pt x="4147" y="1212"/>
                  </a:lnTo>
                  <a:lnTo>
                    <a:pt x="4135" y="1248"/>
                  </a:lnTo>
                  <a:lnTo>
                    <a:pt x="4088" y="1283"/>
                  </a:lnTo>
                  <a:lnTo>
                    <a:pt x="4064" y="1378"/>
                  </a:lnTo>
                  <a:lnTo>
                    <a:pt x="4017" y="1390"/>
                  </a:lnTo>
                  <a:lnTo>
                    <a:pt x="3981" y="1462"/>
                  </a:lnTo>
                  <a:lnTo>
                    <a:pt x="3945" y="1473"/>
                  </a:lnTo>
                  <a:lnTo>
                    <a:pt x="3910" y="1580"/>
                  </a:lnTo>
                  <a:lnTo>
                    <a:pt x="3862" y="1616"/>
                  </a:lnTo>
                  <a:lnTo>
                    <a:pt x="3862" y="1640"/>
                  </a:lnTo>
                  <a:lnTo>
                    <a:pt x="3874" y="1652"/>
                  </a:lnTo>
                  <a:lnTo>
                    <a:pt x="3862" y="1675"/>
                  </a:lnTo>
                  <a:lnTo>
                    <a:pt x="3791" y="1687"/>
                  </a:lnTo>
                  <a:lnTo>
                    <a:pt x="3755" y="1735"/>
                  </a:lnTo>
                  <a:lnTo>
                    <a:pt x="3743" y="1794"/>
                  </a:lnTo>
                  <a:lnTo>
                    <a:pt x="3791" y="1877"/>
                  </a:lnTo>
                  <a:lnTo>
                    <a:pt x="3803" y="1913"/>
                  </a:lnTo>
                  <a:lnTo>
                    <a:pt x="3803" y="1925"/>
                  </a:lnTo>
                  <a:lnTo>
                    <a:pt x="3862" y="1949"/>
                  </a:lnTo>
                  <a:lnTo>
                    <a:pt x="3898" y="2008"/>
                  </a:lnTo>
                  <a:lnTo>
                    <a:pt x="3898" y="2068"/>
                  </a:lnTo>
                  <a:lnTo>
                    <a:pt x="3922" y="2115"/>
                  </a:lnTo>
                  <a:lnTo>
                    <a:pt x="3910" y="2139"/>
                  </a:lnTo>
                  <a:lnTo>
                    <a:pt x="3886" y="2175"/>
                  </a:lnTo>
                  <a:lnTo>
                    <a:pt x="3874" y="2246"/>
                  </a:lnTo>
                  <a:lnTo>
                    <a:pt x="3826" y="2282"/>
                  </a:lnTo>
                  <a:lnTo>
                    <a:pt x="3803" y="2329"/>
                  </a:lnTo>
                  <a:lnTo>
                    <a:pt x="3803" y="2353"/>
                  </a:lnTo>
                  <a:lnTo>
                    <a:pt x="3826" y="2400"/>
                  </a:lnTo>
                  <a:lnTo>
                    <a:pt x="3815" y="2448"/>
                  </a:lnTo>
                  <a:lnTo>
                    <a:pt x="3850" y="2495"/>
                  </a:lnTo>
                  <a:lnTo>
                    <a:pt x="3874" y="2579"/>
                  </a:lnTo>
                  <a:lnTo>
                    <a:pt x="3910" y="2638"/>
                  </a:lnTo>
                  <a:lnTo>
                    <a:pt x="3910" y="2686"/>
                  </a:lnTo>
                  <a:lnTo>
                    <a:pt x="3922" y="2709"/>
                  </a:lnTo>
                  <a:lnTo>
                    <a:pt x="3910" y="2781"/>
                  </a:lnTo>
                  <a:lnTo>
                    <a:pt x="3922" y="2804"/>
                  </a:lnTo>
                  <a:lnTo>
                    <a:pt x="3945" y="2828"/>
                  </a:lnTo>
                  <a:lnTo>
                    <a:pt x="3957" y="2840"/>
                  </a:lnTo>
                  <a:lnTo>
                    <a:pt x="3957" y="2864"/>
                  </a:lnTo>
                  <a:lnTo>
                    <a:pt x="3957" y="2876"/>
                  </a:lnTo>
                  <a:lnTo>
                    <a:pt x="3945" y="2888"/>
                  </a:lnTo>
                  <a:lnTo>
                    <a:pt x="3957" y="2899"/>
                  </a:lnTo>
                  <a:lnTo>
                    <a:pt x="3969" y="2959"/>
                  </a:lnTo>
                  <a:lnTo>
                    <a:pt x="3945" y="2995"/>
                  </a:lnTo>
                  <a:lnTo>
                    <a:pt x="3945" y="3078"/>
                  </a:lnTo>
                  <a:lnTo>
                    <a:pt x="3933" y="3113"/>
                  </a:lnTo>
                  <a:lnTo>
                    <a:pt x="3910" y="3137"/>
                  </a:lnTo>
                  <a:lnTo>
                    <a:pt x="3815" y="3197"/>
                  </a:lnTo>
                  <a:lnTo>
                    <a:pt x="3791" y="3244"/>
                  </a:lnTo>
                  <a:lnTo>
                    <a:pt x="3743" y="3256"/>
                  </a:lnTo>
                  <a:lnTo>
                    <a:pt x="3719" y="3327"/>
                  </a:lnTo>
                  <a:lnTo>
                    <a:pt x="3696" y="3351"/>
                  </a:lnTo>
                  <a:lnTo>
                    <a:pt x="3660" y="3410"/>
                  </a:lnTo>
                  <a:lnTo>
                    <a:pt x="3601" y="3458"/>
                  </a:lnTo>
                  <a:lnTo>
                    <a:pt x="3601" y="3506"/>
                  </a:lnTo>
                  <a:lnTo>
                    <a:pt x="3624" y="3565"/>
                  </a:lnTo>
                  <a:lnTo>
                    <a:pt x="3624" y="3589"/>
                  </a:lnTo>
                  <a:lnTo>
                    <a:pt x="3601" y="3613"/>
                  </a:lnTo>
                  <a:lnTo>
                    <a:pt x="3601" y="3684"/>
                  </a:lnTo>
                  <a:lnTo>
                    <a:pt x="3624" y="3731"/>
                  </a:lnTo>
                  <a:lnTo>
                    <a:pt x="3601" y="3791"/>
                  </a:lnTo>
                  <a:lnTo>
                    <a:pt x="3624" y="3862"/>
                  </a:lnTo>
                  <a:lnTo>
                    <a:pt x="3636" y="3874"/>
                  </a:lnTo>
                  <a:lnTo>
                    <a:pt x="3648" y="3898"/>
                  </a:lnTo>
                  <a:lnTo>
                    <a:pt x="3648" y="3933"/>
                  </a:lnTo>
                  <a:lnTo>
                    <a:pt x="3636" y="3969"/>
                  </a:lnTo>
                  <a:lnTo>
                    <a:pt x="3660" y="4017"/>
                  </a:lnTo>
                  <a:lnTo>
                    <a:pt x="3731" y="4064"/>
                  </a:lnTo>
                  <a:lnTo>
                    <a:pt x="3755" y="4112"/>
                  </a:lnTo>
                  <a:lnTo>
                    <a:pt x="3803" y="4135"/>
                  </a:lnTo>
                  <a:lnTo>
                    <a:pt x="3826" y="4183"/>
                  </a:lnTo>
                  <a:lnTo>
                    <a:pt x="3874" y="4183"/>
                  </a:lnTo>
                  <a:lnTo>
                    <a:pt x="3886" y="4219"/>
                  </a:lnTo>
                  <a:lnTo>
                    <a:pt x="3886" y="4278"/>
                  </a:lnTo>
                  <a:lnTo>
                    <a:pt x="3910" y="4326"/>
                  </a:lnTo>
                  <a:lnTo>
                    <a:pt x="3862" y="4444"/>
                  </a:lnTo>
                  <a:lnTo>
                    <a:pt x="3850" y="4480"/>
                  </a:lnTo>
                  <a:lnTo>
                    <a:pt x="3838" y="4516"/>
                  </a:lnTo>
                  <a:lnTo>
                    <a:pt x="3826" y="4575"/>
                  </a:lnTo>
                  <a:lnTo>
                    <a:pt x="3791" y="4623"/>
                  </a:lnTo>
                  <a:lnTo>
                    <a:pt x="3755" y="4741"/>
                  </a:lnTo>
                  <a:lnTo>
                    <a:pt x="3731" y="4753"/>
                  </a:lnTo>
                  <a:lnTo>
                    <a:pt x="3672" y="4789"/>
                  </a:lnTo>
                  <a:lnTo>
                    <a:pt x="3553" y="4813"/>
                  </a:lnTo>
                  <a:lnTo>
                    <a:pt x="3482" y="4837"/>
                  </a:lnTo>
                  <a:lnTo>
                    <a:pt x="3470" y="4837"/>
                  </a:lnTo>
                  <a:lnTo>
                    <a:pt x="3434" y="4813"/>
                  </a:lnTo>
                  <a:lnTo>
                    <a:pt x="3399" y="4813"/>
                  </a:lnTo>
                  <a:lnTo>
                    <a:pt x="3363" y="4837"/>
                  </a:lnTo>
                  <a:lnTo>
                    <a:pt x="3292" y="4848"/>
                  </a:lnTo>
                  <a:lnTo>
                    <a:pt x="3220" y="4908"/>
                  </a:lnTo>
                  <a:lnTo>
                    <a:pt x="3149" y="4884"/>
                  </a:lnTo>
                  <a:lnTo>
                    <a:pt x="3066" y="4837"/>
                  </a:lnTo>
                  <a:lnTo>
                    <a:pt x="3042" y="4789"/>
                  </a:lnTo>
                  <a:lnTo>
                    <a:pt x="2995" y="4765"/>
                  </a:lnTo>
                  <a:lnTo>
                    <a:pt x="2923" y="4741"/>
                  </a:lnTo>
                  <a:lnTo>
                    <a:pt x="2804" y="4718"/>
                  </a:lnTo>
                  <a:lnTo>
                    <a:pt x="2769" y="4741"/>
                  </a:lnTo>
                  <a:lnTo>
                    <a:pt x="2757" y="4741"/>
                  </a:lnTo>
                  <a:lnTo>
                    <a:pt x="2650" y="4777"/>
                  </a:lnTo>
                  <a:lnTo>
                    <a:pt x="2579" y="4789"/>
                  </a:lnTo>
                  <a:lnTo>
                    <a:pt x="2460" y="4777"/>
                  </a:lnTo>
                  <a:lnTo>
                    <a:pt x="2436" y="4789"/>
                  </a:lnTo>
                  <a:lnTo>
                    <a:pt x="2424" y="4837"/>
                  </a:lnTo>
                  <a:lnTo>
                    <a:pt x="2388" y="4848"/>
                  </a:lnTo>
                  <a:lnTo>
                    <a:pt x="2365" y="4884"/>
                  </a:lnTo>
                  <a:lnTo>
                    <a:pt x="2317" y="4920"/>
                  </a:lnTo>
                  <a:lnTo>
                    <a:pt x="2305" y="4955"/>
                  </a:lnTo>
                  <a:lnTo>
                    <a:pt x="2282" y="4967"/>
                  </a:lnTo>
                  <a:lnTo>
                    <a:pt x="2282" y="4991"/>
                  </a:lnTo>
                  <a:lnTo>
                    <a:pt x="2246" y="5015"/>
                  </a:lnTo>
                  <a:lnTo>
                    <a:pt x="2234" y="5050"/>
                  </a:lnTo>
                  <a:lnTo>
                    <a:pt x="2186" y="5086"/>
                  </a:lnTo>
                  <a:lnTo>
                    <a:pt x="2163" y="5169"/>
                  </a:lnTo>
                  <a:lnTo>
                    <a:pt x="2115" y="5205"/>
                  </a:lnTo>
                  <a:lnTo>
                    <a:pt x="2056" y="5217"/>
                  </a:lnTo>
                  <a:lnTo>
                    <a:pt x="2020" y="5217"/>
                  </a:lnTo>
                  <a:lnTo>
                    <a:pt x="1961" y="5241"/>
                  </a:lnTo>
                  <a:lnTo>
                    <a:pt x="1806" y="5348"/>
                  </a:lnTo>
                  <a:lnTo>
                    <a:pt x="1771" y="5359"/>
                  </a:lnTo>
                  <a:lnTo>
                    <a:pt x="1735" y="5371"/>
                  </a:lnTo>
                  <a:lnTo>
                    <a:pt x="1628" y="5514"/>
                  </a:lnTo>
                  <a:lnTo>
                    <a:pt x="1604" y="5514"/>
                  </a:lnTo>
                  <a:lnTo>
                    <a:pt x="1580" y="5490"/>
                  </a:lnTo>
                  <a:lnTo>
                    <a:pt x="1545" y="5490"/>
                  </a:lnTo>
                  <a:lnTo>
                    <a:pt x="1485" y="5490"/>
                  </a:lnTo>
                  <a:lnTo>
                    <a:pt x="1450" y="5514"/>
                  </a:lnTo>
                  <a:lnTo>
                    <a:pt x="1402" y="5585"/>
                  </a:lnTo>
                  <a:lnTo>
                    <a:pt x="1355" y="5621"/>
                  </a:lnTo>
                  <a:lnTo>
                    <a:pt x="1236" y="5668"/>
                  </a:lnTo>
                  <a:lnTo>
                    <a:pt x="1153" y="5680"/>
                  </a:lnTo>
                  <a:lnTo>
                    <a:pt x="1058" y="5728"/>
                  </a:lnTo>
                  <a:lnTo>
                    <a:pt x="1010" y="5728"/>
                  </a:lnTo>
                  <a:lnTo>
                    <a:pt x="974" y="5752"/>
                  </a:lnTo>
                  <a:lnTo>
                    <a:pt x="927" y="5752"/>
                  </a:lnTo>
                  <a:lnTo>
                    <a:pt x="903" y="5763"/>
                  </a:lnTo>
                  <a:lnTo>
                    <a:pt x="855" y="5823"/>
                  </a:lnTo>
                  <a:lnTo>
                    <a:pt x="808" y="5870"/>
                  </a:lnTo>
                  <a:lnTo>
                    <a:pt x="737" y="5966"/>
                  </a:lnTo>
                  <a:lnTo>
                    <a:pt x="713" y="6037"/>
                  </a:lnTo>
                  <a:lnTo>
                    <a:pt x="677" y="6072"/>
                  </a:lnTo>
                  <a:lnTo>
                    <a:pt x="665" y="6144"/>
                  </a:lnTo>
                  <a:lnTo>
                    <a:pt x="630" y="6191"/>
                  </a:lnTo>
                  <a:lnTo>
                    <a:pt x="606" y="6322"/>
                  </a:lnTo>
                  <a:lnTo>
                    <a:pt x="570" y="6381"/>
                  </a:lnTo>
                  <a:lnTo>
                    <a:pt x="558" y="6417"/>
                  </a:lnTo>
                  <a:lnTo>
                    <a:pt x="570" y="6465"/>
                  </a:lnTo>
                  <a:lnTo>
                    <a:pt x="558" y="6524"/>
                  </a:lnTo>
                  <a:lnTo>
                    <a:pt x="511" y="6583"/>
                  </a:lnTo>
                  <a:lnTo>
                    <a:pt x="463" y="6690"/>
                  </a:lnTo>
                  <a:lnTo>
                    <a:pt x="428" y="6726"/>
                  </a:lnTo>
                  <a:lnTo>
                    <a:pt x="392" y="6797"/>
                  </a:lnTo>
                  <a:lnTo>
                    <a:pt x="321" y="6999"/>
                  </a:lnTo>
                  <a:lnTo>
                    <a:pt x="285" y="7083"/>
                  </a:lnTo>
                  <a:lnTo>
                    <a:pt x="202" y="7190"/>
                  </a:lnTo>
                  <a:lnTo>
                    <a:pt x="131" y="7261"/>
                  </a:lnTo>
                  <a:lnTo>
                    <a:pt x="119" y="7308"/>
                  </a:lnTo>
                  <a:lnTo>
                    <a:pt x="83" y="7356"/>
                  </a:lnTo>
                  <a:lnTo>
                    <a:pt x="83" y="7427"/>
                  </a:lnTo>
                  <a:lnTo>
                    <a:pt x="131" y="7510"/>
                  </a:lnTo>
                  <a:lnTo>
                    <a:pt x="142" y="7629"/>
                  </a:lnTo>
                  <a:lnTo>
                    <a:pt x="166" y="7712"/>
                  </a:lnTo>
                  <a:lnTo>
                    <a:pt x="166" y="7784"/>
                  </a:lnTo>
                  <a:lnTo>
                    <a:pt x="154" y="7831"/>
                  </a:lnTo>
                  <a:lnTo>
                    <a:pt x="178" y="7879"/>
                  </a:lnTo>
                  <a:lnTo>
                    <a:pt x="202" y="7891"/>
                  </a:lnTo>
                  <a:lnTo>
                    <a:pt x="297" y="7998"/>
                  </a:lnTo>
                  <a:lnTo>
                    <a:pt x="297" y="8045"/>
                  </a:lnTo>
                  <a:lnTo>
                    <a:pt x="273" y="8093"/>
                  </a:lnTo>
                  <a:lnTo>
                    <a:pt x="249" y="8140"/>
                  </a:lnTo>
                  <a:lnTo>
                    <a:pt x="226" y="8212"/>
                  </a:lnTo>
                  <a:lnTo>
                    <a:pt x="238" y="8271"/>
                  </a:lnTo>
                  <a:lnTo>
                    <a:pt x="249" y="8354"/>
                  </a:lnTo>
                  <a:lnTo>
                    <a:pt x="214" y="8437"/>
                  </a:lnTo>
                  <a:lnTo>
                    <a:pt x="202" y="8473"/>
                  </a:lnTo>
                  <a:lnTo>
                    <a:pt x="226" y="8580"/>
                  </a:lnTo>
                  <a:lnTo>
                    <a:pt x="226" y="8616"/>
                  </a:lnTo>
                  <a:lnTo>
                    <a:pt x="178" y="8699"/>
                  </a:lnTo>
                  <a:lnTo>
                    <a:pt x="166" y="8770"/>
                  </a:lnTo>
                  <a:lnTo>
                    <a:pt x="154" y="8806"/>
                  </a:lnTo>
                  <a:lnTo>
                    <a:pt x="83" y="8901"/>
                  </a:lnTo>
                  <a:lnTo>
                    <a:pt x="0" y="8984"/>
                  </a:lnTo>
                  <a:lnTo>
                    <a:pt x="24" y="9008"/>
                  </a:lnTo>
                  <a:lnTo>
                    <a:pt x="71" y="9008"/>
                  </a:lnTo>
                  <a:lnTo>
                    <a:pt x="107" y="9008"/>
                  </a:lnTo>
                  <a:lnTo>
                    <a:pt x="131" y="8996"/>
                  </a:lnTo>
                  <a:lnTo>
                    <a:pt x="142" y="8984"/>
                  </a:lnTo>
                  <a:lnTo>
                    <a:pt x="202" y="8984"/>
                  </a:lnTo>
                  <a:lnTo>
                    <a:pt x="226" y="8996"/>
                  </a:lnTo>
                  <a:lnTo>
                    <a:pt x="249" y="8996"/>
                  </a:lnTo>
                  <a:lnTo>
                    <a:pt x="321" y="8996"/>
                  </a:lnTo>
                  <a:lnTo>
                    <a:pt x="344" y="8972"/>
                  </a:lnTo>
                  <a:lnTo>
                    <a:pt x="404" y="8901"/>
                  </a:lnTo>
                  <a:lnTo>
                    <a:pt x="440" y="8865"/>
                  </a:lnTo>
                  <a:lnTo>
                    <a:pt x="499" y="8841"/>
                  </a:lnTo>
                  <a:lnTo>
                    <a:pt x="547" y="8853"/>
                  </a:lnTo>
                  <a:lnTo>
                    <a:pt x="570" y="8877"/>
                  </a:lnTo>
                  <a:lnTo>
                    <a:pt x="582" y="8996"/>
                  </a:lnTo>
                  <a:lnTo>
                    <a:pt x="618" y="9055"/>
                  </a:lnTo>
                  <a:lnTo>
                    <a:pt x="618" y="9127"/>
                  </a:lnTo>
                  <a:lnTo>
                    <a:pt x="630" y="9198"/>
                  </a:lnTo>
                  <a:lnTo>
                    <a:pt x="665" y="9293"/>
                  </a:lnTo>
                  <a:lnTo>
                    <a:pt x="677" y="9388"/>
                  </a:lnTo>
                  <a:lnTo>
                    <a:pt x="701" y="9436"/>
                  </a:lnTo>
                  <a:lnTo>
                    <a:pt x="784" y="9483"/>
                  </a:lnTo>
                  <a:lnTo>
                    <a:pt x="820" y="9519"/>
                  </a:lnTo>
                  <a:lnTo>
                    <a:pt x="832" y="9578"/>
                  </a:lnTo>
                  <a:lnTo>
                    <a:pt x="855" y="9638"/>
                  </a:lnTo>
                  <a:lnTo>
                    <a:pt x="891" y="9661"/>
                  </a:lnTo>
                  <a:lnTo>
                    <a:pt x="1022" y="9721"/>
                  </a:lnTo>
                  <a:lnTo>
                    <a:pt x="1153" y="9745"/>
                  </a:lnTo>
                  <a:lnTo>
                    <a:pt x="1236" y="9804"/>
                  </a:lnTo>
                  <a:lnTo>
                    <a:pt x="1295" y="9816"/>
                  </a:lnTo>
                  <a:lnTo>
                    <a:pt x="1366" y="9792"/>
                  </a:lnTo>
                  <a:lnTo>
                    <a:pt x="1414" y="9756"/>
                  </a:lnTo>
                  <a:lnTo>
                    <a:pt x="1473" y="9673"/>
                  </a:lnTo>
                  <a:lnTo>
                    <a:pt x="1569" y="9649"/>
                  </a:lnTo>
                  <a:lnTo>
                    <a:pt x="1580" y="9626"/>
                  </a:lnTo>
                  <a:lnTo>
                    <a:pt x="1592" y="9566"/>
                  </a:lnTo>
                  <a:lnTo>
                    <a:pt x="1604" y="9554"/>
                  </a:lnTo>
                  <a:lnTo>
                    <a:pt x="1652" y="9507"/>
                  </a:lnTo>
                  <a:lnTo>
                    <a:pt x="1699" y="9495"/>
                  </a:lnTo>
                  <a:lnTo>
                    <a:pt x="1699" y="9483"/>
                  </a:lnTo>
                  <a:lnTo>
                    <a:pt x="1735" y="9471"/>
                  </a:lnTo>
                  <a:lnTo>
                    <a:pt x="1771" y="9471"/>
                  </a:lnTo>
                  <a:lnTo>
                    <a:pt x="1806" y="9495"/>
                  </a:lnTo>
                  <a:lnTo>
                    <a:pt x="1842" y="9495"/>
                  </a:lnTo>
                  <a:lnTo>
                    <a:pt x="1901" y="9459"/>
                  </a:lnTo>
                  <a:lnTo>
                    <a:pt x="1949" y="9424"/>
                  </a:lnTo>
                  <a:lnTo>
                    <a:pt x="1961" y="9412"/>
                  </a:lnTo>
                  <a:lnTo>
                    <a:pt x="2056" y="9471"/>
                  </a:lnTo>
                  <a:lnTo>
                    <a:pt x="2091" y="9495"/>
                  </a:lnTo>
                  <a:lnTo>
                    <a:pt x="2163" y="9483"/>
                  </a:lnTo>
                  <a:lnTo>
                    <a:pt x="2234" y="9447"/>
                  </a:lnTo>
                  <a:lnTo>
                    <a:pt x="2282" y="9412"/>
                  </a:lnTo>
                  <a:lnTo>
                    <a:pt x="2305" y="9376"/>
                  </a:lnTo>
                  <a:lnTo>
                    <a:pt x="2329" y="9305"/>
                  </a:lnTo>
                  <a:lnTo>
                    <a:pt x="2341" y="9222"/>
                  </a:lnTo>
                  <a:lnTo>
                    <a:pt x="2388" y="9222"/>
                  </a:lnTo>
                  <a:lnTo>
                    <a:pt x="2400" y="9234"/>
                  </a:lnTo>
                  <a:lnTo>
                    <a:pt x="2448" y="9245"/>
                  </a:lnTo>
                  <a:lnTo>
                    <a:pt x="2484" y="9222"/>
                  </a:lnTo>
                  <a:lnTo>
                    <a:pt x="2507" y="9174"/>
                  </a:lnTo>
                  <a:lnTo>
                    <a:pt x="2555" y="9138"/>
                  </a:lnTo>
                  <a:lnTo>
                    <a:pt x="2602" y="9032"/>
                  </a:lnTo>
                  <a:lnTo>
                    <a:pt x="2602" y="9020"/>
                  </a:lnTo>
                  <a:lnTo>
                    <a:pt x="2638" y="8972"/>
                  </a:lnTo>
                  <a:lnTo>
                    <a:pt x="2638" y="8936"/>
                  </a:lnTo>
                  <a:lnTo>
                    <a:pt x="2662" y="8889"/>
                  </a:lnTo>
                  <a:lnTo>
                    <a:pt x="2697" y="8853"/>
                  </a:lnTo>
                  <a:lnTo>
                    <a:pt x="2745" y="8830"/>
                  </a:lnTo>
                  <a:lnTo>
                    <a:pt x="2781" y="8782"/>
                  </a:lnTo>
                  <a:lnTo>
                    <a:pt x="2793" y="8770"/>
                  </a:lnTo>
                  <a:lnTo>
                    <a:pt x="2757" y="8723"/>
                  </a:lnTo>
                  <a:lnTo>
                    <a:pt x="2769" y="8711"/>
                  </a:lnTo>
                  <a:lnTo>
                    <a:pt x="2769" y="8651"/>
                  </a:lnTo>
                  <a:lnTo>
                    <a:pt x="2793" y="8568"/>
                  </a:lnTo>
                  <a:lnTo>
                    <a:pt x="2757" y="8521"/>
                  </a:lnTo>
                  <a:lnTo>
                    <a:pt x="2697" y="8473"/>
                  </a:lnTo>
                  <a:lnTo>
                    <a:pt x="2662" y="8437"/>
                  </a:lnTo>
                  <a:lnTo>
                    <a:pt x="2662" y="8437"/>
                  </a:lnTo>
                  <a:lnTo>
                    <a:pt x="2579" y="8259"/>
                  </a:lnTo>
                  <a:lnTo>
                    <a:pt x="2579" y="8188"/>
                  </a:lnTo>
                  <a:lnTo>
                    <a:pt x="2602" y="8140"/>
                  </a:lnTo>
                  <a:lnTo>
                    <a:pt x="2662" y="8081"/>
                  </a:lnTo>
                  <a:lnTo>
                    <a:pt x="2757" y="8033"/>
                  </a:lnTo>
                  <a:lnTo>
                    <a:pt x="2852" y="7938"/>
                  </a:lnTo>
                  <a:lnTo>
                    <a:pt x="2947" y="7903"/>
                  </a:lnTo>
                  <a:lnTo>
                    <a:pt x="2983" y="7879"/>
                  </a:lnTo>
                  <a:lnTo>
                    <a:pt x="3006" y="7855"/>
                  </a:lnTo>
                  <a:lnTo>
                    <a:pt x="3030" y="7843"/>
                  </a:lnTo>
                  <a:lnTo>
                    <a:pt x="3054" y="7855"/>
                  </a:lnTo>
                  <a:lnTo>
                    <a:pt x="3090" y="7879"/>
                  </a:lnTo>
                  <a:lnTo>
                    <a:pt x="3149" y="7986"/>
                  </a:lnTo>
                  <a:lnTo>
                    <a:pt x="3161" y="7974"/>
                  </a:lnTo>
                  <a:lnTo>
                    <a:pt x="3208" y="8010"/>
                  </a:lnTo>
                  <a:lnTo>
                    <a:pt x="3268" y="8033"/>
                  </a:lnTo>
                  <a:lnTo>
                    <a:pt x="3327" y="8045"/>
                  </a:lnTo>
                  <a:lnTo>
                    <a:pt x="3387" y="8045"/>
                  </a:lnTo>
                  <a:lnTo>
                    <a:pt x="3458" y="8021"/>
                  </a:lnTo>
                  <a:lnTo>
                    <a:pt x="3529" y="8021"/>
                  </a:lnTo>
                  <a:lnTo>
                    <a:pt x="3577" y="8045"/>
                  </a:lnTo>
                  <a:lnTo>
                    <a:pt x="3624" y="8093"/>
                  </a:lnTo>
                  <a:lnTo>
                    <a:pt x="3660" y="8152"/>
                  </a:lnTo>
                  <a:lnTo>
                    <a:pt x="3684" y="8152"/>
                  </a:lnTo>
                  <a:lnTo>
                    <a:pt x="3719" y="8140"/>
                  </a:lnTo>
                  <a:lnTo>
                    <a:pt x="3743" y="8152"/>
                  </a:lnTo>
                  <a:lnTo>
                    <a:pt x="3755" y="8164"/>
                  </a:lnTo>
                  <a:lnTo>
                    <a:pt x="3767" y="8235"/>
                  </a:lnTo>
                  <a:lnTo>
                    <a:pt x="3791" y="8283"/>
                  </a:lnTo>
                  <a:lnTo>
                    <a:pt x="3815" y="8283"/>
                  </a:lnTo>
                  <a:lnTo>
                    <a:pt x="3862" y="8259"/>
                  </a:lnTo>
                  <a:lnTo>
                    <a:pt x="3898" y="8223"/>
                  </a:lnTo>
                  <a:lnTo>
                    <a:pt x="3898" y="8212"/>
                  </a:lnTo>
                  <a:lnTo>
                    <a:pt x="3957" y="8188"/>
                  </a:lnTo>
                  <a:lnTo>
                    <a:pt x="4005" y="8188"/>
                  </a:lnTo>
                  <a:lnTo>
                    <a:pt x="4028" y="8188"/>
                  </a:lnTo>
                  <a:lnTo>
                    <a:pt x="4076" y="8152"/>
                  </a:lnTo>
                  <a:lnTo>
                    <a:pt x="4147" y="8140"/>
                  </a:lnTo>
                  <a:lnTo>
                    <a:pt x="4219" y="8081"/>
                  </a:lnTo>
                  <a:lnTo>
                    <a:pt x="4278" y="8069"/>
                  </a:lnTo>
                  <a:lnTo>
                    <a:pt x="4314" y="8021"/>
                  </a:lnTo>
                  <a:lnTo>
                    <a:pt x="4409" y="7926"/>
                  </a:lnTo>
                  <a:lnTo>
                    <a:pt x="4456" y="7914"/>
                  </a:lnTo>
                  <a:lnTo>
                    <a:pt x="4516" y="7914"/>
                  </a:lnTo>
                  <a:lnTo>
                    <a:pt x="4635" y="7891"/>
                  </a:lnTo>
                  <a:lnTo>
                    <a:pt x="4789" y="7843"/>
                  </a:lnTo>
                  <a:lnTo>
                    <a:pt x="4848" y="7855"/>
                  </a:lnTo>
                  <a:lnTo>
                    <a:pt x="4884" y="7855"/>
                  </a:lnTo>
                  <a:lnTo>
                    <a:pt x="4944" y="7831"/>
                  </a:lnTo>
                  <a:lnTo>
                    <a:pt x="5027" y="7796"/>
                  </a:lnTo>
                  <a:lnTo>
                    <a:pt x="5122" y="7712"/>
                  </a:lnTo>
                  <a:lnTo>
                    <a:pt x="5146" y="7689"/>
                  </a:lnTo>
                  <a:lnTo>
                    <a:pt x="5169" y="7605"/>
                  </a:lnTo>
                  <a:lnTo>
                    <a:pt x="5181" y="7594"/>
                  </a:lnTo>
                  <a:lnTo>
                    <a:pt x="5312" y="7534"/>
                  </a:lnTo>
                  <a:lnTo>
                    <a:pt x="5359" y="7510"/>
                  </a:lnTo>
                  <a:lnTo>
                    <a:pt x="5407" y="7463"/>
                  </a:lnTo>
                  <a:lnTo>
                    <a:pt x="5443" y="7392"/>
                  </a:lnTo>
                  <a:lnTo>
                    <a:pt x="5478" y="7356"/>
                  </a:lnTo>
                  <a:lnTo>
                    <a:pt x="5597" y="7273"/>
                  </a:lnTo>
                  <a:lnTo>
                    <a:pt x="5597" y="7273"/>
                  </a:lnTo>
                  <a:lnTo>
                    <a:pt x="5692" y="7213"/>
                  </a:lnTo>
                  <a:lnTo>
                    <a:pt x="5787" y="7130"/>
                  </a:lnTo>
                  <a:lnTo>
                    <a:pt x="5835" y="7083"/>
                  </a:lnTo>
                  <a:lnTo>
                    <a:pt x="5835" y="7083"/>
                  </a:lnTo>
                  <a:lnTo>
                    <a:pt x="5882" y="7047"/>
                  </a:lnTo>
                  <a:lnTo>
                    <a:pt x="5906" y="7011"/>
                  </a:lnTo>
                  <a:lnTo>
                    <a:pt x="5954" y="6988"/>
                  </a:lnTo>
                  <a:lnTo>
                    <a:pt x="6001" y="6916"/>
                  </a:lnTo>
                  <a:lnTo>
                    <a:pt x="6037" y="6904"/>
                  </a:lnTo>
                  <a:lnTo>
                    <a:pt x="6120" y="6940"/>
                  </a:lnTo>
                  <a:lnTo>
                    <a:pt x="6144" y="6928"/>
                  </a:lnTo>
                  <a:lnTo>
                    <a:pt x="6144" y="6904"/>
                  </a:lnTo>
                  <a:lnTo>
                    <a:pt x="6168" y="6857"/>
                  </a:lnTo>
                  <a:lnTo>
                    <a:pt x="6203" y="6881"/>
                  </a:lnTo>
                  <a:lnTo>
                    <a:pt x="6239" y="6857"/>
                  </a:lnTo>
                  <a:lnTo>
                    <a:pt x="6298" y="6726"/>
                  </a:lnTo>
                  <a:lnTo>
                    <a:pt x="6393" y="6702"/>
                  </a:lnTo>
                  <a:lnTo>
                    <a:pt x="6417" y="6679"/>
                  </a:lnTo>
                  <a:lnTo>
                    <a:pt x="6453" y="6619"/>
                  </a:lnTo>
                  <a:lnTo>
                    <a:pt x="6500" y="6607"/>
                  </a:lnTo>
                  <a:lnTo>
                    <a:pt x="6524" y="6583"/>
                  </a:lnTo>
                  <a:lnTo>
                    <a:pt x="6536" y="6465"/>
                  </a:lnTo>
                  <a:lnTo>
                    <a:pt x="6595" y="6358"/>
                  </a:lnTo>
                  <a:lnTo>
                    <a:pt x="6607" y="6286"/>
                  </a:lnTo>
                  <a:lnTo>
                    <a:pt x="6619" y="6274"/>
                  </a:lnTo>
                  <a:lnTo>
                    <a:pt x="6619" y="6263"/>
                  </a:lnTo>
                  <a:lnTo>
                    <a:pt x="6619" y="6227"/>
                  </a:lnTo>
                  <a:lnTo>
                    <a:pt x="6607" y="6203"/>
                  </a:lnTo>
                  <a:lnTo>
                    <a:pt x="6583" y="6191"/>
                  </a:lnTo>
                  <a:lnTo>
                    <a:pt x="6488" y="6179"/>
                  </a:lnTo>
                  <a:lnTo>
                    <a:pt x="6465" y="6168"/>
                  </a:lnTo>
                  <a:lnTo>
                    <a:pt x="6453" y="6120"/>
                  </a:lnTo>
                  <a:lnTo>
                    <a:pt x="6477" y="6013"/>
                  </a:lnTo>
                  <a:lnTo>
                    <a:pt x="6477" y="5966"/>
                  </a:lnTo>
                  <a:lnTo>
                    <a:pt x="6429" y="5894"/>
                  </a:lnTo>
                  <a:lnTo>
                    <a:pt x="6405" y="5835"/>
                  </a:lnTo>
                  <a:lnTo>
                    <a:pt x="6429" y="5728"/>
                  </a:lnTo>
                  <a:lnTo>
                    <a:pt x="6417" y="5680"/>
                  </a:lnTo>
                  <a:lnTo>
                    <a:pt x="6453" y="5657"/>
                  </a:lnTo>
                  <a:lnTo>
                    <a:pt x="6477" y="5657"/>
                  </a:lnTo>
                  <a:lnTo>
                    <a:pt x="6500" y="5704"/>
                  </a:lnTo>
                  <a:lnTo>
                    <a:pt x="6560" y="5728"/>
                  </a:lnTo>
                  <a:lnTo>
                    <a:pt x="6607" y="5704"/>
                  </a:lnTo>
                  <a:lnTo>
                    <a:pt x="6655" y="5621"/>
                  </a:lnTo>
                  <a:lnTo>
                    <a:pt x="6655" y="5621"/>
                  </a:lnTo>
                  <a:lnTo>
                    <a:pt x="6655" y="5621"/>
                  </a:lnTo>
                  <a:lnTo>
                    <a:pt x="6655" y="5526"/>
                  </a:lnTo>
                  <a:lnTo>
                    <a:pt x="6655" y="5443"/>
                  </a:lnTo>
                  <a:lnTo>
                    <a:pt x="6679" y="5395"/>
                  </a:lnTo>
                  <a:lnTo>
                    <a:pt x="6667" y="5383"/>
                  </a:lnTo>
                  <a:lnTo>
                    <a:pt x="6690" y="5348"/>
                  </a:lnTo>
                  <a:lnTo>
                    <a:pt x="6738" y="5241"/>
                  </a:lnTo>
                  <a:lnTo>
                    <a:pt x="6750" y="5205"/>
                  </a:lnTo>
                  <a:lnTo>
                    <a:pt x="6750" y="5098"/>
                  </a:lnTo>
                  <a:lnTo>
                    <a:pt x="6797" y="5003"/>
                  </a:lnTo>
                  <a:lnTo>
                    <a:pt x="6797" y="4967"/>
                  </a:lnTo>
                  <a:lnTo>
                    <a:pt x="6786" y="4943"/>
                  </a:lnTo>
                  <a:lnTo>
                    <a:pt x="6774" y="4943"/>
                  </a:lnTo>
                  <a:lnTo>
                    <a:pt x="6726" y="4920"/>
                  </a:lnTo>
                  <a:lnTo>
                    <a:pt x="6655" y="4908"/>
                  </a:lnTo>
                  <a:lnTo>
                    <a:pt x="6572" y="4872"/>
                  </a:lnTo>
                  <a:lnTo>
                    <a:pt x="6488" y="4860"/>
                  </a:lnTo>
                  <a:lnTo>
                    <a:pt x="6429" y="4837"/>
                  </a:lnTo>
                  <a:lnTo>
                    <a:pt x="6417" y="4789"/>
                  </a:lnTo>
                  <a:lnTo>
                    <a:pt x="6429" y="4777"/>
                  </a:lnTo>
                  <a:lnTo>
                    <a:pt x="6417" y="4682"/>
                  </a:lnTo>
                  <a:lnTo>
                    <a:pt x="6393" y="4623"/>
                  </a:lnTo>
                  <a:lnTo>
                    <a:pt x="6346" y="4575"/>
                  </a:lnTo>
                  <a:lnTo>
                    <a:pt x="6298" y="4516"/>
                  </a:lnTo>
                  <a:lnTo>
                    <a:pt x="6322" y="4444"/>
                  </a:lnTo>
                  <a:lnTo>
                    <a:pt x="6322" y="4397"/>
                  </a:lnTo>
                  <a:lnTo>
                    <a:pt x="6286" y="4266"/>
                  </a:lnTo>
                  <a:lnTo>
                    <a:pt x="6275" y="4147"/>
                  </a:lnTo>
                  <a:lnTo>
                    <a:pt x="6251" y="4076"/>
                  </a:lnTo>
                  <a:lnTo>
                    <a:pt x="6251" y="4076"/>
                  </a:lnTo>
                  <a:lnTo>
                    <a:pt x="6227" y="4017"/>
                  </a:lnTo>
                  <a:lnTo>
                    <a:pt x="6239" y="3993"/>
                  </a:lnTo>
                  <a:lnTo>
                    <a:pt x="6263" y="3957"/>
                  </a:lnTo>
                  <a:lnTo>
                    <a:pt x="6275" y="3862"/>
                  </a:lnTo>
                  <a:lnTo>
                    <a:pt x="6263" y="3826"/>
                  </a:lnTo>
                  <a:lnTo>
                    <a:pt x="6227" y="3791"/>
                  </a:lnTo>
                  <a:lnTo>
                    <a:pt x="6239" y="3696"/>
                  </a:lnTo>
                  <a:lnTo>
                    <a:pt x="6215" y="3648"/>
                  </a:lnTo>
                  <a:lnTo>
                    <a:pt x="6191" y="3613"/>
                  </a:lnTo>
                  <a:lnTo>
                    <a:pt x="6191" y="3589"/>
                  </a:lnTo>
                  <a:lnTo>
                    <a:pt x="6203" y="3351"/>
                  </a:lnTo>
                  <a:lnTo>
                    <a:pt x="6191" y="3304"/>
                  </a:lnTo>
                  <a:lnTo>
                    <a:pt x="6179" y="3268"/>
                  </a:lnTo>
                  <a:lnTo>
                    <a:pt x="6144" y="3244"/>
                  </a:lnTo>
                  <a:lnTo>
                    <a:pt x="6156" y="3220"/>
                  </a:lnTo>
                  <a:lnTo>
                    <a:pt x="6168" y="3197"/>
                  </a:lnTo>
                  <a:lnTo>
                    <a:pt x="6156" y="3185"/>
                  </a:lnTo>
                  <a:lnTo>
                    <a:pt x="6203" y="3161"/>
                  </a:lnTo>
                  <a:lnTo>
                    <a:pt x="6215" y="3149"/>
                  </a:lnTo>
                  <a:lnTo>
                    <a:pt x="6227" y="3102"/>
                  </a:lnTo>
                  <a:lnTo>
                    <a:pt x="6203" y="2995"/>
                  </a:lnTo>
                  <a:lnTo>
                    <a:pt x="6203" y="2911"/>
                  </a:lnTo>
                  <a:lnTo>
                    <a:pt x="6168" y="2852"/>
                  </a:lnTo>
                  <a:lnTo>
                    <a:pt x="6120" y="2686"/>
                  </a:lnTo>
                  <a:lnTo>
                    <a:pt x="6144" y="2626"/>
                  </a:lnTo>
                  <a:lnTo>
                    <a:pt x="6132" y="2626"/>
                  </a:lnTo>
                  <a:lnTo>
                    <a:pt x="6156" y="2591"/>
                  </a:lnTo>
                  <a:lnTo>
                    <a:pt x="6156" y="2519"/>
                  </a:lnTo>
                  <a:lnTo>
                    <a:pt x="6168" y="2472"/>
                  </a:lnTo>
                  <a:lnTo>
                    <a:pt x="6168" y="2424"/>
                  </a:lnTo>
                  <a:lnTo>
                    <a:pt x="6132" y="2293"/>
                  </a:lnTo>
                  <a:lnTo>
                    <a:pt x="6120" y="2246"/>
                  </a:lnTo>
                  <a:lnTo>
                    <a:pt x="6132" y="2175"/>
                  </a:lnTo>
                  <a:lnTo>
                    <a:pt x="6179" y="2091"/>
                  </a:lnTo>
                  <a:lnTo>
                    <a:pt x="6191" y="2044"/>
                  </a:lnTo>
                  <a:lnTo>
                    <a:pt x="6179" y="1996"/>
                  </a:lnTo>
                  <a:lnTo>
                    <a:pt x="6108" y="1937"/>
                  </a:lnTo>
                  <a:lnTo>
                    <a:pt x="6061" y="1877"/>
                  </a:lnTo>
                  <a:lnTo>
                    <a:pt x="6025" y="1735"/>
                  </a:lnTo>
                  <a:lnTo>
                    <a:pt x="6013" y="1735"/>
                  </a:lnTo>
                  <a:lnTo>
                    <a:pt x="5989" y="1699"/>
                  </a:lnTo>
                  <a:lnTo>
                    <a:pt x="5930" y="1604"/>
                  </a:lnTo>
                  <a:lnTo>
                    <a:pt x="5882" y="1533"/>
                  </a:lnTo>
                  <a:lnTo>
                    <a:pt x="5823" y="1450"/>
                  </a:lnTo>
                  <a:lnTo>
                    <a:pt x="5823" y="1366"/>
                  </a:lnTo>
                  <a:lnTo>
                    <a:pt x="5823" y="1295"/>
                  </a:lnTo>
                  <a:lnTo>
                    <a:pt x="5775" y="1188"/>
                  </a:lnTo>
                  <a:lnTo>
                    <a:pt x="5752" y="1141"/>
                  </a:lnTo>
                  <a:lnTo>
                    <a:pt x="5764" y="1141"/>
                  </a:lnTo>
                  <a:lnTo>
                    <a:pt x="5728" y="1057"/>
                  </a:lnTo>
                  <a:lnTo>
                    <a:pt x="5728" y="951"/>
                  </a:lnTo>
                  <a:lnTo>
                    <a:pt x="5692" y="903"/>
                  </a:lnTo>
                  <a:lnTo>
                    <a:pt x="5668" y="820"/>
                  </a:lnTo>
                  <a:lnTo>
                    <a:pt x="5668" y="796"/>
                  </a:lnTo>
                  <a:lnTo>
                    <a:pt x="5680" y="737"/>
                  </a:lnTo>
                  <a:lnTo>
                    <a:pt x="5704" y="701"/>
                  </a:lnTo>
                  <a:lnTo>
                    <a:pt x="5704" y="665"/>
                  </a:lnTo>
                  <a:lnTo>
                    <a:pt x="5740" y="606"/>
                  </a:lnTo>
                  <a:lnTo>
                    <a:pt x="5752" y="558"/>
                  </a:lnTo>
                  <a:lnTo>
                    <a:pt x="5764" y="535"/>
                  </a:lnTo>
                  <a:lnTo>
                    <a:pt x="5775" y="535"/>
                  </a:lnTo>
                  <a:lnTo>
                    <a:pt x="5764" y="499"/>
                  </a:lnTo>
                  <a:lnTo>
                    <a:pt x="5799" y="451"/>
                  </a:lnTo>
                  <a:lnTo>
                    <a:pt x="5847" y="451"/>
                  </a:lnTo>
                  <a:lnTo>
                    <a:pt x="5870" y="416"/>
                  </a:lnTo>
                  <a:lnTo>
                    <a:pt x="5870" y="356"/>
                  </a:lnTo>
                  <a:lnTo>
                    <a:pt x="5835" y="309"/>
                  </a:lnTo>
                  <a:lnTo>
                    <a:pt x="5835" y="30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16" name="Freeform 304"/>
            <p:cNvSpPr>
              <a:spLocks/>
            </p:cNvSpPr>
            <p:nvPr/>
          </p:nvSpPr>
          <p:spPr bwMode="auto">
            <a:xfrm>
              <a:off x="-14911387" y="-33575625"/>
              <a:ext cx="11299825" cy="12773025"/>
            </a:xfrm>
            <a:custGeom>
              <a:avLst/>
              <a:gdLst/>
              <a:ahLst/>
              <a:cxnLst>
                <a:cxn ang="0">
                  <a:pos x="6881" y="4742"/>
                </a:cxn>
                <a:cxn ang="0">
                  <a:pos x="6619" y="4552"/>
                </a:cxn>
                <a:cxn ang="0">
                  <a:pos x="6239" y="4267"/>
                </a:cxn>
                <a:cxn ang="0">
                  <a:pos x="6132" y="3661"/>
                </a:cxn>
                <a:cxn ang="0">
                  <a:pos x="5942" y="3375"/>
                </a:cxn>
                <a:cxn ang="0">
                  <a:pos x="5930" y="2567"/>
                </a:cxn>
                <a:cxn ang="0">
                  <a:pos x="6120" y="1926"/>
                </a:cxn>
                <a:cxn ang="0">
                  <a:pos x="6381" y="1569"/>
                </a:cxn>
                <a:cxn ang="0">
                  <a:pos x="6179" y="1296"/>
                </a:cxn>
                <a:cxn ang="0">
                  <a:pos x="6025" y="999"/>
                </a:cxn>
                <a:cxn ang="0">
                  <a:pos x="5680" y="809"/>
                </a:cxn>
                <a:cxn ang="0">
                  <a:pos x="5787" y="179"/>
                </a:cxn>
                <a:cxn ang="0">
                  <a:pos x="5419" y="84"/>
                </a:cxn>
                <a:cxn ang="0">
                  <a:pos x="5050" y="226"/>
                </a:cxn>
                <a:cxn ang="0">
                  <a:pos x="5003" y="559"/>
                </a:cxn>
                <a:cxn ang="0">
                  <a:pos x="4468" y="904"/>
                </a:cxn>
                <a:cxn ang="0">
                  <a:pos x="4278" y="951"/>
                </a:cxn>
                <a:cxn ang="0">
                  <a:pos x="4017" y="1046"/>
                </a:cxn>
                <a:cxn ang="0">
                  <a:pos x="3719" y="1189"/>
                </a:cxn>
                <a:cxn ang="0">
                  <a:pos x="3351" y="1320"/>
                </a:cxn>
                <a:cxn ang="0">
                  <a:pos x="3066" y="1343"/>
                </a:cxn>
                <a:cxn ang="0">
                  <a:pos x="2781" y="1438"/>
                </a:cxn>
                <a:cxn ang="0">
                  <a:pos x="2519" y="1569"/>
                </a:cxn>
                <a:cxn ang="0">
                  <a:pos x="2507" y="1878"/>
                </a:cxn>
                <a:cxn ang="0">
                  <a:pos x="2210" y="1961"/>
                </a:cxn>
                <a:cxn ang="0">
                  <a:pos x="1937" y="1688"/>
                </a:cxn>
                <a:cxn ang="0">
                  <a:pos x="1664" y="1533"/>
                </a:cxn>
                <a:cxn ang="0">
                  <a:pos x="1628" y="1700"/>
                </a:cxn>
                <a:cxn ang="0">
                  <a:pos x="1188" y="1545"/>
                </a:cxn>
                <a:cxn ang="0">
                  <a:pos x="855" y="1367"/>
                </a:cxn>
                <a:cxn ang="0">
                  <a:pos x="190" y="1201"/>
                </a:cxn>
                <a:cxn ang="0">
                  <a:pos x="202" y="1462"/>
                </a:cxn>
                <a:cxn ang="0">
                  <a:pos x="535" y="1747"/>
                </a:cxn>
                <a:cxn ang="0">
                  <a:pos x="808" y="2033"/>
                </a:cxn>
                <a:cxn ang="0">
                  <a:pos x="737" y="2532"/>
                </a:cxn>
                <a:cxn ang="0">
                  <a:pos x="1034" y="3162"/>
                </a:cxn>
                <a:cxn ang="0">
                  <a:pos x="1366" y="3364"/>
                </a:cxn>
                <a:cxn ang="0">
                  <a:pos x="1771" y="3637"/>
                </a:cxn>
                <a:cxn ang="0">
                  <a:pos x="2270" y="3898"/>
                </a:cxn>
                <a:cxn ang="0">
                  <a:pos x="2579" y="4219"/>
                </a:cxn>
                <a:cxn ang="0">
                  <a:pos x="2519" y="4504"/>
                </a:cxn>
                <a:cxn ang="0">
                  <a:pos x="2816" y="5253"/>
                </a:cxn>
                <a:cxn ang="0">
                  <a:pos x="2793" y="5764"/>
                </a:cxn>
                <a:cxn ang="0">
                  <a:pos x="2971" y="6263"/>
                </a:cxn>
                <a:cxn ang="0">
                  <a:pos x="3102" y="6691"/>
                </a:cxn>
                <a:cxn ang="0">
                  <a:pos x="3030" y="7012"/>
                </a:cxn>
                <a:cxn ang="0">
                  <a:pos x="2816" y="7250"/>
                </a:cxn>
                <a:cxn ang="0">
                  <a:pos x="3232" y="7547"/>
                </a:cxn>
                <a:cxn ang="0">
                  <a:pos x="3446" y="7856"/>
                </a:cxn>
                <a:cxn ang="0">
                  <a:pos x="3874" y="7963"/>
                </a:cxn>
                <a:cxn ang="0">
                  <a:pos x="3874" y="7701"/>
                </a:cxn>
                <a:cxn ang="0">
                  <a:pos x="3898" y="7404"/>
                </a:cxn>
                <a:cxn ang="0">
                  <a:pos x="4076" y="7036"/>
                </a:cxn>
                <a:cxn ang="0">
                  <a:pos x="4492" y="6881"/>
                </a:cxn>
                <a:cxn ang="0">
                  <a:pos x="4718" y="7071"/>
                </a:cxn>
                <a:cxn ang="0">
                  <a:pos x="4872" y="7261"/>
                </a:cxn>
                <a:cxn ang="0">
                  <a:pos x="5110" y="7321"/>
                </a:cxn>
                <a:cxn ang="0">
                  <a:pos x="5395" y="7131"/>
                </a:cxn>
                <a:cxn ang="0">
                  <a:pos x="5324" y="6893"/>
                </a:cxn>
                <a:cxn ang="0">
                  <a:pos x="5573" y="6323"/>
                </a:cxn>
                <a:cxn ang="0">
                  <a:pos x="7094" y="6037"/>
                </a:cxn>
              </a:cxnLst>
              <a:rect l="0" t="0" r="r" b="b"/>
              <a:pathLst>
                <a:path w="7118" h="8046">
                  <a:moveTo>
                    <a:pt x="7118" y="4861"/>
                  </a:moveTo>
                  <a:lnTo>
                    <a:pt x="7118" y="4861"/>
                  </a:lnTo>
                  <a:lnTo>
                    <a:pt x="7106" y="4790"/>
                  </a:lnTo>
                  <a:lnTo>
                    <a:pt x="7071" y="4754"/>
                  </a:lnTo>
                  <a:lnTo>
                    <a:pt x="6988" y="4718"/>
                  </a:lnTo>
                  <a:lnTo>
                    <a:pt x="6988" y="4730"/>
                  </a:lnTo>
                  <a:lnTo>
                    <a:pt x="6952" y="4742"/>
                  </a:lnTo>
                  <a:lnTo>
                    <a:pt x="6881" y="4742"/>
                  </a:lnTo>
                  <a:lnTo>
                    <a:pt x="6869" y="4730"/>
                  </a:lnTo>
                  <a:lnTo>
                    <a:pt x="6809" y="4695"/>
                  </a:lnTo>
                  <a:lnTo>
                    <a:pt x="6726" y="4683"/>
                  </a:lnTo>
                  <a:lnTo>
                    <a:pt x="6667" y="4659"/>
                  </a:lnTo>
                  <a:lnTo>
                    <a:pt x="6643" y="4623"/>
                  </a:lnTo>
                  <a:lnTo>
                    <a:pt x="6631" y="4588"/>
                  </a:lnTo>
                  <a:lnTo>
                    <a:pt x="6619" y="4576"/>
                  </a:lnTo>
                  <a:lnTo>
                    <a:pt x="6619" y="4552"/>
                  </a:lnTo>
                  <a:lnTo>
                    <a:pt x="6512" y="4504"/>
                  </a:lnTo>
                  <a:lnTo>
                    <a:pt x="6500" y="4445"/>
                  </a:lnTo>
                  <a:lnTo>
                    <a:pt x="6453" y="4386"/>
                  </a:lnTo>
                  <a:lnTo>
                    <a:pt x="6429" y="4362"/>
                  </a:lnTo>
                  <a:lnTo>
                    <a:pt x="6417" y="4362"/>
                  </a:lnTo>
                  <a:lnTo>
                    <a:pt x="6381" y="4314"/>
                  </a:lnTo>
                  <a:lnTo>
                    <a:pt x="6358" y="4290"/>
                  </a:lnTo>
                  <a:lnTo>
                    <a:pt x="6239" y="4267"/>
                  </a:lnTo>
                  <a:lnTo>
                    <a:pt x="6215" y="4243"/>
                  </a:lnTo>
                  <a:lnTo>
                    <a:pt x="6215" y="4219"/>
                  </a:lnTo>
                  <a:lnTo>
                    <a:pt x="6203" y="4160"/>
                  </a:lnTo>
                  <a:lnTo>
                    <a:pt x="6168" y="4112"/>
                  </a:lnTo>
                  <a:lnTo>
                    <a:pt x="6120" y="4065"/>
                  </a:lnTo>
                  <a:lnTo>
                    <a:pt x="6096" y="4017"/>
                  </a:lnTo>
                  <a:lnTo>
                    <a:pt x="6144" y="3791"/>
                  </a:lnTo>
                  <a:lnTo>
                    <a:pt x="6132" y="3661"/>
                  </a:lnTo>
                  <a:lnTo>
                    <a:pt x="6132" y="3577"/>
                  </a:lnTo>
                  <a:lnTo>
                    <a:pt x="6120" y="3554"/>
                  </a:lnTo>
                  <a:lnTo>
                    <a:pt x="6049" y="3554"/>
                  </a:lnTo>
                  <a:lnTo>
                    <a:pt x="6025" y="3494"/>
                  </a:lnTo>
                  <a:lnTo>
                    <a:pt x="5977" y="3494"/>
                  </a:lnTo>
                  <a:lnTo>
                    <a:pt x="5930" y="3470"/>
                  </a:lnTo>
                  <a:lnTo>
                    <a:pt x="5918" y="3435"/>
                  </a:lnTo>
                  <a:lnTo>
                    <a:pt x="5942" y="3375"/>
                  </a:lnTo>
                  <a:lnTo>
                    <a:pt x="5930" y="3304"/>
                  </a:lnTo>
                  <a:lnTo>
                    <a:pt x="5882" y="3233"/>
                  </a:lnTo>
                  <a:lnTo>
                    <a:pt x="5835" y="3114"/>
                  </a:lnTo>
                  <a:lnTo>
                    <a:pt x="5823" y="3019"/>
                  </a:lnTo>
                  <a:lnTo>
                    <a:pt x="5835" y="2983"/>
                  </a:lnTo>
                  <a:lnTo>
                    <a:pt x="5882" y="2639"/>
                  </a:lnTo>
                  <a:lnTo>
                    <a:pt x="5894" y="2603"/>
                  </a:lnTo>
                  <a:lnTo>
                    <a:pt x="5930" y="2567"/>
                  </a:lnTo>
                  <a:lnTo>
                    <a:pt x="5954" y="2484"/>
                  </a:lnTo>
                  <a:lnTo>
                    <a:pt x="6049" y="2294"/>
                  </a:lnTo>
                  <a:lnTo>
                    <a:pt x="6049" y="2175"/>
                  </a:lnTo>
                  <a:lnTo>
                    <a:pt x="6001" y="2092"/>
                  </a:lnTo>
                  <a:lnTo>
                    <a:pt x="5989" y="2044"/>
                  </a:lnTo>
                  <a:lnTo>
                    <a:pt x="6001" y="2033"/>
                  </a:lnTo>
                  <a:lnTo>
                    <a:pt x="6061" y="1997"/>
                  </a:lnTo>
                  <a:lnTo>
                    <a:pt x="6120" y="1926"/>
                  </a:lnTo>
                  <a:lnTo>
                    <a:pt x="6120" y="1902"/>
                  </a:lnTo>
                  <a:lnTo>
                    <a:pt x="6191" y="1866"/>
                  </a:lnTo>
                  <a:lnTo>
                    <a:pt x="6215" y="1854"/>
                  </a:lnTo>
                  <a:lnTo>
                    <a:pt x="6215" y="1819"/>
                  </a:lnTo>
                  <a:lnTo>
                    <a:pt x="6239" y="1771"/>
                  </a:lnTo>
                  <a:lnTo>
                    <a:pt x="6322" y="1712"/>
                  </a:lnTo>
                  <a:lnTo>
                    <a:pt x="6334" y="1629"/>
                  </a:lnTo>
                  <a:lnTo>
                    <a:pt x="6381" y="1569"/>
                  </a:lnTo>
                  <a:lnTo>
                    <a:pt x="6393" y="1545"/>
                  </a:lnTo>
                  <a:lnTo>
                    <a:pt x="6346" y="1510"/>
                  </a:lnTo>
                  <a:lnTo>
                    <a:pt x="6310" y="1450"/>
                  </a:lnTo>
                  <a:lnTo>
                    <a:pt x="6274" y="1426"/>
                  </a:lnTo>
                  <a:lnTo>
                    <a:pt x="6251" y="1391"/>
                  </a:lnTo>
                  <a:lnTo>
                    <a:pt x="6239" y="1331"/>
                  </a:lnTo>
                  <a:lnTo>
                    <a:pt x="6215" y="1308"/>
                  </a:lnTo>
                  <a:lnTo>
                    <a:pt x="6179" y="1296"/>
                  </a:lnTo>
                  <a:lnTo>
                    <a:pt x="6144" y="1248"/>
                  </a:lnTo>
                  <a:lnTo>
                    <a:pt x="6144" y="1213"/>
                  </a:lnTo>
                  <a:lnTo>
                    <a:pt x="6191" y="1129"/>
                  </a:lnTo>
                  <a:lnTo>
                    <a:pt x="6203" y="1094"/>
                  </a:lnTo>
                  <a:lnTo>
                    <a:pt x="6179" y="1070"/>
                  </a:lnTo>
                  <a:lnTo>
                    <a:pt x="6096" y="1011"/>
                  </a:lnTo>
                  <a:lnTo>
                    <a:pt x="6072" y="987"/>
                  </a:lnTo>
                  <a:lnTo>
                    <a:pt x="6025" y="999"/>
                  </a:lnTo>
                  <a:lnTo>
                    <a:pt x="5977" y="975"/>
                  </a:lnTo>
                  <a:lnTo>
                    <a:pt x="5930" y="975"/>
                  </a:lnTo>
                  <a:lnTo>
                    <a:pt x="5799" y="915"/>
                  </a:lnTo>
                  <a:lnTo>
                    <a:pt x="5752" y="904"/>
                  </a:lnTo>
                  <a:lnTo>
                    <a:pt x="5704" y="880"/>
                  </a:lnTo>
                  <a:lnTo>
                    <a:pt x="5645" y="880"/>
                  </a:lnTo>
                  <a:lnTo>
                    <a:pt x="5645" y="868"/>
                  </a:lnTo>
                  <a:lnTo>
                    <a:pt x="5680" y="809"/>
                  </a:lnTo>
                  <a:lnTo>
                    <a:pt x="5728" y="773"/>
                  </a:lnTo>
                  <a:lnTo>
                    <a:pt x="5763" y="725"/>
                  </a:lnTo>
                  <a:lnTo>
                    <a:pt x="5787" y="678"/>
                  </a:lnTo>
                  <a:lnTo>
                    <a:pt x="5787" y="535"/>
                  </a:lnTo>
                  <a:lnTo>
                    <a:pt x="5799" y="452"/>
                  </a:lnTo>
                  <a:lnTo>
                    <a:pt x="5787" y="393"/>
                  </a:lnTo>
                  <a:lnTo>
                    <a:pt x="5799" y="226"/>
                  </a:lnTo>
                  <a:lnTo>
                    <a:pt x="5787" y="179"/>
                  </a:lnTo>
                  <a:lnTo>
                    <a:pt x="5716" y="119"/>
                  </a:lnTo>
                  <a:lnTo>
                    <a:pt x="5704" y="84"/>
                  </a:lnTo>
                  <a:lnTo>
                    <a:pt x="5692" y="12"/>
                  </a:lnTo>
                  <a:lnTo>
                    <a:pt x="5657" y="24"/>
                  </a:lnTo>
                  <a:lnTo>
                    <a:pt x="5645" y="12"/>
                  </a:lnTo>
                  <a:lnTo>
                    <a:pt x="5621" y="0"/>
                  </a:lnTo>
                  <a:lnTo>
                    <a:pt x="5526" y="48"/>
                  </a:lnTo>
                  <a:lnTo>
                    <a:pt x="5419" y="84"/>
                  </a:lnTo>
                  <a:lnTo>
                    <a:pt x="5252" y="84"/>
                  </a:lnTo>
                  <a:lnTo>
                    <a:pt x="5146" y="107"/>
                  </a:lnTo>
                  <a:lnTo>
                    <a:pt x="5027" y="72"/>
                  </a:lnTo>
                  <a:lnTo>
                    <a:pt x="4979" y="84"/>
                  </a:lnTo>
                  <a:lnTo>
                    <a:pt x="4967" y="84"/>
                  </a:lnTo>
                  <a:lnTo>
                    <a:pt x="5074" y="202"/>
                  </a:lnTo>
                  <a:lnTo>
                    <a:pt x="5074" y="214"/>
                  </a:lnTo>
                  <a:lnTo>
                    <a:pt x="5050" y="226"/>
                  </a:lnTo>
                  <a:lnTo>
                    <a:pt x="5050" y="238"/>
                  </a:lnTo>
                  <a:lnTo>
                    <a:pt x="5062" y="274"/>
                  </a:lnTo>
                  <a:lnTo>
                    <a:pt x="5098" y="298"/>
                  </a:lnTo>
                  <a:lnTo>
                    <a:pt x="5122" y="333"/>
                  </a:lnTo>
                  <a:lnTo>
                    <a:pt x="5098" y="404"/>
                  </a:lnTo>
                  <a:lnTo>
                    <a:pt x="5062" y="452"/>
                  </a:lnTo>
                  <a:lnTo>
                    <a:pt x="5039" y="500"/>
                  </a:lnTo>
                  <a:lnTo>
                    <a:pt x="5003" y="559"/>
                  </a:lnTo>
                  <a:lnTo>
                    <a:pt x="4943" y="606"/>
                  </a:lnTo>
                  <a:lnTo>
                    <a:pt x="4753" y="666"/>
                  </a:lnTo>
                  <a:lnTo>
                    <a:pt x="4694" y="761"/>
                  </a:lnTo>
                  <a:lnTo>
                    <a:pt x="4670" y="832"/>
                  </a:lnTo>
                  <a:lnTo>
                    <a:pt x="4635" y="868"/>
                  </a:lnTo>
                  <a:lnTo>
                    <a:pt x="4575" y="880"/>
                  </a:lnTo>
                  <a:lnTo>
                    <a:pt x="4516" y="892"/>
                  </a:lnTo>
                  <a:lnTo>
                    <a:pt x="4468" y="904"/>
                  </a:lnTo>
                  <a:lnTo>
                    <a:pt x="4432" y="927"/>
                  </a:lnTo>
                  <a:lnTo>
                    <a:pt x="4326" y="892"/>
                  </a:lnTo>
                  <a:lnTo>
                    <a:pt x="4278" y="856"/>
                  </a:lnTo>
                  <a:lnTo>
                    <a:pt x="4278" y="868"/>
                  </a:lnTo>
                  <a:lnTo>
                    <a:pt x="4254" y="868"/>
                  </a:lnTo>
                  <a:lnTo>
                    <a:pt x="4242" y="892"/>
                  </a:lnTo>
                  <a:lnTo>
                    <a:pt x="4266" y="915"/>
                  </a:lnTo>
                  <a:lnTo>
                    <a:pt x="4278" y="951"/>
                  </a:lnTo>
                  <a:lnTo>
                    <a:pt x="4242" y="963"/>
                  </a:lnTo>
                  <a:lnTo>
                    <a:pt x="4219" y="999"/>
                  </a:lnTo>
                  <a:lnTo>
                    <a:pt x="4195" y="1011"/>
                  </a:lnTo>
                  <a:lnTo>
                    <a:pt x="4135" y="999"/>
                  </a:lnTo>
                  <a:lnTo>
                    <a:pt x="4076" y="987"/>
                  </a:lnTo>
                  <a:lnTo>
                    <a:pt x="4064" y="975"/>
                  </a:lnTo>
                  <a:lnTo>
                    <a:pt x="4005" y="1034"/>
                  </a:lnTo>
                  <a:lnTo>
                    <a:pt x="4017" y="1046"/>
                  </a:lnTo>
                  <a:lnTo>
                    <a:pt x="4005" y="1070"/>
                  </a:lnTo>
                  <a:lnTo>
                    <a:pt x="4005" y="1141"/>
                  </a:lnTo>
                  <a:lnTo>
                    <a:pt x="3993" y="1165"/>
                  </a:lnTo>
                  <a:lnTo>
                    <a:pt x="3921" y="1224"/>
                  </a:lnTo>
                  <a:lnTo>
                    <a:pt x="3874" y="1224"/>
                  </a:lnTo>
                  <a:lnTo>
                    <a:pt x="3815" y="1177"/>
                  </a:lnTo>
                  <a:lnTo>
                    <a:pt x="3755" y="1201"/>
                  </a:lnTo>
                  <a:lnTo>
                    <a:pt x="3719" y="1189"/>
                  </a:lnTo>
                  <a:lnTo>
                    <a:pt x="3696" y="1201"/>
                  </a:lnTo>
                  <a:lnTo>
                    <a:pt x="3648" y="1260"/>
                  </a:lnTo>
                  <a:lnTo>
                    <a:pt x="3648" y="1272"/>
                  </a:lnTo>
                  <a:lnTo>
                    <a:pt x="3624" y="1296"/>
                  </a:lnTo>
                  <a:lnTo>
                    <a:pt x="3565" y="1308"/>
                  </a:lnTo>
                  <a:lnTo>
                    <a:pt x="3529" y="1343"/>
                  </a:lnTo>
                  <a:lnTo>
                    <a:pt x="3446" y="1308"/>
                  </a:lnTo>
                  <a:lnTo>
                    <a:pt x="3351" y="1320"/>
                  </a:lnTo>
                  <a:lnTo>
                    <a:pt x="3315" y="1343"/>
                  </a:lnTo>
                  <a:lnTo>
                    <a:pt x="3280" y="1391"/>
                  </a:lnTo>
                  <a:lnTo>
                    <a:pt x="3244" y="1403"/>
                  </a:lnTo>
                  <a:lnTo>
                    <a:pt x="3244" y="1415"/>
                  </a:lnTo>
                  <a:lnTo>
                    <a:pt x="3197" y="1367"/>
                  </a:lnTo>
                  <a:lnTo>
                    <a:pt x="3185" y="1379"/>
                  </a:lnTo>
                  <a:lnTo>
                    <a:pt x="3102" y="1343"/>
                  </a:lnTo>
                  <a:lnTo>
                    <a:pt x="3066" y="1343"/>
                  </a:lnTo>
                  <a:lnTo>
                    <a:pt x="3018" y="1331"/>
                  </a:lnTo>
                  <a:lnTo>
                    <a:pt x="2959" y="1272"/>
                  </a:lnTo>
                  <a:lnTo>
                    <a:pt x="2911" y="1260"/>
                  </a:lnTo>
                  <a:lnTo>
                    <a:pt x="2888" y="1272"/>
                  </a:lnTo>
                  <a:lnTo>
                    <a:pt x="2852" y="1320"/>
                  </a:lnTo>
                  <a:lnTo>
                    <a:pt x="2793" y="1343"/>
                  </a:lnTo>
                  <a:lnTo>
                    <a:pt x="2769" y="1391"/>
                  </a:lnTo>
                  <a:lnTo>
                    <a:pt x="2781" y="1438"/>
                  </a:lnTo>
                  <a:lnTo>
                    <a:pt x="2757" y="1474"/>
                  </a:lnTo>
                  <a:lnTo>
                    <a:pt x="2721" y="1474"/>
                  </a:lnTo>
                  <a:lnTo>
                    <a:pt x="2662" y="1450"/>
                  </a:lnTo>
                  <a:lnTo>
                    <a:pt x="2590" y="1450"/>
                  </a:lnTo>
                  <a:lnTo>
                    <a:pt x="2531" y="1450"/>
                  </a:lnTo>
                  <a:lnTo>
                    <a:pt x="2495" y="1474"/>
                  </a:lnTo>
                  <a:lnTo>
                    <a:pt x="2495" y="1522"/>
                  </a:lnTo>
                  <a:lnTo>
                    <a:pt x="2519" y="1569"/>
                  </a:lnTo>
                  <a:lnTo>
                    <a:pt x="2495" y="1640"/>
                  </a:lnTo>
                  <a:lnTo>
                    <a:pt x="2507" y="1664"/>
                  </a:lnTo>
                  <a:lnTo>
                    <a:pt x="2519" y="1652"/>
                  </a:lnTo>
                  <a:lnTo>
                    <a:pt x="2531" y="1735"/>
                  </a:lnTo>
                  <a:lnTo>
                    <a:pt x="2543" y="1783"/>
                  </a:lnTo>
                  <a:lnTo>
                    <a:pt x="2543" y="1842"/>
                  </a:lnTo>
                  <a:lnTo>
                    <a:pt x="2531" y="1866"/>
                  </a:lnTo>
                  <a:lnTo>
                    <a:pt x="2507" y="1878"/>
                  </a:lnTo>
                  <a:lnTo>
                    <a:pt x="2472" y="1866"/>
                  </a:lnTo>
                  <a:lnTo>
                    <a:pt x="2436" y="1819"/>
                  </a:lnTo>
                  <a:lnTo>
                    <a:pt x="2412" y="1831"/>
                  </a:lnTo>
                  <a:lnTo>
                    <a:pt x="2377" y="1866"/>
                  </a:lnTo>
                  <a:lnTo>
                    <a:pt x="2329" y="1890"/>
                  </a:lnTo>
                  <a:lnTo>
                    <a:pt x="2293" y="1973"/>
                  </a:lnTo>
                  <a:lnTo>
                    <a:pt x="2270" y="1973"/>
                  </a:lnTo>
                  <a:lnTo>
                    <a:pt x="2210" y="1961"/>
                  </a:lnTo>
                  <a:lnTo>
                    <a:pt x="2186" y="1926"/>
                  </a:lnTo>
                  <a:lnTo>
                    <a:pt x="2151" y="1890"/>
                  </a:lnTo>
                  <a:lnTo>
                    <a:pt x="2127" y="1819"/>
                  </a:lnTo>
                  <a:lnTo>
                    <a:pt x="2103" y="1759"/>
                  </a:lnTo>
                  <a:lnTo>
                    <a:pt x="2091" y="1759"/>
                  </a:lnTo>
                  <a:lnTo>
                    <a:pt x="2044" y="1712"/>
                  </a:lnTo>
                  <a:lnTo>
                    <a:pt x="1949" y="1712"/>
                  </a:lnTo>
                  <a:lnTo>
                    <a:pt x="1937" y="1688"/>
                  </a:lnTo>
                  <a:lnTo>
                    <a:pt x="1937" y="1676"/>
                  </a:lnTo>
                  <a:lnTo>
                    <a:pt x="1949" y="1629"/>
                  </a:lnTo>
                  <a:lnTo>
                    <a:pt x="1973" y="1593"/>
                  </a:lnTo>
                  <a:lnTo>
                    <a:pt x="1961" y="1557"/>
                  </a:lnTo>
                  <a:lnTo>
                    <a:pt x="1949" y="1545"/>
                  </a:lnTo>
                  <a:lnTo>
                    <a:pt x="1794" y="1522"/>
                  </a:lnTo>
                  <a:lnTo>
                    <a:pt x="1711" y="1522"/>
                  </a:lnTo>
                  <a:lnTo>
                    <a:pt x="1664" y="1533"/>
                  </a:lnTo>
                  <a:lnTo>
                    <a:pt x="1675" y="1545"/>
                  </a:lnTo>
                  <a:lnTo>
                    <a:pt x="1723" y="1569"/>
                  </a:lnTo>
                  <a:lnTo>
                    <a:pt x="1735" y="1605"/>
                  </a:lnTo>
                  <a:lnTo>
                    <a:pt x="1699" y="1652"/>
                  </a:lnTo>
                  <a:lnTo>
                    <a:pt x="1640" y="1652"/>
                  </a:lnTo>
                  <a:lnTo>
                    <a:pt x="1628" y="1664"/>
                  </a:lnTo>
                  <a:lnTo>
                    <a:pt x="1628" y="1688"/>
                  </a:lnTo>
                  <a:lnTo>
                    <a:pt x="1628" y="1700"/>
                  </a:lnTo>
                  <a:lnTo>
                    <a:pt x="1616" y="1700"/>
                  </a:lnTo>
                  <a:lnTo>
                    <a:pt x="1509" y="1617"/>
                  </a:lnTo>
                  <a:lnTo>
                    <a:pt x="1497" y="1593"/>
                  </a:lnTo>
                  <a:lnTo>
                    <a:pt x="1450" y="1557"/>
                  </a:lnTo>
                  <a:lnTo>
                    <a:pt x="1307" y="1581"/>
                  </a:lnTo>
                  <a:lnTo>
                    <a:pt x="1260" y="1569"/>
                  </a:lnTo>
                  <a:lnTo>
                    <a:pt x="1224" y="1545"/>
                  </a:lnTo>
                  <a:lnTo>
                    <a:pt x="1188" y="1545"/>
                  </a:lnTo>
                  <a:lnTo>
                    <a:pt x="1129" y="1569"/>
                  </a:lnTo>
                  <a:lnTo>
                    <a:pt x="1129" y="1581"/>
                  </a:lnTo>
                  <a:lnTo>
                    <a:pt x="1081" y="1617"/>
                  </a:lnTo>
                  <a:lnTo>
                    <a:pt x="1046" y="1652"/>
                  </a:lnTo>
                  <a:lnTo>
                    <a:pt x="974" y="1629"/>
                  </a:lnTo>
                  <a:lnTo>
                    <a:pt x="939" y="1533"/>
                  </a:lnTo>
                  <a:lnTo>
                    <a:pt x="903" y="1486"/>
                  </a:lnTo>
                  <a:lnTo>
                    <a:pt x="855" y="1367"/>
                  </a:lnTo>
                  <a:lnTo>
                    <a:pt x="808" y="1343"/>
                  </a:lnTo>
                  <a:lnTo>
                    <a:pt x="677" y="1320"/>
                  </a:lnTo>
                  <a:lnTo>
                    <a:pt x="511" y="1320"/>
                  </a:lnTo>
                  <a:lnTo>
                    <a:pt x="380" y="1355"/>
                  </a:lnTo>
                  <a:lnTo>
                    <a:pt x="356" y="1355"/>
                  </a:lnTo>
                  <a:lnTo>
                    <a:pt x="297" y="1331"/>
                  </a:lnTo>
                  <a:lnTo>
                    <a:pt x="226" y="1236"/>
                  </a:lnTo>
                  <a:lnTo>
                    <a:pt x="190" y="1201"/>
                  </a:lnTo>
                  <a:lnTo>
                    <a:pt x="142" y="1177"/>
                  </a:lnTo>
                  <a:lnTo>
                    <a:pt x="107" y="1117"/>
                  </a:lnTo>
                  <a:lnTo>
                    <a:pt x="35" y="1106"/>
                  </a:lnTo>
                  <a:lnTo>
                    <a:pt x="24" y="1117"/>
                  </a:lnTo>
                  <a:lnTo>
                    <a:pt x="0" y="1141"/>
                  </a:lnTo>
                  <a:lnTo>
                    <a:pt x="0" y="1177"/>
                  </a:lnTo>
                  <a:lnTo>
                    <a:pt x="35" y="1248"/>
                  </a:lnTo>
                  <a:lnTo>
                    <a:pt x="202" y="1462"/>
                  </a:lnTo>
                  <a:lnTo>
                    <a:pt x="285" y="1510"/>
                  </a:lnTo>
                  <a:lnTo>
                    <a:pt x="285" y="1522"/>
                  </a:lnTo>
                  <a:lnTo>
                    <a:pt x="356" y="1605"/>
                  </a:lnTo>
                  <a:lnTo>
                    <a:pt x="392" y="1664"/>
                  </a:lnTo>
                  <a:lnTo>
                    <a:pt x="416" y="1712"/>
                  </a:lnTo>
                  <a:lnTo>
                    <a:pt x="428" y="1700"/>
                  </a:lnTo>
                  <a:lnTo>
                    <a:pt x="487" y="1735"/>
                  </a:lnTo>
                  <a:lnTo>
                    <a:pt x="535" y="1747"/>
                  </a:lnTo>
                  <a:lnTo>
                    <a:pt x="653" y="1807"/>
                  </a:lnTo>
                  <a:lnTo>
                    <a:pt x="701" y="1842"/>
                  </a:lnTo>
                  <a:lnTo>
                    <a:pt x="689" y="1866"/>
                  </a:lnTo>
                  <a:lnTo>
                    <a:pt x="701" y="1878"/>
                  </a:lnTo>
                  <a:lnTo>
                    <a:pt x="737" y="1937"/>
                  </a:lnTo>
                  <a:lnTo>
                    <a:pt x="784" y="1973"/>
                  </a:lnTo>
                  <a:lnTo>
                    <a:pt x="808" y="2009"/>
                  </a:lnTo>
                  <a:lnTo>
                    <a:pt x="808" y="2033"/>
                  </a:lnTo>
                  <a:lnTo>
                    <a:pt x="796" y="2068"/>
                  </a:lnTo>
                  <a:lnTo>
                    <a:pt x="760" y="2116"/>
                  </a:lnTo>
                  <a:lnTo>
                    <a:pt x="749" y="2163"/>
                  </a:lnTo>
                  <a:lnTo>
                    <a:pt x="737" y="2235"/>
                  </a:lnTo>
                  <a:lnTo>
                    <a:pt x="749" y="2282"/>
                  </a:lnTo>
                  <a:lnTo>
                    <a:pt x="760" y="2342"/>
                  </a:lnTo>
                  <a:lnTo>
                    <a:pt x="749" y="2448"/>
                  </a:lnTo>
                  <a:lnTo>
                    <a:pt x="737" y="2532"/>
                  </a:lnTo>
                  <a:lnTo>
                    <a:pt x="749" y="2567"/>
                  </a:lnTo>
                  <a:lnTo>
                    <a:pt x="844" y="2651"/>
                  </a:lnTo>
                  <a:lnTo>
                    <a:pt x="879" y="2734"/>
                  </a:lnTo>
                  <a:lnTo>
                    <a:pt x="939" y="2805"/>
                  </a:lnTo>
                  <a:lnTo>
                    <a:pt x="998" y="2924"/>
                  </a:lnTo>
                  <a:lnTo>
                    <a:pt x="1010" y="2995"/>
                  </a:lnTo>
                  <a:lnTo>
                    <a:pt x="1046" y="3078"/>
                  </a:lnTo>
                  <a:lnTo>
                    <a:pt x="1034" y="3162"/>
                  </a:lnTo>
                  <a:lnTo>
                    <a:pt x="939" y="3292"/>
                  </a:lnTo>
                  <a:lnTo>
                    <a:pt x="951" y="3304"/>
                  </a:lnTo>
                  <a:lnTo>
                    <a:pt x="974" y="3328"/>
                  </a:lnTo>
                  <a:lnTo>
                    <a:pt x="1034" y="3328"/>
                  </a:lnTo>
                  <a:lnTo>
                    <a:pt x="1093" y="3340"/>
                  </a:lnTo>
                  <a:lnTo>
                    <a:pt x="1260" y="3364"/>
                  </a:lnTo>
                  <a:lnTo>
                    <a:pt x="1331" y="3375"/>
                  </a:lnTo>
                  <a:lnTo>
                    <a:pt x="1366" y="3364"/>
                  </a:lnTo>
                  <a:lnTo>
                    <a:pt x="1580" y="3364"/>
                  </a:lnTo>
                  <a:lnTo>
                    <a:pt x="1640" y="3399"/>
                  </a:lnTo>
                  <a:lnTo>
                    <a:pt x="1747" y="3375"/>
                  </a:lnTo>
                  <a:lnTo>
                    <a:pt x="1771" y="3399"/>
                  </a:lnTo>
                  <a:lnTo>
                    <a:pt x="1782" y="3411"/>
                  </a:lnTo>
                  <a:lnTo>
                    <a:pt x="1782" y="3470"/>
                  </a:lnTo>
                  <a:lnTo>
                    <a:pt x="1771" y="3542"/>
                  </a:lnTo>
                  <a:lnTo>
                    <a:pt x="1771" y="3637"/>
                  </a:lnTo>
                  <a:lnTo>
                    <a:pt x="1866" y="3696"/>
                  </a:lnTo>
                  <a:lnTo>
                    <a:pt x="1901" y="3708"/>
                  </a:lnTo>
                  <a:lnTo>
                    <a:pt x="2044" y="3696"/>
                  </a:lnTo>
                  <a:lnTo>
                    <a:pt x="2068" y="3720"/>
                  </a:lnTo>
                  <a:lnTo>
                    <a:pt x="2127" y="3839"/>
                  </a:lnTo>
                  <a:lnTo>
                    <a:pt x="2151" y="3886"/>
                  </a:lnTo>
                  <a:lnTo>
                    <a:pt x="2210" y="3910"/>
                  </a:lnTo>
                  <a:lnTo>
                    <a:pt x="2270" y="3898"/>
                  </a:lnTo>
                  <a:lnTo>
                    <a:pt x="2341" y="3875"/>
                  </a:lnTo>
                  <a:lnTo>
                    <a:pt x="2377" y="3875"/>
                  </a:lnTo>
                  <a:lnTo>
                    <a:pt x="2448" y="3910"/>
                  </a:lnTo>
                  <a:lnTo>
                    <a:pt x="2507" y="3922"/>
                  </a:lnTo>
                  <a:lnTo>
                    <a:pt x="2567" y="3981"/>
                  </a:lnTo>
                  <a:lnTo>
                    <a:pt x="2579" y="4029"/>
                  </a:lnTo>
                  <a:lnTo>
                    <a:pt x="2579" y="4148"/>
                  </a:lnTo>
                  <a:lnTo>
                    <a:pt x="2579" y="4219"/>
                  </a:lnTo>
                  <a:lnTo>
                    <a:pt x="2543" y="4290"/>
                  </a:lnTo>
                  <a:lnTo>
                    <a:pt x="2460" y="4350"/>
                  </a:lnTo>
                  <a:lnTo>
                    <a:pt x="2448" y="4374"/>
                  </a:lnTo>
                  <a:lnTo>
                    <a:pt x="2448" y="4386"/>
                  </a:lnTo>
                  <a:lnTo>
                    <a:pt x="2460" y="4409"/>
                  </a:lnTo>
                  <a:lnTo>
                    <a:pt x="2484" y="4421"/>
                  </a:lnTo>
                  <a:lnTo>
                    <a:pt x="2507" y="4445"/>
                  </a:lnTo>
                  <a:lnTo>
                    <a:pt x="2519" y="4504"/>
                  </a:lnTo>
                  <a:lnTo>
                    <a:pt x="2531" y="4528"/>
                  </a:lnTo>
                  <a:lnTo>
                    <a:pt x="2555" y="4540"/>
                  </a:lnTo>
                  <a:lnTo>
                    <a:pt x="2614" y="4576"/>
                  </a:lnTo>
                  <a:lnTo>
                    <a:pt x="2638" y="4611"/>
                  </a:lnTo>
                  <a:lnTo>
                    <a:pt x="2686" y="4861"/>
                  </a:lnTo>
                  <a:lnTo>
                    <a:pt x="2745" y="5039"/>
                  </a:lnTo>
                  <a:lnTo>
                    <a:pt x="2769" y="5182"/>
                  </a:lnTo>
                  <a:lnTo>
                    <a:pt x="2816" y="5253"/>
                  </a:lnTo>
                  <a:lnTo>
                    <a:pt x="2840" y="5289"/>
                  </a:lnTo>
                  <a:lnTo>
                    <a:pt x="2852" y="5312"/>
                  </a:lnTo>
                  <a:lnTo>
                    <a:pt x="2852" y="5360"/>
                  </a:lnTo>
                  <a:lnTo>
                    <a:pt x="2745" y="5467"/>
                  </a:lnTo>
                  <a:lnTo>
                    <a:pt x="2745" y="5491"/>
                  </a:lnTo>
                  <a:lnTo>
                    <a:pt x="2757" y="5574"/>
                  </a:lnTo>
                  <a:lnTo>
                    <a:pt x="2793" y="5681"/>
                  </a:lnTo>
                  <a:lnTo>
                    <a:pt x="2793" y="5764"/>
                  </a:lnTo>
                  <a:lnTo>
                    <a:pt x="2840" y="5788"/>
                  </a:lnTo>
                  <a:lnTo>
                    <a:pt x="2864" y="5847"/>
                  </a:lnTo>
                  <a:lnTo>
                    <a:pt x="2840" y="5930"/>
                  </a:lnTo>
                  <a:lnTo>
                    <a:pt x="2864" y="6037"/>
                  </a:lnTo>
                  <a:lnTo>
                    <a:pt x="2888" y="6097"/>
                  </a:lnTo>
                  <a:lnTo>
                    <a:pt x="2888" y="6192"/>
                  </a:lnTo>
                  <a:lnTo>
                    <a:pt x="2899" y="6216"/>
                  </a:lnTo>
                  <a:lnTo>
                    <a:pt x="2971" y="6263"/>
                  </a:lnTo>
                  <a:lnTo>
                    <a:pt x="2995" y="6311"/>
                  </a:lnTo>
                  <a:lnTo>
                    <a:pt x="3006" y="6418"/>
                  </a:lnTo>
                  <a:lnTo>
                    <a:pt x="3078" y="6489"/>
                  </a:lnTo>
                  <a:lnTo>
                    <a:pt x="3090" y="6525"/>
                  </a:lnTo>
                  <a:lnTo>
                    <a:pt x="3090" y="6572"/>
                  </a:lnTo>
                  <a:lnTo>
                    <a:pt x="3090" y="6620"/>
                  </a:lnTo>
                  <a:lnTo>
                    <a:pt x="3078" y="6655"/>
                  </a:lnTo>
                  <a:lnTo>
                    <a:pt x="3102" y="6691"/>
                  </a:lnTo>
                  <a:lnTo>
                    <a:pt x="3149" y="6691"/>
                  </a:lnTo>
                  <a:lnTo>
                    <a:pt x="3161" y="6727"/>
                  </a:lnTo>
                  <a:lnTo>
                    <a:pt x="3149" y="6739"/>
                  </a:lnTo>
                  <a:lnTo>
                    <a:pt x="3125" y="6786"/>
                  </a:lnTo>
                  <a:lnTo>
                    <a:pt x="3054" y="6857"/>
                  </a:lnTo>
                  <a:lnTo>
                    <a:pt x="3018" y="6917"/>
                  </a:lnTo>
                  <a:lnTo>
                    <a:pt x="3018" y="6917"/>
                  </a:lnTo>
                  <a:lnTo>
                    <a:pt x="3030" y="7012"/>
                  </a:lnTo>
                  <a:lnTo>
                    <a:pt x="2995" y="7095"/>
                  </a:lnTo>
                  <a:lnTo>
                    <a:pt x="2935" y="7095"/>
                  </a:lnTo>
                  <a:lnTo>
                    <a:pt x="2911" y="7143"/>
                  </a:lnTo>
                  <a:lnTo>
                    <a:pt x="2852" y="7119"/>
                  </a:lnTo>
                  <a:lnTo>
                    <a:pt x="2816" y="7119"/>
                  </a:lnTo>
                  <a:lnTo>
                    <a:pt x="2793" y="7143"/>
                  </a:lnTo>
                  <a:lnTo>
                    <a:pt x="2793" y="7214"/>
                  </a:lnTo>
                  <a:lnTo>
                    <a:pt x="2816" y="7250"/>
                  </a:lnTo>
                  <a:lnTo>
                    <a:pt x="2864" y="7261"/>
                  </a:lnTo>
                  <a:lnTo>
                    <a:pt x="2888" y="7273"/>
                  </a:lnTo>
                  <a:lnTo>
                    <a:pt x="2923" y="7309"/>
                  </a:lnTo>
                  <a:lnTo>
                    <a:pt x="2971" y="7356"/>
                  </a:lnTo>
                  <a:lnTo>
                    <a:pt x="3042" y="7452"/>
                  </a:lnTo>
                  <a:lnTo>
                    <a:pt x="3090" y="7452"/>
                  </a:lnTo>
                  <a:lnTo>
                    <a:pt x="3125" y="7499"/>
                  </a:lnTo>
                  <a:lnTo>
                    <a:pt x="3232" y="7547"/>
                  </a:lnTo>
                  <a:lnTo>
                    <a:pt x="3280" y="7618"/>
                  </a:lnTo>
                  <a:lnTo>
                    <a:pt x="3315" y="7618"/>
                  </a:lnTo>
                  <a:lnTo>
                    <a:pt x="3351" y="7665"/>
                  </a:lnTo>
                  <a:lnTo>
                    <a:pt x="3375" y="7713"/>
                  </a:lnTo>
                  <a:lnTo>
                    <a:pt x="3410" y="7737"/>
                  </a:lnTo>
                  <a:lnTo>
                    <a:pt x="3410" y="7784"/>
                  </a:lnTo>
                  <a:lnTo>
                    <a:pt x="3434" y="7808"/>
                  </a:lnTo>
                  <a:lnTo>
                    <a:pt x="3446" y="7856"/>
                  </a:lnTo>
                  <a:lnTo>
                    <a:pt x="3482" y="7915"/>
                  </a:lnTo>
                  <a:lnTo>
                    <a:pt x="3529" y="7951"/>
                  </a:lnTo>
                  <a:lnTo>
                    <a:pt x="3648" y="7974"/>
                  </a:lnTo>
                  <a:lnTo>
                    <a:pt x="3684" y="7974"/>
                  </a:lnTo>
                  <a:lnTo>
                    <a:pt x="3719" y="7998"/>
                  </a:lnTo>
                  <a:lnTo>
                    <a:pt x="3838" y="8046"/>
                  </a:lnTo>
                  <a:lnTo>
                    <a:pt x="3886" y="7998"/>
                  </a:lnTo>
                  <a:lnTo>
                    <a:pt x="3874" y="7963"/>
                  </a:lnTo>
                  <a:lnTo>
                    <a:pt x="3874" y="7951"/>
                  </a:lnTo>
                  <a:lnTo>
                    <a:pt x="3898" y="7939"/>
                  </a:lnTo>
                  <a:lnTo>
                    <a:pt x="3898" y="7927"/>
                  </a:lnTo>
                  <a:lnTo>
                    <a:pt x="3898" y="7891"/>
                  </a:lnTo>
                  <a:lnTo>
                    <a:pt x="3886" y="7867"/>
                  </a:lnTo>
                  <a:lnTo>
                    <a:pt x="3850" y="7844"/>
                  </a:lnTo>
                  <a:lnTo>
                    <a:pt x="3850" y="7832"/>
                  </a:lnTo>
                  <a:lnTo>
                    <a:pt x="3874" y="7701"/>
                  </a:lnTo>
                  <a:lnTo>
                    <a:pt x="3898" y="7665"/>
                  </a:lnTo>
                  <a:lnTo>
                    <a:pt x="3910" y="7630"/>
                  </a:lnTo>
                  <a:lnTo>
                    <a:pt x="3898" y="7606"/>
                  </a:lnTo>
                  <a:lnTo>
                    <a:pt x="3898" y="7582"/>
                  </a:lnTo>
                  <a:lnTo>
                    <a:pt x="3921" y="7559"/>
                  </a:lnTo>
                  <a:lnTo>
                    <a:pt x="3933" y="7547"/>
                  </a:lnTo>
                  <a:lnTo>
                    <a:pt x="3933" y="7452"/>
                  </a:lnTo>
                  <a:lnTo>
                    <a:pt x="3898" y="7404"/>
                  </a:lnTo>
                  <a:lnTo>
                    <a:pt x="3886" y="7368"/>
                  </a:lnTo>
                  <a:lnTo>
                    <a:pt x="3933" y="7285"/>
                  </a:lnTo>
                  <a:lnTo>
                    <a:pt x="3945" y="7226"/>
                  </a:lnTo>
                  <a:lnTo>
                    <a:pt x="4028" y="7119"/>
                  </a:lnTo>
                  <a:lnTo>
                    <a:pt x="4040" y="7071"/>
                  </a:lnTo>
                  <a:lnTo>
                    <a:pt x="4052" y="7059"/>
                  </a:lnTo>
                  <a:lnTo>
                    <a:pt x="4064" y="7071"/>
                  </a:lnTo>
                  <a:lnTo>
                    <a:pt x="4076" y="7036"/>
                  </a:lnTo>
                  <a:lnTo>
                    <a:pt x="4147" y="7036"/>
                  </a:lnTo>
                  <a:lnTo>
                    <a:pt x="4195" y="7012"/>
                  </a:lnTo>
                  <a:lnTo>
                    <a:pt x="4290" y="6976"/>
                  </a:lnTo>
                  <a:lnTo>
                    <a:pt x="4326" y="6952"/>
                  </a:lnTo>
                  <a:lnTo>
                    <a:pt x="4337" y="6893"/>
                  </a:lnTo>
                  <a:lnTo>
                    <a:pt x="4373" y="6881"/>
                  </a:lnTo>
                  <a:lnTo>
                    <a:pt x="4432" y="6893"/>
                  </a:lnTo>
                  <a:lnTo>
                    <a:pt x="4492" y="6881"/>
                  </a:lnTo>
                  <a:lnTo>
                    <a:pt x="4516" y="6905"/>
                  </a:lnTo>
                  <a:lnTo>
                    <a:pt x="4528" y="6952"/>
                  </a:lnTo>
                  <a:lnTo>
                    <a:pt x="4551" y="6964"/>
                  </a:lnTo>
                  <a:lnTo>
                    <a:pt x="4635" y="6952"/>
                  </a:lnTo>
                  <a:lnTo>
                    <a:pt x="4670" y="6964"/>
                  </a:lnTo>
                  <a:lnTo>
                    <a:pt x="4694" y="6988"/>
                  </a:lnTo>
                  <a:lnTo>
                    <a:pt x="4706" y="7059"/>
                  </a:lnTo>
                  <a:lnTo>
                    <a:pt x="4718" y="7071"/>
                  </a:lnTo>
                  <a:lnTo>
                    <a:pt x="4765" y="7071"/>
                  </a:lnTo>
                  <a:lnTo>
                    <a:pt x="4777" y="7119"/>
                  </a:lnTo>
                  <a:lnTo>
                    <a:pt x="4813" y="7119"/>
                  </a:lnTo>
                  <a:lnTo>
                    <a:pt x="4825" y="7131"/>
                  </a:lnTo>
                  <a:lnTo>
                    <a:pt x="4825" y="7166"/>
                  </a:lnTo>
                  <a:lnTo>
                    <a:pt x="4848" y="7190"/>
                  </a:lnTo>
                  <a:lnTo>
                    <a:pt x="4848" y="7238"/>
                  </a:lnTo>
                  <a:lnTo>
                    <a:pt x="4872" y="7261"/>
                  </a:lnTo>
                  <a:lnTo>
                    <a:pt x="4860" y="7297"/>
                  </a:lnTo>
                  <a:lnTo>
                    <a:pt x="4872" y="7333"/>
                  </a:lnTo>
                  <a:lnTo>
                    <a:pt x="4884" y="7333"/>
                  </a:lnTo>
                  <a:lnTo>
                    <a:pt x="4932" y="7321"/>
                  </a:lnTo>
                  <a:lnTo>
                    <a:pt x="4967" y="7345"/>
                  </a:lnTo>
                  <a:lnTo>
                    <a:pt x="4991" y="7345"/>
                  </a:lnTo>
                  <a:lnTo>
                    <a:pt x="5050" y="7309"/>
                  </a:lnTo>
                  <a:lnTo>
                    <a:pt x="5110" y="7321"/>
                  </a:lnTo>
                  <a:lnTo>
                    <a:pt x="5134" y="7321"/>
                  </a:lnTo>
                  <a:lnTo>
                    <a:pt x="5169" y="7285"/>
                  </a:lnTo>
                  <a:lnTo>
                    <a:pt x="5193" y="7238"/>
                  </a:lnTo>
                  <a:lnTo>
                    <a:pt x="5205" y="7214"/>
                  </a:lnTo>
                  <a:lnTo>
                    <a:pt x="5252" y="7202"/>
                  </a:lnTo>
                  <a:lnTo>
                    <a:pt x="5300" y="7202"/>
                  </a:lnTo>
                  <a:lnTo>
                    <a:pt x="5371" y="7154"/>
                  </a:lnTo>
                  <a:lnTo>
                    <a:pt x="5395" y="7131"/>
                  </a:lnTo>
                  <a:lnTo>
                    <a:pt x="5407" y="7095"/>
                  </a:lnTo>
                  <a:lnTo>
                    <a:pt x="5407" y="7059"/>
                  </a:lnTo>
                  <a:lnTo>
                    <a:pt x="5348" y="7000"/>
                  </a:lnTo>
                  <a:lnTo>
                    <a:pt x="5324" y="6988"/>
                  </a:lnTo>
                  <a:lnTo>
                    <a:pt x="5324" y="6976"/>
                  </a:lnTo>
                  <a:lnTo>
                    <a:pt x="5324" y="6941"/>
                  </a:lnTo>
                  <a:lnTo>
                    <a:pt x="5324" y="6905"/>
                  </a:lnTo>
                  <a:lnTo>
                    <a:pt x="5324" y="6893"/>
                  </a:lnTo>
                  <a:lnTo>
                    <a:pt x="5359" y="6869"/>
                  </a:lnTo>
                  <a:lnTo>
                    <a:pt x="5348" y="6834"/>
                  </a:lnTo>
                  <a:lnTo>
                    <a:pt x="5348" y="6810"/>
                  </a:lnTo>
                  <a:lnTo>
                    <a:pt x="5371" y="6786"/>
                  </a:lnTo>
                  <a:lnTo>
                    <a:pt x="5419" y="6608"/>
                  </a:lnTo>
                  <a:lnTo>
                    <a:pt x="5466" y="6537"/>
                  </a:lnTo>
                  <a:lnTo>
                    <a:pt x="5502" y="6382"/>
                  </a:lnTo>
                  <a:lnTo>
                    <a:pt x="5573" y="6323"/>
                  </a:lnTo>
                  <a:lnTo>
                    <a:pt x="5585" y="6287"/>
                  </a:lnTo>
                  <a:lnTo>
                    <a:pt x="5621" y="6228"/>
                  </a:lnTo>
                  <a:lnTo>
                    <a:pt x="5645" y="6180"/>
                  </a:lnTo>
                  <a:lnTo>
                    <a:pt x="5704" y="6109"/>
                  </a:lnTo>
                  <a:lnTo>
                    <a:pt x="5716" y="6085"/>
                  </a:lnTo>
                  <a:lnTo>
                    <a:pt x="5692" y="6026"/>
                  </a:lnTo>
                  <a:lnTo>
                    <a:pt x="5752" y="6037"/>
                  </a:lnTo>
                  <a:lnTo>
                    <a:pt x="7094" y="6037"/>
                  </a:lnTo>
                  <a:lnTo>
                    <a:pt x="7094" y="6037"/>
                  </a:lnTo>
                  <a:lnTo>
                    <a:pt x="7106" y="5396"/>
                  </a:lnTo>
                  <a:lnTo>
                    <a:pt x="7118" y="5265"/>
                  </a:lnTo>
                  <a:lnTo>
                    <a:pt x="7106" y="5217"/>
                  </a:lnTo>
                  <a:lnTo>
                    <a:pt x="7118" y="486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17" name="Freeform 306"/>
            <p:cNvSpPr>
              <a:spLocks/>
            </p:cNvSpPr>
            <p:nvPr/>
          </p:nvSpPr>
          <p:spPr bwMode="auto">
            <a:xfrm>
              <a:off x="-31740475" y="-27820938"/>
              <a:ext cx="33486725" cy="23242588"/>
            </a:xfrm>
            <a:custGeom>
              <a:avLst/>
              <a:gdLst/>
              <a:ahLst/>
              <a:cxnLst>
                <a:cxn ang="0">
                  <a:pos x="18480" y="12430"/>
                </a:cxn>
                <a:cxn ang="0">
                  <a:pos x="16959" y="13239"/>
                </a:cxn>
                <a:cxn ang="0">
                  <a:pos x="15140" y="13262"/>
                </a:cxn>
                <a:cxn ang="0">
                  <a:pos x="14368" y="13239"/>
                </a:cxn>
                <a:cxn ang="0">
                  <a:pos x="13667" y="12977"/>
                </a:cxn>
                <a:cxn ang="0">
                  <a:pos x="13191" y="12442"/>
                </a:cxn>
                <a:cxn ang="0">
                  <a:pos x="12181" y="12478"/>
                </a:cxn>
                <a:cxn ang="0">
                  <a:pos x="11837" y="13048"/>
                </a:cxn>
                <a:cxn ang="0">
                  <a:pos x="11361" y="13536"/>
                </a:cxn>
                <a:cxn ang="0">
                  <a:pos x="10613" y="13785"/>
                </a:cxn>
                <a:cxn ang="0">
                  <a:pos x="10209" y="13975"/>
                </a:cxn>
                <a:cxn ang="0">
                  <a:pos x="9543" y="14272"/>
                </a:cxn>
                <a:cxn ang="0">
                  <a:pos x="8866" y="14201"/>
                </a:cxn>
                <a:cxn ang="0">
                  <a:pos x="7570" y="14391"/>
                </a:cxn>
                <a:cxn ang="0">
                  <a:pos x="202" y="11218"/>
                </a:cxn>
                <a:cxn ang="0">
                  <a:pos x="654" y="10279"/>
                </a:cxn>
                <a:cxn ang="0">
                  <a:pos x="1046" y="9174"/>
                </a:cxn>
                <a:cxn ang="0">
                  <a:pos x="1795" y="8663"/>
                </a:cxn>
                <a:cxn ang="0">
                  <a:pos x="2484" y="8342"/>
                </a:cxn>
                <a:cxn ang="0">
                  <a:pos x="2841" y="8224"/>
                </a:cxn>
                <a:cxn ang="0">
                  <a:pos x="3102" y="8152"/>
                </a:cxn>
                <a:cxn ang="0">
                  <a:pos x="3566" y="7926"/>
                </a:cxn>
                <a:cxn ang="0">
                  <a:pos x="3851" y="7903"/>
                </a:cxn>
                <a:cxn ang="0">
                  <a:pos x="4136" y="8045"/>
                </a:cxn>
                <a:cxn ang="0">
                  <a:pos x="4516" y="7784"/>
                </a:cxn>
                <a:cxn ang="0">
                  <a:pos x="5039" y="4540"/>
                </a:cxn>
                <a:cxn ang="0">
                  <a:pos x="4885" y="3708"/>
                </a:cxn>
                <a:cxn ang="0">
                  <a:pos x="4291" y="2745"/>
                </a:cxn>
                <a:cxn ang="0">
                  <a:pos x="4837" y="1913"/>
                </a:cxn>
                <a:cxn ang="0">
                  <a:pos x="5431" y="1878"/>
                </a:cxn>
                <a:cxn ang="0">
                  <a:pos x="5134" y="1367"/>
                </a:cxn>
                <a:cxn ang="0">
                  <a:pos x="4730" y="594"/>
                </a:cxn>
                <a:cxn ang="0">
                  <a:pos x="6477" y="392"/>
                </a:cxn>
                <a:cxn ang="0">
                  <a:pos x="7178" y="285"/>
                </a:cxn>
                <a:cxn ang="0">
                  <a:pos x="7832" y="535"/>
                </a:cxn>
                <a:cxn ang="0">
                  <a:pos x="8652" y="1628"/>
                </a:cxn>
                <a:cxn ang="0">
                  <a:pos x="9781" y="1616"/>
                </a:cxn>
                <a:cxn ang="0">
                  <a:pos x="10114" y="1581"/>
                </a:cxn>
                <a:cxn ang="0">
                  <a:pos x="10815" y="1117"/>
                </a:cxn>
                <a:cxn ang="0">
                  <a:pos x="11231" y="974"/>
                </a:cxn>
                <a:cxn ang="0">
                  <a:pos x="11920" y="261"/>
                </a:cxn>
                <a:cxn ang="0">
                  <a:pos x="12811" y="285"/>
                </a:cxn>
                <a:cxn ang="0">
                  <a:pos x="13120" y="879"/>
                </a:cxn>
                <a:cxn ang="0">
                  <a:pos x="13441" y="2163"/>
                </a:cxn>
                <a:cxn ang="0">
                  <a:pos x="13762" y="3102"/>
                </a:cxn>
                <a:cxn ang="0">
                  <a:pos x="13524" y="3684"/>
                </a:cxn>
                <a:cxn ang="0">
                  <a:pos x="14285" y="4349"/>
                </a:cxn>
                <a:cxn ang="0">
                  <a:pos x="14522" y="3934"/>
                </a:cxn>
                <a:cxn ang="0">
                  <a:pos x="14974" y="3256"/>
                </a:cxn>
                <a:cxn ang="0">
                  <a:pos x="15449" y="3613"/>
                </a:cxn>
                <a:cxn ang="0">
                  <a:pos x="15996" y="3506"/>
                </a:cxn>
                <a:cxn ang="0">
                  <a:pos x="16186" y="2662"/>
                </a:cxn>
                <a:cxn ang="0">
                  <a:pos x="17791" y="3137"/>
                </a:cxn>
                <a:cxn ang="0">
                  <a:pos x="18254" y="3791"/>
                </a:cxn>
                <a:cxn ang="0">
                  <a:pos x="18801" y="4076"/>
                </a:cxn>
                <a:cxn ang="0">
                  <a:pos x="19454" y="4682"/>
                </a:cxn>
                <a:cxn ang="0">
                  <a:pos x="20167" y="5074"/>
                </a:cxn>
                <a:cxn ang="0">
                  <a:pos x="20880" y="5158"/>
                </a:cxn>
                <a:cxn ang="0">
                  <a:pos x="19419" y="8426"/>
                </a:cxn>
                <a:cxn ang="0">
                  <a:pos x="18302" y="10577"/>
                </a:cxn>
                <a:cxn ang="0">
                  <a:pos x="18634" y="11385"/>
                </a:cxn>
              </a:cxnLst>
              <a:rect l="0" t="0" r="r" b="b"/>
              <a:pathLst>
                <a:path w="21094" h="14641">
                  <a:moveTo>
                    <a:pt x="18670" y="11515"/>
                  </a:moveTo>
                  <a:lnTo>
                    <a:pt x="18670" y="11515"/>
                  </a:lnTo>
                  <a:lnTo>
                    <a:pt x="18646" y="11539"/>
                  </a:lnTo>
                  <a:lnTo>
                    <a:pt x="18587" y="11610"/>
                  </a:lnTo>
                  <a:lnTo>
                    <a:pt x="18563" y="11694"/>
                  </a:lnTo>
                  <a:lnTo>
                    <a:pt x="18587" y="11801"/>
                  </a:lnTo>
                  <a:lnTo>
                    <a:pt x="18575" y="11848"/>
                  </a:lnTo>
                  <a:lnTo>
                    <a:pt x="18515" y="11896"/>
                  </a:lnTo>
                  <a:lnTo>
                    <a:pt x="18492" y="11931"/>
                  </a:lnTo>
                  <a:lnTo>
                    <a:pt x="18480" y="11991"/>
                  </a:lnTo>
                  <a:lnTo>
                    <a:pt x="18456" y="12038"/>
                  </a:lnTo>
                  <a:lnTo>
                    <a:pt x="18409" y="12074"/>
                  </a:lnTo>
                  <a:lnTo>
                    <a:pt x="18385" y="12121"/>
                  </a:lnTo>
                  <a:lnTo>
                    <a:pt x="18385" y="12169"/>
                  </a:lnTo>
                  <a:lnTo>
                    <a:pt x="18432" y="12228"/>
                  </a:lnTo>
                  <a:lnTo>
                    <a:pt x="18492" y="12383"/>
                  </a:lnTo>
                  <a:lnTo>
                    <a:pt x="18480" y="12430"/>
                  </a:lnTo>
                  <a:lnTo>
                    <a:pt x="18456" y="12478"/>
                  </a:lnTo>
                  <a:lnTo>
                    <a:pt x="18456" y="12597"/>
                  </a:lnTo>
                  <a:lnTo>
                    <a:pt x="18468" y="12656"/>
                  </a:lnTo>
                  <a:lnTo>
                    <a:pt x="18409" y="12716"/>
                  </a:lnTo>
                  <a:lnTo>
                    <a:pt x="18397" y="12787"/>
                  </a:lnTo>
                  <a:lnTo>
                    <a:pt x="18349" y="12870"/>
                  </a:lnTo>
                  <a:lnTo>
                    <a:pt x="18337" y="12918"/>
                  </a:lnTo>
                  <a:lnTo>
                    <a:pt x="18361" y="13037"/>
                  </a:lnTo>
                  <a:lnTo>
                    <a:pt x="18337" y="13108"/>
                  </a:lnTo>
                  <a:lnTo>
                    <a:pt x="18337" y="13143"/>
                  </a:lnTo>
                  <a:lnTo>
                    <a:pt x="18385" y="13167"/>
                  </a:lnTo>
                  <a:lnTo>
                    <a:pt x="18325" y="13227"/>
                  </a:lnTo>
                  <a:lnTo>
                    <a:pt x="18111" y="13215"/>
                  </a:lnTo>
                  <a:lnTo>
                    <a:pt x="17351" y="13239"/>
                  </a:lnTo>
                  <a:lnTo>
                    <a:pt x="17327" y="13227"/>
                  </a:lnTo>
                  <a:lnTo>
                    <a:pt x="17291" y="13239"/>
                  </a:lnTo>
                  <a:lnTo>
                    <a:pt x="16959" y="13239"/>
                  </a:lnTo>
                  <a:lnTo>
                    <a:pt x="16875" y="13239"/>
                  </a:lnTo>
                  <a:lnTo>
                    <a:pt x="16875" y="13239"/>
                  </a:lnTo>
                  <a:lnTo>
                    <a:pt x="16590" y="13250"/>
                  </a:lnTo>
                  <a:lnTo>
                    <a:pt x="16543" y="13239"/>
                  </a:lnTo>
                  <a:lnTo>
                    <a:pt x="16495" y="13250"/>
                  </a:lnTo>
                  <a:lnTo>
                    <a:pt x="16495" y="13262"/>
                  </a:lnTo>
                  <a:lnTo>
                    <a:pt x="16448" y="13250"/>
                  </a:lnTo>
                  <a:lnTo>
                    <a:pt x="16436" y="13250"/>
                  </a:lnTo>
                  <a:lnTo>
                    <a:pt x="16174" y="13250"/>
                  </a:lnTo>
                  <a:lnTo>
                    <a:pt x="16174" y="13262"/>
                  </a:lnTo>
                  <a:lnTo>
                    <a:pt x="16115" y="13250"/>
                  </a:lnTo>
                  <a:lnTo>
                    <a:pt x="15758" y="13262"/>
                  </a:lnTo>
                  <a:lnTo>
                    <a:pt x="15687" y="13250"/>
                  </a:lnTo>
                  <a:lnTo>
                    <a:pt x="15687" y="13262"/>
                  </a:lnTo>
                  <a:lnTo>
                    <a:pt x="15461" y="13274"/>
                  </a:lnTo>
                  <a:lnTo>
                    <a:pt x="15271" y="13274"/>
                  </a:lnTo>
                  <a:lnTo>
                    <a:pt x="15140" y="13262"/>
                  </a:lnTo>
                  <a:lnTo>
                    <a:pt x="15140" y="13274"/>
                  </a:lnTo>
                  <a:lnTo>
                    <a:pt x="15117" y="13274"/>
                  </a:lnTo>
                  <a:lnTo>
                    <a:pt x="14831" y="13274"/>
                  </a:lnTo>
                  <a:lnTo>
                    <a:pt x="14784" y="13274"/>
                  </a:lnTo>
                  <a:lnTo>
                    <a:pt x="14784" y="13286"/>
                  </a:lnTo>
                  <a:lnTo>
                    <a:pt x="14653" y="13286"/>
                  </a:lnTo>
                  <a:lnTo>
                    <a:pt x="14618" y="13298"/>
                  </a:lnTo>
                  <a:lnTo>
                    <a:pt x="14594" y="13286"/>
                  </a:lnTo>
                  <a:lnTo>
                    <a:pt x="14546" y="13227"/>
                  </a:lnTo>
                  <a:lnTo>
                    <a:pt x="14487" y="13215"/>
                  </a:lnTo>
                  <a:lnTo>
                    <a:pt x="14463" y="13179"/>
                  </a:lnTo>
                  <a:lnTo>
                    <a:pt x="14451" y="13167"/>
                  </a:lnTo>
                  <a:lnTo>
                    <a:pt x="14427" y="13155"/>
                  </a:lnTo>
                  <a:lnTo>
                    <a:pt x="14416" y="13167"/>
                  </a:lnTo>
                  <a:lnTo>
                    <a:pt x="14392" y="13215"/>
                  </a:lnTo>
                  <a:lnTo>
                    <a:pt x="14380" y="13227"/>
                  </a:lnTo>
                  <a:lnTo>
                    <a:pt x="14368" y="13239"/>
                  </a:lnTo>
                  <a:lnTo>
                    <a:pt x="14320" y="13215"/>
                  </a:lnTo>
                  <a:lnTo>
                    <a:pt x="14285" y="13227"/>
                  </a:lnTo>
                  <a:lnTo>
                    <a:pt x="14285" y="13250"/>
                  </a:lnTo>
                  <a:lnTo>
                    <a:pt x="14261" y="13286"/>
                  </a:lnTo>
                  <a:lnTo>
                    <a:pt x="14261" y="13345"/>
                  </a:lnTo>
                  <a:lnTo>
                    <a:pt x="14249" y="13357"/>
                  </a:lnTo>
                  <a:lnTo>
                    <a:pt x="14214" y="13381"/>
                  </a:lnTo>
                  <a:lnTo>
                    <a:pt x="14190" y="13381"/>
                  </a:lnTo>
                  <a:lnTo>
                    <a:pt x="14023" y="13298"/>
                  </a:lnTo>
                  <a:lnTo>
                    <a:pt x="13928" y="13274"/>
                  </a:lnTo>
                  <a:lnTo>
                    <a:pt x="13893" y="13203"/>
                  </a:lnTo>
                  <a:lnTo>
                    <a:pt x="13869" y="13072"/>
                  </a:lnTo>
                  <a:lnTo>
                    <a:pt x="13857" y="13060"/>
                  </a:lnTo>
                  <a:lnTo>
                    <a:pt x="13821" y="13060"/>
                  </a:lnTo>
                  <a:lnTo>
                    <a:pt x="13750" y="13084"/>
                  </a:lnTo>
                  <a:lnTo>
                    <a:pt x="13703" y="13060"/>
                  </a:lnTo>
                  <a:lnTo>
                    <a:pt x="13667" y="12977"/>
                  </a:lnTo>
                  <a:lnTo>
                    <a:pt x="13643" y="12858"/>
                  </a:lnTo>
                  <a:lnTo>
                    <a:pt x="13584" y="12775"/>
                  </a:lnTo>
                  <a:lnTo>
                    <a:pt x="13548" y="12775"/>
                  </a:lnTo>
                  <a:lnTo>
                    <a:pt x="13548" y="12775"/>
                  </a:lnTo>
                  <a:lnTo>
                    <a:pt x="13500" y="12787"/>
                  </a:lnTo>
                  <a:lnTo>
                    <a:pt x="13500" y="12787"/>
                  </a:lnTo>
                  <a:lnTo>
                    <a:pt x="13477" y="12823"/>
                  </a:lnTo>
                  <a:lnTo>
                    <a:pt x="13465" y="12823"/>
                  </a:lnTo>
                  <a:lnTo>
                    <a:pt x="13417" y="12799"/>
                  </a:lnTo>
                  <a:lnTo>
                    <a:pt x="13382" y="12728"/>
                  </a:lnTo>
                  <a:lnTo>
                    <a:pt x="13346" y="12692"/>
                  </a:lnTo>
                  <a:lnTo>
                    <a:pt x="13287" y="12656"/>
                  </a:lnTo>
                  <a:lnTo>
                    <a:pt x="13263" y="12621"/>
                  </a:lnTo>
                  <a:lnTo>
                    <a:pt x="13275" y="12526"/>
                  </a:lnTo>
                  <a:lnTo>
                    <a:pt x="13251" y="12466"/>
                  </a:lnTo>
                  <a:lnTo>
                    <a:pt x="13191" y="12430"/>
                  </a:lnTo>
                  <a:lnTo>
                    <a:pt x="13191" y="12442"/>
                  </a:lnTo>
                  <a:lnTo>
                    <a:pt x="13156" y="12442"/>
                  </a:lnTo>
                  <a:lnTo>
                    <a:pt x="13120" y="12430"/>
                  </a:lnTo>
                  <a:lnTo>
                    <a:pt x="13096" y="12383"/>
                  </a:lnTo>
                  <a:lnTo>
                    <a:pt x="13085" y="12371"/>
                  </a:lnTo>
                  <a:lnTo>
                    <a:pt x="12883" y="12347"/>
                  </a:lnTo>
                  <a:lnTo>
                    <a:pt x="12883" y="12359"/>
                  </a:lnTo>
                  <a:lnTo>
                    <a:pt x="12645" y="12359"/>
                  </a:lnTo>
                  <a:lnTo>
                    <a:pt x="12502" y="12371"/>
                  </a:lnTo>
                  <a:lnTo>
                    <a:pt x="12514" y="12383"/>
                  </a:lnTo>
                  <a:lnTo>
                    <a:pt x="12455" y="12359"/>
                  </a:lnTo>
                  <a:lnTo>
                    <a:pt x="12407" y="12371"/>
                  </a:lnTo>
                  <a:lnTo>
                    <a:pt x="12348" y="12371"/>
                  </a:lnTo>
                  <a:lnTo>
                    <a:pt x="12348" y="12371"/>
                  </a:lnTo>
                  <a:lnTo>
                    <a:pt x="12241" y="12371"/>
                  </a:lnTo>
                  <a:lnTo>
                    <a:pt x="12229" y="12383"/>
                  </a:lnTo>
                  <a:lnTo>
                    <a:pt x="12217" y="12430"/>
                  </a:lnTo>
                  <a:lnTo>
                    <a:pt x="12181" y="12478"/>
                  </a:lnTo>
                  <a:lnTo>
                    <a:pt x="12193" y="12549"/>
                  </a:lnTo>
                  <a:lnTo>
                    <a:pt x="12146" y="12597"/>
                  </a:lnTo>
                  <a:lnTo>
                    <a:pt x="12074" y="12609"/>
                  </a:lnTo>
                  <a:lnTo>
                    <a:pt x="12015" y="12632"/>
                  </a:lnTo>
                  <a:lnTo>
                    <a:pt x="12003" y="12668"/>
                  </a:lnTo>
                  <a:lnTo>
                    <a:pt x="12003" y="12716"/>
                  </a:lnTo>
                  <a:lnTo>
                    <a:pt x="11991" y="12739"/>
                  </a:lnTo>
                  <a:lnTo>
                    <a:pt x="11944" y="12763"/>
                  </a:lnTo>
                  <a:lnTo>
                    <a:pt x="11789" y="12811"/>
                  </a:lnTo>
                  <a:lnTo>
                    <a:pt x="11754" y="12894"/>
                  </a:lnTo>
                  <a:lnTo>
                    <a:pt x="11718" y="12894"/>
                  </a:lnTo>
                  <a:lnTo>
                    <a:pt x="11706" y="12918"/>
                  </a:lnTo>
                  <a:lnTo>
                    <a:pt x="11706" y="12965"/>
                  </a:lnTo>
                  <a:lnTo>
                    <a:pt x="11742" y="12977"/>
                  </a:lnTo>
                  <a:lnTo>
                    <a:pt x="11813" y="12977"/>
                  </a:lnTo>
                  <a:lnTo>
                    <a:pt x="11825" y="12989"/>
                  </a:lnTo>
                  <a:lnTo>
                    <a:pt x="11837" y="13048"/>
                  </a:lnTo>
                  <a:lnTo>
                    <a:pt x="11849" y="13072"/>
                  </a:lnTo>
                  <a:lnTo>
                    <a:pt x="11849" y="13096"/>
                  </a:lnTo>
                  <a:lnTo>
                    <a:pt x="11825" y="13108"/>
                  </a:lnTo>
                  <a:lnTo>
                    <a:pt x="11718" y="13132"/>
                  </a:lnTo>
                  <a:lnTo>
                    <a:pt x="11706" y="13155"/>
                  </a:lnTo>
                  <a:lnTo>
                    <a:pt x="11706" y="13203"/>
                  </a:lnTo>
                  <a:lnTo>
                    <a:pt x="11670" y="13262"/>
                  </a:lnTo>
                  <a:lnTo>
                    <a:pt x="11647" y="13274"/>
                  </a:lnTo>
                  <a:lnTo>
                    <a:pt x="11587" y="13262"/>
                  </a:lnTo>
                  <a:lnTo>
                    <a:pt x="11540" y="13262"/>
                  </a:lnTo>
                  <a:lnTo>
                    <a:pt x="11528" y="13286"/>
                  </a:lnTo>
                  <a:lnTo>
                    <a:pt x="11528" y="13322"/>
                  </a:lnTo>
                  <a:lnTo>
                    <a:pt x="11563" y="13369"/>
                  </a:lnTo>
                  <a:lnTo>
                    <a:pt x="11552" y="13452"/>
                  </a:lnTo>
                  <a:lnTo>
                    <a:pt x="11563" y="13512"/>
                  </a:lnTo>
                  <a:lnTo>
                    <a:pt x="11516" y="13559"/>
                  </a:lnTo>
                  <a:lnTo>
                    <a:pt x="11361" y="13536"/>
                  </a:lnTo>
                  <a:lnTo>
                    <a:pt x="11266" y="13559"/>
                  </a:lnTo>
                  <a:lnTo>
                    <a:pt x="11231" y="13607"/>
                  </a:lnTo>
                  <a:lnTo>
                    <a:pt x="11207" y="13607"/>
                  </a:lnTo>
                  <a:lnTo>
                    <a:pt x="11171" y="13571"/>
                  </a:lnTo>
                  <a:lnTo>
                    <a:pt x="11112" y="13583"/>
                  </a:lnTo>
                  <a:lnTo>
                    <a:pt x="11052" y="13619"/>
                  </a:lnTo>
                  <a:lnTo>
                    <a:pt x="11017" y="13666"/>
                  </a:lnTo>
                  <a:lnTo>
                    <a:pt x="10957" y="13643"/>
                  </a:lnTo>
                  <a:lnTo>
                    <a:pt x="10862" y="13654"/>
                  </a:lnTo>
                  <a:lnTo>
                    <a:pt x="10850" y="13643"/>
                  </a:lnTo>
                  <a:lnTo>
                    <a:pt x="10850" y="13619"/>
                  </a:lnTo>
                  <a:lnTo>
                    <a:pt x="10827" y="13595"/>
                  </a:lnTo>
                  <a:lnTo>
                    <a:pt x="10755" y="13607"/>
                  </a:lnTo>
                  <a:lnTo>
                    <a:pt x="10696" y="13666"/>
                  </a:lnTo>
                  <a:lnTo>
                    <a:pt x="10648" y="13690"/>
                  </a:lnTo>
                  <a:lnTo>
                    <a:pt x="10625" y="13714"/>
                  </a:lnTo>
                  <a:lnTo>
                    <a:pt x="10613" y="13785"/>
                  </a:lnTo>
                  <a:lnTo>
                    <a:pt x="10625" y="13821"/>
                  </a:lnTo>
                  <a:lnTo>
                    <a:pt x="10660" y="13880"/>
                  </a:lnTo>
                  <a:lnTo>
                    <a:pt x="10660" y="13904"/>
                  </a:lnTo>
                  <a:lnTo>
                    <a:pt x="10613" y="13975"/>
                  </a:lnTo>
                  <a:lnTo>
                    <a:pt x="10565" y="14011"/>
                  </a:lnTo>
                  <a:lnTo>
                    <a:pt x="10541" y="14035"/>
                  </a:lnTo>
                  <a:lnTo>
                    <a:pt x="10530" y="14047"/>
                  </a:lnTo>
                  <a:lnTo>
                    <a:pt x="10530" y="14059"/>
                  </a:lnTo>
                  <a:lnTo>
                    <a:pt x="10494" y="14094"/>
                  </a:lnTo>
                  <a:lnTo>
                    <a:pt x="10470" y="14142"/>
                  </a:lnTo>
                  <a:lnTo>
                    <a:pt x="10434" y="14165"/>
                  </a:lnTo>
                  <a:lnTo>
                    <a:pt x="10399" y="14165"/>
                  </a:lnTo>
                  <a:lnTo>
                    <a:pt x="10351" y="14130"/>
                  </a:lnTo>
                  <a:lnTo>
                    <a:pt x="10304" y="14059"/>
                  </a:lnTo>
                  <a:lnTo>
                    <a:pt x="10280" y="13987"/>
                  </a:lnTo>
                  <a:lnTo>
                    <a:pt x="10244" y="13952"/>
                  </a:lnTo>
                  <a:lnTo>
                    <a:pt x="10209" y="13975"/>
                  </a:lnTo>
                  <a:lnTo>
                    <a:pt x="10161" y="14023"/>
                  </a:lnTo>
                  <a:lnTo>
                    <a:pt x="10054" y="14035"/>
                  </a:lnTo>
                  <a:lnTo>
                    <a:pt x="10030" y="14082"/>
                  </a:lnTo>
                  <a:lnTo>
                    <a:pt x="10019" y="14225"/>
                  </a:lnTo>
                  <a:lnTo>
                    <a:pt x="9971" y="14213"/>
                  </a:lnTo>
                  <a:lnTo>
                    <a:pt x="9935" y="14189"/>
                  </a:lnTo>
                  <a:lnTo>
                    <a:pt x="9828" y="14189"/>
                  </a:lnTo>
                  <a:lnTo>
                    <a:pt x="9793" y="14201"/>
                  </a:lnTo>
                  <a:lnTo>
                    <a:pt x="9781" y="14213"/>
                  </a:lnTo>
                  <a:lnTo>
                    <a:pt x="9757" y="14237"/>
                  </a:lnTo>
                  <a:lnTo>
                    <a:pt x="9686" y="14367"/>
                  </a:lnTo>
                  <a:lnTo>
                    <a:pt x="9650" y="14391"/>
                  </a:lnTo>
                  <a:lnTo>
                    <a:pt x="9626" y="14391"/>
                  </a:lnTo>
                  <a:lnTo>
                    <a:pt x="9603" y="14367"/>
                  </a:lnTo>
                  <a:lnTo>
                    <a:pt x="9579" y="14332"/>
                  </a:lnTo>
                  <a:lnTo>
                    <a:pt x="9567" y="14296"/>
                  </a:lnTo>
                  <a:lnTo>
                    <a:pt x="9543" y="14272"/>
                  </a:lnTo>
                  <a:lnTo>
                    <a:pt x="9508" y="14272"/>
                  </a:lnTo>
                  <a:lnTo>
                    <a:pt x="9484" y="14284"/>
                  </a:lnTo>
                  <a:lnTo>
                    <a:pt x="9472" y="14284"/>
                  </a:lnTo>
                  <a:lnTo>
                    <a:pt x="9472" y="14249"/>
                  </a:lnTo>
                  <a:lnTo>
                    <a:pt x="9448" y="14189"/>
                  </a:lnTo>
                  <a:lnTo>
                    <a:pt x="9436" y="14189"/>
                  </a:lnTo>
                  <a:lnTo>
                    <a:pt x="9424" y="14177"/>
                  </a:lnTo>
                  <a:lnTo>
                    <a:pt x="9389" y="14154"/>
                  </a:lnTo>
                  <a:lnTo>
                    <a:pt x="9341" y="14165"/>
                  </a:lnTo>
                  <a:lnTo>
                    <a:pt x="9282" y="14189"/>
                  </a:lnTo>
                  <a:lnTo>
                    <a:pt x="9210" y="14177"/>
                  </a:lnTo>
                  <a:lnTo>
                    <a:pt x="9139" y="14213"/>
                  </a:lnTo>
                  <a:lnTo>
                    <a:pt x="9115" y="14213"/>
                  </a:lnTo>
                  <a:lnTo>
                    <a:pt x="9008" y="14201"/>
                  </a:lnTo>
                  <a:lnTo>
                    <a:pt x="8937" y="14189"/>
                  </a:lnTo>
                  <a:lnTo>
                    <a:pt x="8878" y="14189"/>
                  </a:lnTo>
                  <a:lnTo>
                    <a:pt x="8866" y="14201"/>
                  </a:lnTo>
                  <a:lnTo>
                    <a:pt x="8866" y="14225"/>
                  </a:lnTo>
                  <a:lnTo>
                    <a:pt x="8878" y="14261"/>
                  </a:lnTo>
                  <a:lnTo>
                    <a:pt x="8890" y="14261"/>
                  </a:lnTo>
                  <a:lnTo>
                    <a:pt x="8901" y="14284"/>
                  </a:lnTo>
                  <a:lnTo>
                    <a:pt x="8890" y="14308"/>
                  </a:lnTo>
                  <a:lnTo>
                    <a:pt x="8878" y="14332"/>
                  </a:lnTo>
                  <a:lnTo>
                    <a:pt x="8771" y="14403"/>
                  </a:lnTo>
                  <a:lnTo>
                    <a:pt x="8771" y="14427"/>
                  </a:lnTo>
                  <a:lnTo>
                    <a:pt x="8747" y="14486"/>
                  </a:lnTo>
                  <a:lnTo>
                    <a:pt x="8711" y="14498"/>
                  </a:lnTo>
                  <a:lnTo>
                    <a:pt x="8699" y="14498"/>
                  </a:lnTo>
                  <a:lnTo>
                    <a:pt x="8628" y="14510"/>
                  </a:lnTo>
                  <a:lnTo>
                    <a:pt x="8521" y="14570"/>
                  </a:lnTo>
                  <a:lnTo>
                    <a:pt x="8379" y="14629"/>
                  </a:lnTo>
                  <a:lnTo>
                    <a:pt x="8355" y="14641"/>
                  </a:lnTo>
                  <a:lnTo>
                    <a:pt x="7796" y="14427"/>
                  </a:lnTo>
                  <a:lnTo>
                    <a:pt x="7570" y="14391"/>
                  </a:lnTo>
                  <a:lnTo>
                    <a:pt x="6192" y="13809"/>
                  </a:lnTo>
                  <a:lnTo>
                    <a:pt x="4481" y="12407"/>
                  </a:lnTo>
                  <a:lnTo>
                    <a:pt x="1450" y="12157"/>
                  </a:lnTo>
                  <a:lnTo>
                    <a:pt x="1427" y="12145"/>
                  </a:lnTo>
                  <a:lnTo>
                    <a:pt x="0" y="11682"/>
                  </a:lnTo>
                  <a:lnTo>
                    <a:pt x="0" y="11658"/>
                  </a:lnTo>
                  <a:lnTo>
                    <a:pt x="36" y="11646"/>
                  </a:lnTo>
                  <a:lnTo>
                    <a:pt x="48" y="11599"/>
                  </a:lnTo>
                  <a:lnTo>
                    <a:pt x="72" y="11575"/>
                  </a:lnTo>
                  <a:lnTo>
                    <a:pt x="84" y="11527"/>
                  </a:lnTo>
                  <a:lnTo>
                    <a:pt x="60" y="11444"/>
                  </a:lnTo>
                  <a:lnTo>
                    <a:pt x="72" y="11420"/>
                  </a:lnTo>
                  <a:lnTo>
                    <a:pt x="84" y="11397"/>
                  </a:lnTo>
                  <a:lnTo>
                    <a:pt x="107" y="11361"/>
                  </a:lnTo>
                  <a:lnTo>
                    <a:pt x="119" y="11325"/>
                  </a:lnTo>
                  <a:lnTo>
                    <a:pt x="167" y="11290"/>
                  </a:lnTo>
                  <a:lnTo>
                    <a:pt x="202" y="11218"/>
                  </a:lnTo>
                  <a:lnTo>
                    <a:pt x="238" y="11183"/>
                  </a:lnTo>
                  <a:lnTo>
                    <a:pt x="286" y="11147"/>
                  </a:lnTo>
                  <a:lnTo>
                    <a:pt x="333" y="11111"/>
                  </a:lnTo>
                  <a:lnTo>
                    <a:pt x="440" y="11064"/>
                  </a:lnTo>
                  <a:lnTo>
                    <a:pt x="488" y="11040"/>
                  </a:lnTo>
                  <a:lnTo>
                    <a:pt x="607" y="10981"/>
                  </a:lnTo>
                  <a:lnTo>
                    <a:pt x="678" y="10969"/>
                  </a:lnTo>
                  <a:lnTo>
                    <a:pt x="702" y="10957"/>
                  </a:lnTo>
                  <a:lnTo>
                    <a:pt x="725" y="10921"/>
                  </a:lnTo>
                  <a:lnTo>
                    <a:pt x="797" y="10790"/>
                  </a:lnTo>
                  <a:lnTo>
                    <a:pt x="797" y="10755"/>
                  </a:lnTo>
                  <a:lnTo>
                    <a:pt x="797" y="10719"/>
                  </a:lnTo>
                  <a:lnTo>
                    <a:pt x="749" y="10648"/>
                  </a:lnTo>
                  <a:lnTo>
                    <a:pt x="725" y="10600"/>
                  </a:lnTo>
                  <a:lnTo>
                    <a:pt x="630" y="10422"/>
                  </a:lnTo>
                  <a:lnTo>
                    <a:pt x="630" y="10398"/>
                  </a:lnTo>
                  <a:lnTo>
                    <a:pt x="654" y="10279"/>
                  </a:lnTo>
                  <a:lnTo>
                    <a:pt x="678" y="10256"/>
                  </a:lnTo>
                  <a:lnTo>
                    <a:pt x="713" y="10220"/>
                  </a:lnTo>
                  <a:lnTo>
                    <a:pt x="725" y="10077"/>
                  </a:lnTo>
                  <a:lnTo>
                    <a:pt x="892" y="9899"/>
                  </a:lnTo>
                  <a:lnTo>
                    <a:pt x="927" y="9816"/>
                  </a:lnTo>
                  <a:lnTo>
                    <a:pt x="939" y="9768"/>
                  </a:lnTo>
                  <a:lnTo>
                    <a:pt x="939" y="9602"/>
                  </a:lnTo>
                  <a:lnTo>
                    <a:pt x="951" y="9543"/>
                  </a:lnTo>
                  <a:lnTo>
                    <a:pt x="987" y="9448"/>
                  </a:lnTo>
                  <a:lnTo>
                    <a:pt x="975" y="9388"/>
                  </a:lnTo>
                  <a:lnTo>
                    <a:pt x="987" y="9364"/>
                  </a:lnTo>
                  <a:lnTo>
                    <a:pt x="1034" y="9353"/>
                  </a:lnTo>
                  <a:lnTo>
                    <a:pt x="1046" y="9341"/>
                  </a:lnTo>
                  <a:lnTo>
                    <a:pt x="1046" y="9305"/>
                  </a:lnTo>
                  <a:lnTo>
                    <a:pt x="1022" y="9246"/>
                  </a:lnTo>
                  <a:lnTo>
                    <a:pt x="1034" y="9210"/>
                  </a:lnTo>
                  <a:lnTo>
                    <a:pt x="1046" y="9174"/>
                  </a:lnTo>
                  <a:lnTo>
                    <a:pt x="1070" y="9151"/>
                  </a:lnTo>
                  <a:lnTo>
                    <a:pt x="1094" y="9115"/>
                  </a:lnTo>
                  <a:lnTo>
                    <a:pt x="1118" y="9103"/>
                  </a:lnTo>
                  <a:lnTo>
                    <a:pt x="1177" y="9079"/>
                  </a:lnTo>
                  <a:lnTo>
                    <a:pt x="1236" y="9044"/>
                  </a:lnTo>
                  <a:lnTo>
                    <a:pt x="1296" y="9032"/>
                  </a:lnTo>
                  <a:lnTo>
                    <a:pt x="1331" y="9020"/>
                  </a:lnTo>
                  <a:lnTo>
                    <a:pt x="1343" y="9008"/>
                  </a:lnTo>
                  <a:lnTo>
                    <a:pt x="1367" y="8960"/>
                  </a:lnTo>
                  <a:lnTo>
                    <a:pt x="1450" y="8901"/>
                  </a:lnTo>
                  <a:lnTo>
                    <a:pt x="1510" y="8889"/>
                  </a:lnTo>
                  <a:lnTo>
                    <a:pt x="1545" y="8830"/>
                  </a:lnTo>
                  <a:lnTo>
                    <a:pt x="1617" y="8794"/>
                  </a:lnTo>
                  <a:lnTo>
                    <a:pt x="1652" y="8711"/>
                  </a:lnTo>
                  <a:lnTo>
                    <a:pt x="1688" y="8711"/>
                  </a:lnTo>
                  <a:lnTo>
                    <a:pt x="1747" y="8711"/>
                  </a:lnTo>
                  <a:lnTo>
                    <a:pt x="1795" y="8663"/>
                  </a:lnTo>
                  <a:lnTo>
                    <a:pt x="1854" y="8663"/>
                  </a:lnTo>
                  <a:lnTo>
                    <a:pt x="1890" y="8651"/>
                  </a:lnTo>
                  <a:lnTo>
                    <a:pt x="1914" y="8592"/>
                  </a:lnTo>
                  <a:lnTo>
                    <a:pt x="1914" y="8556"/>
                  </a:lnTo>
                  <a:lnTo>
                    <a:pt x="1938" y="8521"/>
                  </a:lnTo>
                  <a:lnTo>
                    <a:pt x="1973" y="8521"/>
                  </a:lnTo>
                  <a:lnTo>
                    <a:pt x="2021" y="8485"/>
                  </a:lnTo>
                  <a:lnTo>
                    <a:pt x="2056" y="8473"/>
                  </a:lnTo>
                  <a:lnTo>
                    <a:pt x="2092" y="8461"/>
                  </a:lnTo>
                  <a:lnTo>
                    <a:pt x="2128" y="8366"/>
                  </a:lnTo>
                  <a:lnTo>
                    <a:pt x="2175" y="8342"/>
                  </a:lnTo>
                  <a:lnTo>
                    <a:pt x="2330" y="8307"/>
                  </a:lnTo>
                  <a:lnTo>
                    <a:pt x="2413" y="8319"/>
                  </a:lnTo>
                  <a:lnTo>
                    <a:pt x="2472" y="8283"/>
                  </a:lnTo>
                  <a:lnTo>
                    <a:pt x="2496" y="8295"/>
                  </a:lnTo>
                  <a:lnTo>
                    <a:pt x="2472" y="8319"/>
                  </a:lnTo>
                  <a:lnTo>
                    <a:pt x="2484" y="8342"/>
                  </a:lnTo>
                  <a:lnTo>
                    <a:pt x="2520" y="8342"/>
                  </a:lnTo>
                  <a:lnTo>
                    <a:pt x="2555" y="8295"/>
                  </a:lnTo>
                  <a:lnTo>
                    <a:pt x="2627" y="8283"/>
                  </a:lnTo>
                  <a:lnTo>
                    <a:pt x="2639" y="8271"/>
                  </a:lnTo>
                  <a:lnTo>
                    <a:pt x="2627" y="8247"/>
                  </a:lnTo>
                  <a:lnTo>
                    <a:pt x="2686" y="8235"/>
                  </a:lnTo>
                  <a:lnTo>
                    <a:pt x="2698" y="8235"/>
                  </a:lnTo>
                  <a:lnTo>
                    <a:pt x="2710" y="8259"/>
                  </a:lnTo>
                  <a:lnTo>
                    <a:pt x="2734" y="8259"/>
                  </a:lnTo>
                  <a:lnTo>
                    <a:pt x="2757" y="8224"/>
                  </a:lnTo>
                  <a:lnTo>
                    <a:pt x="2781" y="8224"/>
                  </a:lnTo>
                  <a:lnTo>
                    <a:pt x="2793" y="8235"/>
                  </a:lnTo>
                  <a:lnTo>
                    <a:pt x="2781" y="8271"/>
                  </a:lnTo>
                  <a:lnTo>
                    <a:pt x="2781" y="8283"/>
                  </a:lnTo>
                  <a:lnTo>
                    <a:pt x="2805" y="8283"/>
                  </a:lnTo>
                  <a:lnTo>
                    <a:pt x="2817" y="8271"/>
                  </a:lnTo>
                  <a:lnTo>
                    <a:pt x="2841" y="8224"/>
                  </a:lnTo>
                  <a:lnTo>
                    <a:pt x="2888" y="8235"/>
                  </a:lnTo>
                  <a:lnTo>
                    <a:pt x="2912" y="8212"/>
                  </a:lnTo>
                  <a:lnTo>
                    <a:pt x="2912" y="8200"/>
                  </a:lnTo>
                  <a:lnTo>
                    <a:pt x="2888" y="8164"/>
                  </a:lnTo>
                  <a:lnTo>
                    <a:pt x="2900" y="8152"/>
                  </a:lnTo>
                  <a:lnTo>
                    <a:pt x="2900" y="8140"/>
                  </a:lnTo>
                  <a:lnTo>
                    <a:pt x="2960" y="8164"/>
                  </a:lnTo>
                  <a:lnTo>
                    <a:pt x="2971" y="8176"/>
                  </a:lnTo>
                  <a:lnTo>
                    <a:pt x="2971" y="8188"/>
                  </a:lnTo>
                  <a:lnTo>
                    <a:pt x="2983" y="8200"/>
                  </a:lnTo>
                  <a:lnTo>
                    <a:pt x="3043" y="8164"/>
                  </a:lnTo>
                  <a:lnTo>
                    <a:pt x="3055" y="8176"/>
                  </a:lnTo>
                  <a:lnTo>
                    <a:pt x="3066" y="8188"/>
                  </a:lnTo>
                  <a:lnTo>
                    <a:pt x="3078" y="8200"/>
                  </a:lnTo>
                  <a:lnTo>
                    <a:pt x="3090" y="8188"/>
                  </a:lnTo>
                  <a:lnTo>
                    <a:pt x="3090" y="8164"/>
                  </a:lnTo>
                  <a:lnTo>
                    <a:pt x="3102" y="8152"/>
                  </a:lnTo>
                  <a:lnTo>
                    <a:pt x="3138" y="8164"/>
                  </a:lnTo>
                  <a:lnTo>
                    <a:pt x="3162" y="8176"/>
                  </a:lnTo>
                  <a:lnTo>
                    <a:pt x="3197" y="8176"/>
                  </a:lnTo>
                  <a:lnTo>
                    <a:pt x="3209" y="8129"/>
                  </a:lnTo>
                  <a:lnTo>
                    <a:pt x="3233" y="8105"/>
                  </a:lnTo>
                  <a:lnTo>
                    <a:pt x="3245" y="8105"/>
                  </a:lnTo>
                  <a:lnTo>
                    <a:pt x="3257" y="8140"/>
                  </a:lnTo>
                  <a:lnTo>
                    <a:pt x="3292" y="8140"/>
                  </a:lnTo>
                  <a:lnTo>
                    <a:pt x="3328" y="8093"/>
                  </a:lnTo>
                  <a:lnTo>
                    <a:pt x="3364" y="8057"/>
                  </a:lnTo>
                  <a:lnTo>
                    <a:pt x="3375" y="7998"/>
                  </a:lnTo>
                  <a:lnTo>
                    <a:pt x="3411" y="7986"/>
                  </a:lnTo>
                  <a:lnTo>
                    <a:pt x="3423" y="7962"/>
                  </a:lnTo>
                  <a:lnTo>
                    <a:pt x="3423" y="7938"/>
                  </a:lnTo>
                  <a:lnTo>
                    <a:pt x="3482" y="7891"/>
                  </a:lnTo>
                  <a:lnTo>
                    <a:pt x="3506" y="7891"/>
                  </a:lnTo>
                  <a:lnTo>
                    <a:pt x="3566" y="7926"/>
                  </a:lnTo>
                  <a:lnTo>
                    <a:pt x="3601" y="7926"/>
                  </a:lnTo>
                  <a:lnTo>
                    <a:pt x="3637" y="7855"/>
                  </a:lnTo>
                  <a:lnTo>
                    <a:pt x="3661" y="7843"/>
                  </a:lnTo>
                  <a:lnTo>
                    <a:pt x="3673" y="7855"/>
                  </a:lnTo>
                  <a:lnTo>
                    <a:pt x="3661" y="7891"/>
                  </a:lnTo>
                  <a:lnTo>
                    <a:pt x="3661" y="7903"/>
                  </a:lnTo>
                  <a:lnTo>
                    <a:pt x="3708" y="7903"/>
                  </a:lnTo>
                  <a:lnTo>
                    <a:pt x="3732" y="7915"/>
                  </a:lnTo>
                  <a:lnTo>
                    <a:pt x="3744" y="7915"/>
                  </a:lnTo>
                  <a:lnTo>
                    <a:pt x="3756" y="7915"/>
                  </a:lnTo>
                  <a:lnTo>
                    <a:pt x="3756" y="7879"/>
                  </a:lnTo>
                  <a:lnTo>
                    <a:pt x="3768" y="7855"/>
                  </a:lnTo>
                  <a:lnTo>
                    <a:pt x="3780" y="7855"/>
                  </a:lnTo>
                  <a:lnTo>
                    <a:pt x="3803" y="7867"/>
                  </a:lnTo>
                  <a:lnTo>
                    <a:pt x="3815" y="7903"/>
                  </a:lnTo>
                  <a:lnTo>
                    <a:pt x="3839" y="7915"/>
                  </a:lnTo>
                  <a:lnTo>
                    <a:pt x="3851" y="7903"/>
                  </a:lnTo>
                  <a:lnTo>
                    <a:pt x="3851" y="7879"/>
                  </a:lnTo>
                  <a:lnTo>
                    <a:pt x="3875" y="7867"/>
                  </a:lnTo>
                  <a:lnTo>
                    <a:pt x="3922" y="7820"/>
                  </a:lnTo>
                  <a:lnTo>
                    <a:pt x="3970" y="7831"/>
                  </a:lnTo>
                  <a:lnTo>
                    <a:pt x="3982" y="7903"/>
                  </a:lnTo>
                  <a:lnTo>
                    <a:pt x="4005" y="7891"/>
                  </a:lnTo>
                  <a:lnTo>
                    <a:pt x="4017" y="7855"/>
                  </a:lnTo>
                  <a:lnTo>
                    <a:pt x="4077" y="7855"/>
                  </a:lnTo>
                  <a:lnTo>
                    <a:pt x="4088" y="7903"/>
                  </a:lnTo>
                  <a:lnTo>
                    <a:pt x="4088" y="7926"/>
                  </a:lnTo>
                  <a:lnTo>
                    <a:pt x="4077" y="7950"/>
                  </a:lnTo>
                  <a:lnTo>
                    <a:pt x="4077" y="7998"/>
                  </a:lnTo>
                  <a:lnTo>
                    <a:pt x="4112" y="8010"/>
                  </a:lnTo>
                  <a:lnTo>
                    <a:pt x="4100" y="8033"/>
                  </a:lnTo>
                  <a:lnTo>
                    <a:pt x="4100" y="8045"/>
                  </a:lnTo>
                  <a:lnTo>
                    <a:pt x="4112" y="8057"/>
                  </a:lnTo>
                  <a:lnTo>
                    <a:pt x="4136" y="8045"/>
                  </a:lnTo>
                  <a:lnTo>
                    <a:pt x="4148" y="8010"/>
                  </a:lnTo>
                  <a:lnTo>
                    <a:pt x="4172" y="8022"/>
                  </a:lnTo>
                  <a:lnTo>
                    <a:pt x="4172" y="8069"/>
                  </a:lnTo>
                  <a:lnTo>
                    <a:pt x="4184" y="8093"/>
                  </a:lnTo>
                  <a:lnTo>
                    <a:pt x="4207" y="8105"/>
                  </a:lnTo>
                  <a:lnTo>
                    <a:pt x="4219" y="8093"/>
                  </a:lnTo>
                  <a:lnTo>
                    <a:pt x="4219" y="8057"/>
                  </a:lnTo>
                  <a:lnTo>
                    <a:pt x="4231" y="8010"/>
                  </a:lnTo>
                  <a:lnTo>
                    <a:pt x="4267" y="7986"/>
                  </a:lnTo>
                  <a:lnTo>
                    <a:pt x="4338" y="7998"/>
                  </a:lnTo>
                  <a:lnTo>
                    <a:pt x="4362" y="8022"/>
                  </a:lnTo>
                  <a:lnTo>
                    <a:pt x="4386" y="8069"/>
                  </a:lnTo>
                  <a:lnTo>
                    <a:pt x="4445" y="8081"/>
                  </a:lnTo>
                  <a:lnTo>
                    <a:pt x="4481" y="8022"/>
                  </a:lnTo>
                  <a:lnTo>
                    <a:pt x="4493" y="7915"/>
                  </a:lnTo>
                  <a:lnTo>
                    <a:pt x="4481" y="7855"/>
                  </a:lnTo>
                  <a:lnTo>
                    <a:pt x="4516" y="7784"/>
                  </a:lnTo>
                  <a:lnTo>
                    <a:pt x="4576" y="7451"/>
                  </a:lnTo>
                  <a:lnTo>
                    <a:pt x="4588" y="7404"/>
                  </a:lnTo>
                  <a:lnTo>
                    <a:pt x="4576" y="7392"/>
                  </a:lnTo>
                  <a:lnTo>
                    <a:pt x="4849" y="5882"/>
                  </a:lnTo>
                  <a:lnTo>
                    <a:pt x="4861" y="5871"/>
                  </a:lnTo>
                  <a:lnTo>
                    <a:pt x="4861" y="5811"/>
                  </a:lnTo>
                  <a:lnTo>
                    <a:pt x="4861" y="5799"/>
                  </a:lnTo>
                  <a:lnTo>
                    <a:pt x="4897" y="5550"/>
                  </a:lnTo>
                  <a:lnTo>
                    <a:pt x="4944" y="5383"/>
                  </a:lnTo>
                  <a:lnTo>
                    <a:pt x="4932" y="5371"/>
                  </a:lnTo>
                  <a:lnTo>
                    <a:pt x="4932" y="5324"/>
                  </a:lnTo>
                  <a:lnTo>
                    <a:pt x="4944" y="5276"/>
                  </a:lnTo>
                  <a:lnTo>
                    <a:pt x="5027" y="4813"/>
                  </a:lnTo>
                  <a:lnTo>
                    <a:pt x="5015" y="4789"/>
                  </a:lnTo>
                  <a:lnTo>
                    <a:pt x="5039" y="4730"/>
                  </a:lnTo>
                  <a:lnTo>
                    <a:pt x="5063" y="4563"/>
                  </a:lnTo>
                  <a:lnTo>
                    <a:pt x="5039" y="4540"/>
                  </a:lnTo>
                  <a:lnTo>
                    <a:pt x="5027" y="4480"/>
                  </a:lnTo>
                  <a:lnTo>
                    <a:pt x="5027" y="4385"/>
                  </a:lnTo>
                  <a:lnTo>
                    <a:pt x="5051" y="4290"/>
                  </a:lnTo>
                  <a:lnTo>
                    <a:pt x="5051" y="4124"/>
                  </a:lnTo>
                  <a:lnTo>
                    <a:pt x="5075" y="4088"/>
                  </a:lnTo>
                  <a:lnTo>
                    <a:pt x="5087" y="4076"/>
                  </a:lnTo>
                  <a:lnTo>
                    <a:pt x="5099" y="4052"/>
                  </a:lnTo>
                  <a:lnTo>
                    <a:pt x="5099" y="4029"/>
                  </a:lnTo>
                  <a:lnTo>
                    <a:pt x="5087" y="4017"/>
                  </a:lnTo>
                  <a:lnTo>
                    <a:pt x="5063" y="3993"/>
                  </a:lnTo>
                  <a:lnTo>
                    <a:pt x="5051" y="3934"/>
                  </a:lnTo>
                  <a:lnTo>
                    <a:pt x="5027" y="3886"/>
                  </a:lnTo>
                  <a:lnTo>
                    <a:pt x="5004" y="3850"/>
                  </a:lnTo>
                  <a:lnTo>
                    <a:pt x="4944" y="3803"/>
                  </a:lnTo>
                  <a:lnTo>
                    <a:pt x="4920" y="3743"/>
                  </a:lnTo>
                  <a:lnTo>
                    <a:pt x="4897" y="3708"/>
                  </a:lnTo>
                  <a:lnTo>
                    <a:pt x="4885" y="3708"/>
                  </a:lnTo>
                  <a:lnTo>
                    <a:pt x="4861" y="3648"/>
                  </a:lnTo>
                  <a:lnTo>
                    <a:pt x="4837" y="3625"/>
                  </a:lnTo>
                  <a:lnTo>
                    <a:pt x="4813" y="3601"/>
                  </a:lnTo>
                  <a:lnTo>
                    <a:pt x="4825" y="3565"/>
                  </a:lnTo>
                  <a:lnTo>
                    <a:pt x="4873" y="3458"/>
                  </a:lnTo>
                  <a:lnTo>
                    <a:pt x="4873" y="3411"/>
                  </a:lnTo>
                  <a:lnTo>
                    <a:pt x="4837" y="3351"/>
                  </a:lnTo>
                  <a:lnTo>
                    <a:pt x="4778" y="3280"/>
                  </a:lnTo>
                  <a:lnTo>
                    <a:pt x="4742" y="3256"/>
                  </a:lnTo>
                  <a:lnTo>
                    <a:pt x="4635" y="3161"/>
                  </a:lnTo>
                  <a:lnTo>
                    <a:pt x="4576" y="3114"/>
                  </a:lnTo>
                  <a:lnTo>
                    <a:pt x="4540" y="3090"/>
                  </a:lnTo>
                  <a:lnTo>
                    <a:pt x="4469" y="3078"/>
                  </a:lnTo>
                  <a:lnTo>
                    <a:pt x="4386" y="2995"/>
                  </a:lnTo>
                  <a:lnTo>
                    <a:pt x="4326" y="2912"/>
                  </a:lnTo>
                  <a:lnTo>
                    <a:pt x="4326" y="2805"/>
                  </a:lnTo>
                  <a:lnTo>
                    <a:pt x="4291" y="2745"/>
                  </a:lnTo>
                  <a:lnTo>
                    <a:pt x="4291" y="2686"/>
                  </a:lnTo>
                  <a:lnTo>
                    <a:pt x="4302" y="2638"/>
                  </a:lnTo>
                  <a:lnTo>
                    <a:pt x="4302" y="2567"/>
                  </a:lnTo>
                  <a:lnTo>
                    <a:pt x="4326" y="1973"/>
                  </a:lnTo>
                  <a:lnTo>
                    <a:pt x="4350" y="1985"/>
                  </a:lnTo>
                  <a:lnTo>
                    <a:pt x="4397" y="1985"/>
                  </a:lnTo>
                  <a:lnTo>
                    <a:pt x="4433" y="1996"/>
                  </a:lnTo>
                  <a:lnTo>
                    <a:pt x="4481" y="1985"/>
                  </a:lnTo>
                  <a:lnTo>
                    <a:pt x="4516" y="1961"/>
                  </a:lnTo>
                  <a:lnTo>
                    <a:pt x="4588" y="1973"/>
                  </a:lnTo>
                  <a:lnTo>
                    <a:pt x="4611" y="1985"/>
                  </a:lnTo>
                  <a:lnTo>
                    <a:pt x="4635" y="1973"/>
                  </a:lnTo>
                  <a:lnTo>
                    <a:pt x="4730" y="1925"/>
                  </a:lnTo>
                  <a:lnTo>
                    <a:pt x="4766" y="1890"/>
                  </a:lnTo>
                  <a:lnTo>
                    <a:pt x="4790" y="1878"/>
                  </a:lnTo>
                  <a:lnTo>
                    <a:pt x="4813" y="1890"/>
                  </a:lnTo>
                  <a:lnTo>
                    <a:pt x="4837" y="1913"/>
                  </a:lnTo>
                  <a:lnTo>
                    <a:pt x="4861" y="1913"/>
                  </a:lnTo>
                  <a:lnTo>
                    <a:pt x="4885" y="1901"/>
                  </a:lnTo>
                  <a:lnTo>
                    <a:pt x="4897" y="1866"/>
                  </a:lnTo>
                  <a:lnTo>
                    <a:pt x="4944" y="1854"/>
                  </a:lnTo>
                  <a:lnTo>
                    <a:pt x="4992" y="1806"/>
                  </a:lnTo>
                  <a:lnTo>
                    <a:pt x="5039" y="1818"/>
                  </a:lnTo>
                  <a:lnTo>
                    <a:pt x="5099" y="1890"/>
                  </a:lnTo>
                  <a:lnTo>
                    <a:pt x="5146" y="1925"/>
                  </a:lnTo>
                  <a:lnTo>
                    <a:pt x="5217" y="1937"/>
                  </a:lnTo>
                  <a:lnTo>
                    <a:pt x="5348" y="1937"/>
                  </a:lnTo>
                  <a:lnTo>
                    <a:pt x="5348" y="1937"/>
                  </a:lnTo>
                  <a:lnTo>
                    <a:pt x="5336" y="1913"/>
                  </a:lnTo>
                  <a:lnTo>
                    <a:pt x="5360" y="1878"/>
                  </a:lnTo>
                  <a:lnTo>
                    <a:pt x="5372" y="1866"/>
                  </a:lnTo>
                  <a:lnTo>
                    <a:pt x="5408" y="1890"/>
                  </a:lnTo>
                  <a:lnTo>
                    <a:pt x="5419" y="1890"/>
                  </a:lnTo>
                  <a:lnTo>
                    <a:pt x="5431" y="1878"/>
                  </a:lnTo>
                  <a:lnTo>
                    <a:pt x="5431" y="1854"/>
                  </a:lnTo>
                  <a:lnTo>
                    <a:pt x="5384" y="1783"/>
                  </a:lnTo>
                  <a:lnTo>
                    <a:pt x="5396" y="1747"/>
                  </a:lnTo>
                  <a:lnTo>
                    <a:pt x="5419" y="1699"/>
                  </a:lnTo>
                  <a:lnTo>
                    <a:pt x="5408" y="1652"/>
                  </a:lnTo>
                  <a:lnTo>
                    <a:pt x="5431" y="1604"/>
                  </a:lnTo>
                  <a:lnTo>
                    <a:pt x="5431" y="1592"/>
                  </a:lnTo>
                  <a:lnTo>
                    <a:pt x="5396" y="1592"/>
                  </a:lnTo>
                  <a:lnTo>
                    <a:pt x="5384" y="1569"/>
                  </a:lnTo>
                  <a:lnTo>
                    <a:pt x="5384" y="1521"/>
                  </a:lnTo>
                  <a:lnTo>
                    <a:pt x="5372" y="1509"/>
                  </a:lnTo>
                  <a:lnTo>
                    <a:pt x="5336" y="1485"/>
                  </a:lnTo>
                  <a:lnTo>
                    <a:pt x="5289" y="1414"/>
                  </a:lnTo>
                  <a:lnTo>
                    <a:pt x="5229" y="1379"/>
                  </a:lnTo>
                  <a:lnTo>
                    <a:pt x="5206" y="1367"/>
                  </a:lnTo>
                  <a:lnTo>
                    <a:pt x="5158" y="1355"/>
                  </a:lnTo>
                  <a:lnTo>
                    <a:pt x="5134" y="1367"/>
                  </a:lnTo>
                  <a:lnTo>
                    <a:pt x="5099" y="1402"/>
                  </a:lnTo>
                  <a:lnTo>
                    <a:pt x="5075" y="1402"/>
                  </a:lnTo>
                  <a:lnTo>
                    <a:pt x="5039" y="1379"/>
                  </a:lnTo>
                  <a:lnTo>
                    <a:pt x="4920" y="1379"/>
                  </a:lnTo>
                  <a:lnTo>
                    <a:pt x="4885" y="1355"/>
                  </a:lnTo>
                  <a:lnTo>
                    <a:pt x="4790" y="1379"/>
                  </a:lnTo>
                  <a:lnTo>
                    <a:pt x="4754" y="1343"/>
                  </a:lnTo>
                  <a:lnTo>
                    <a:pt x="4695" y="1343"/>
                  </a:lnTo>
                  <a:lnTo>
                    <a:pt x="4599" y="1379"/>
                  </a:lnTo>
                  <a:lnTo>
                    <a:pt x="4576" y="1319"/>
                  </a:lnTo>
                  <a:lnTo>
                    <a:pt x="4576" y="856"/>
                  </a:lnTo>
                  <a:lnTo>
                    <a:pt x="4564" y="772"/>
                  </a:lnTo>
                  <a:lnTo>
                    <a:pt x="4576" y="772"/>
                  </a:lnTo>
                  <a:lnTo>
                    <a:pt x="4576" y="618"/>
                  </a:lnTo>
                  <a:lnTo>
                    <a:pt x="4611" y="594"/>
                  </a:lnTo>
                  <a:lnTo>
                    <a:pt x="4635" y="606"/>
                  </a:lnTo>
                  <a:lnTo>
                    <a:pt x="4730" y="594"/>
                  </a:lnTo>
                  <a:lnTo>
                    <a:pt x="4813" y="594"/>
                  </a:lnTo>
                  <a:lnTo>
                    <a:pt x="4885" y="547"/>
                  </a:lnTo>
                  <a:lnTo>
                    <a:pt x="4956" y="535"/>
                  </a:lnTo>
                  <a:lnTo>
                    <a:pt x="4992" y="547"/>
                  </a:lnTo>
                  <a:lnTo>
                    <a:pt x="5051" y="582"/>
                  </a:lnTo>
                  <a:lnTo>
                    <a:pt x="5087" y="582"/>
                  </a:lnTo>
                  <a:lnTo>
                    <a:pt x="5110" y="582"/>
                  </a:lnTo>
                  <a:lnTo>
                    <a:pt x="6275" y="594"/>
                  </a:lnTo>
                  <a:lnTo>
                    <a:pt x="6323" y="594"/>
                  </a:lnTo>
                  <a:lnTo>
                    <a:pt x="6358" y="594"/>
                  </a:lnTo>
                  <a:lnTo>
                    <a:pt x="6453" y="594"/>
                  </a:lnTo>
                  <a:lnTo>
                    <a:pt x="6548" y="594"/>
                  </a:lnTo>
                  <a:lnTo>
                    <a:pt x="6572" y="547"/>
                  </a:lnTo>
                  <a:lnTo>
                    <a:pt x="6548" y="499"/>
                  </a:lnTo>
                  <a:lnTo>
                    <a:pt x="6513" y="475"/>
                  </a:lnTo>
                  <a:lnTo>
                    <a:pt x="6477" y="440"/>
                  </a:lnTo>
                  <a:lnTo>
                    <a:pt x="6477" y="392"/>
                  </a:lnTo>
                  <a:lnTo>
                    <a:pt x="6489" y="356"/>
                  </a:lnTo>
                  <a:lnTo>
                    <a:pt x="6525" y="273"/>
                  </a:lnTo>
                  <a:lnTo>
                    <a:pt x="6537" y="261"/>
                  </a:lnTo>
                  <a:lnTo>
                    <a:pt x="6560" y="238"/>
                  </a:lnTo>
                  <a:lnTo>
                    <a:pt x="6596" y="250"/>
                  </a:lnTo>
                  <a:lnTo>
                    <a:pt x="6632" y="356"/>
                  </a:lnTo>
                  <a:lnTo>
                    <a:pt x="6655" y="392"/>
                  </a:lnTo>
                  <a:lnTo>
                    <a:pt x="6750" y="452"/>
                  </a:lnTo>
                  <a:lnTo>
                    <a:pt x="6798" y="475"/>
                  </a:lnTo>
                  <a:lnTo>
                    <a:pt x="6846" y="499"/>
                  </a:lnTo>
                  <a:lnTo>
                    <a:pt x="6905" y="463"/>
                  </a:lnTo>
                  <a:lnTo>
                    <a:pt x="6929" y="416"/>
                  </a:lnTo>
                  <a:lnTo>
                    <a:pt x="6976" y="368"/>
                  </a:lnTo>
                  <a:lnTo>
                    <a:pt x="7036" y="285"/>
                  </a:lnTo>
                  <a:lnTo>
                    <a:pt x="7059" y="261"/>
                  </a:lnTo>
                  <a:lnTo>
                    <a:pt x="7095" y="261"/>
                  </a:lnTo>
                  <a:lnTo>
                    <a:pt x="7178" y="285"/>
                  </a:lnTo>
                  <a:lnTo>
                    <a:pt x="7226" y="273"/>
                  </a:lnTo>
                  <a:lnTo>
                    <a:pt x="7321" y="143"/>
                  </a:lnTo>
                  <a:lnTo>
                    <a:pt x="7416" y="71"/>
                  </a:lnTo>
                  <a:lnTo>
                    <a:pt x="7416" y="48"/>
                  </a:lnTo>
                  <a:lnTo>
                    <a:pt x="7428" y="24"/>
                  </a:lnTo>
                  <a:lnTo>
                    <a:pt x="7440" y="36"/>
                  </a:lnTo>
                  <a:lnTo>
                    <a:pt x="7511" y="0"/>
                  </a:lnTo>
                  <a:lnTo>
                    <a:pt x="7523" y="12"/>
                  </a:lnTo>
                  <a:lnTo>
                    <a:pt x="7547" y="24"/>
                  </a:lnTo>
                  <a:lnTo>
                    <a:pt x="7570" y="107"/>
                  </a:lnTo>
                  <a:lnTo>
                    <a:pt x="7570" y="107"/>
                  </a:lnTo>
                  <a:lnTo>
                    <a:pt x="7594" y="226"/>
                  </a:lnTo>
                  <a:lnTo>
                    <a:pt x="7618" y="333"/>
                  </a:lnTo>
                  <a:lnTo>
                    <a:pt x="7666" y="440"/>
                  </a:lnTo>
                  <a:lnTo>
                    <a:pt x="7737" y="487"/>
                  </a:lnTo>
                  <a:lnTo>
                    <a:pt x="7772" y="487"/>
                  </a:lnTo>
                  <a:lnTo>
                    <a:pt x="7832" y="535"/>
                  </a:lnTo>
                  <a:lnTo>
                    <a:pt x="7856" y="606"/>
                  </a:lnTo>
                  <a:lnTo>
                    <a:pt x="7891" y="772"/>
                  </a:lnTo>
                  <a:lnTo>
                    <a:pt x="7891" y="796"/>
                  </a:lnTo>
                  <a:lnTo>
                    <a:pt x="7903" y="808"/>
                  </a:lnTo>
                  <a:lnTo>
                    <a:pt x="7903" y="891"/>
                  </a:lnTo>
                  <a:lnTo>
                    <a:pt x="7868" y="1022"/>
                  </a:lnTo>
                  <a:lnTo>
                    <a:pt x="7879" y="1129"/>
                  </a:lnTo>
                  <a:lnTo>
                    <a:pt x="7903" y="1248"/>
                  </a:lnTo>
                  <a:lnTo>
                    <a:pt x="7927" y="1272"/>
                  </a:lnTo>
                  <a:lnTo>
                    <a:pt x="8022" y="1236"/>
                  </a:lnTo>
                  <a:lnTo>
                    <a:pt x="8129" y="1200"/>
                  </a:lnTo>
                  <a:lnTo>
                    <a:pt x="8165" y="1200"/>
                  </a:lnTo>
                  <a:lnTo>
                    <a:pt x="8248" y="1260"/>
                  </a:lnTo>
                  <a:lnTo>
                    <a:pt x="8486" y="1485"/>
                  </a:lnTo>
                  <a:lnTo>
                    <a:pt x="8521" y="1509"/>
                  </a:lnTo>
                  <a:lnTo>
                    <a:pt x="8533" y="1509"/>
                  </a:lnTo>
                  <a:lnTo>
                    <a:pt x="8652" y="1628"/>
                  </a:lnTo>
                  <a:lnTo>
                    <a:pt x="8664" y="1640"/>
                  </a:lnTo>
                  <a:lnTo>
                    <a:pt x="8818" y="1783"/>
                  </a:lnTo>
                  <a:lnTo>
                    <a:pt x="8866" y="1783"/>
                  </a:lnTo>
                  <a:lnTo>
                    <a:pt x="8913" y="1759"/>
                  </a:lnTo>
                  <a:lnTo>
                    <a:pt x="8949" y="1759"/>
                  </a:lnTo>
                  <a:lnTo>
                    <a:pt x="9020" y="1783"/>
                  </a:lnTo>
                  <a:lnTo>
                    <a:pt x="9068" y="1783"/>
                  </a:lnTo>
                  <a:lnTo>
                    <a:pt x="9127" y="1759"/>
                  </a:lnTo>
                  <a:lnTo>
                    <a:pt x="9270" y="1664"/>
                  </a:lnTo>
                  <a:lnTo>
                    <a:pt x="9329" y="1581"/>
                  </a:lnTo>
                  <a:lnTo>
                    <a:pt x="9353" y="1569"/>
                  </a:lnTo>
                  <a:lnTo>
                    <a:pt x="9401" y="1545"/>
                  </a:lnTo>
                  <a:lnTo>
                    <a:pt x="9603" y="1497"/>
                  </a:lnTo>
                  <a:lnTo>
                    <a:pt x="9638" y="1497"/>
                  </a:lnTo>
                  <a:lnTo>
                    <a:pt x="9733" y="1521"/>
                  </a:lnTo>
                  <a:lnTo>
                    <a:pt x="9769" y="1557"/>
                  </a:lnTo>
                  <a:lnTo>
                    <a:pt x="9781" y="1616"/>
                  </a:lnTo>
                  <a:lnTo>
                    <a:pt x="9769" y="1664"/>
                  </a:lnTo>
                  <a:lnTo>
                    <a:pt x="9721" y="1711"/>
                  </a:lnTo>
                  <a:lnTo>
                    <a:pt x="9721" y="1735"/>
                  </a:lnTo>
                  <a:lnTo>
                    <a:pt x="9698" y="1771"/>
                  </a:lnTo>
                  <a:lnTo>
                    <a:pt x="9686" y="1830"/>
                  </a:lnTo>
                  <a:lnTo>
                    <a:pt x="9698" y="1866"/>
                  </a:lnTo>
                  <a:lnTo>
                    <a:pt x="9698" y="1878"/>
                  </a:lnTo>
                  <a:lnTo>
                    <a:pt x="9757" y="1890"/>
                  </a:lnTo>
                  <a:lnTo>
                    <a:pt x="9852" y="1866"/>
                  </a:lnTo>
                  <a:lnTo>
                    <a:pt x="9888" y="1818"/>
                  </a:lnTo>
                  <a:lnTo>
                    <a:pt x="9900" y="1735"/>
                  </a:lnTo>
                  <a:lnTo>
                    <a:pt x="9923" y="1676"/>
                  </a:lnTo>
                  <a:lnTo>
                    <a:pt x="9983" y="1652"/>
                  </a:lnTo>
                  <a:lnTo>
                    <a:pt x="10007" y="1581"/>
                  </a:lnTo>
                  <a:lnTo>
                    <a:pt x="10019" y="1569"/>
                  </a:lnTo>
                  <a:lnTo>
                    <a:pt x="10066" y="1569"/>
                  </a:lnTo>
                  <a:lnTo>
                    <a:pt x="10114" y="1581"/>
                  </a:lnTo>
                  <a:lnTo>
                    <a:pt x="10173" y="1569"/>
                  </a:lnTo>
                  <a:lnTo>
                    <a:pt x="10197" y="1414"/>
                  </a:lnTo>
                  <a:lnTo>
                    <a:pt x="10209" y="1379"/>
                  </a:lnTo>
                  <a:lnTo>
                    <a:pt x="10244" y="1343"/>
                  </a:lnTo>
                  <a:lnTo>
                    <a:pt x="10268" y="1331"/>
                  </a:lnTo>
                  <a:lnTo>
                    <a:pt x="10327" y="1355"/>
                  </a:lnTo>
                  <a:lnTo>
                    <a:pt x="10351" y="1355"/>
                  </a:lnTo>
                  <a:lnTo>
                    <a:pt x="10375" y="1343"/>
                  </a:lnTo>
                  <a:lnTo>
                    <a:pt x="10434" y="1260"/>
                  </a:lnTo>
                  <a:lnTo>
                    <a:pt x="10494" y="1248"/>
                  </a:lnTo>
                  <a:lnTo>
                    <a:pt x="10613" y="1153"/>
                  </a:lnTo>
                  <a:lnTo>
                    <a:pt x="10648" y="1153"/>
                  </a:lnTo>
                  <a:lnTo>
                    <a:pt x="10684" y="1200"/>
                  </a:lnTo>
                  <a:lnTo>
                    <a:pt x="10684" y="1200"/>
                  </a:lnTo>
                  <a:lnTo>
                    <a:pt x="10708" y="1200"/>
                  </a:lnTo>
                  <a:lnTo>
                    <a:pt x="10815" y="1129"/>
                  </a:lnTo>
                  <a:lnTo>
                    <a:pt x="10815" y="1117"/>
                  </a:lnTo>
                  <a:lnTo>
                    <a:pt x="10850" y="1105"/>
                  </a:lnTo>
                  <a:lnTo>
                    <a:pt x="10922" y="1058"/>
                  </a:lnTo>
                  <a:lnTo>
                    <a:pt x="10945" y="1010"/>
                  </a:lnTo>
                  <a:lnTo>
                    <a:pt x="10993" y="927"/>
                  </a:lnTo>
                  <a:lnTo>
                    <a:pt x="11052" y="879"/>
                  </a:lnTo>
                  <a:lnTo>
                    <a:pt x="11112" y="856"/>
                  </a:lnTo>
                  <a:lnTo>
                    <a:pt x="11171" y="844"/>
                  </a:lnTo>
                  <a:lnTo>
                    <a:pt x="11195" y="856"/>
                  </a:lnTo>
                  <a:lnTo>
                    <a:pt x="11195" y="879"/>
                  </a:lnTo>
                  <a:lnTo>
                    <a:pt x="11159" y="927"/>
                  </a:lnTo>
                  <a:lnTo>
                    <a:pt x="11147" y="963"/>
                  </a:lnTo>
                  <a:lnTo>
                    <a:pt x="11159" y="1046"/>
                  </a:lnTo>
                  <a:lnTo>
                    <a:pt x="11159" y="1070"/>
                  </a:lnTo>
                  <a:lnTo>
                    <a:pt x="11171" y="1081"/>
                  </a:lnTo>
                  <a:lnTo>
                    <a:pt x="11195" y="1081"/>
                  </a:lnTo>
                  <a:lnTo>
                    <a:pt x="11219" y="1046"/>
                  </a:lnTo>
                  <a:lnTo>
                    <a:pt x="11231" y="974"/>
                  </a:lnTo>
                  <a:lnTo>
                    <a:pt x="11254" y="927"/>
                  </a:lnTo>
                  <a:lnTo>
                    <a:pt x="11266" y="903"/>
                  </a:lnTo>
                  <a:lnTo>
                    <a:pt x="11338" y="903"/>
                  </a:lnTo>
                  <a:lnTo>
                    <a:pt x="11385" y="808"/>
                  </a:lnTo>
                  <a:lnTo>
                    <a:pt x="11480" y="749"/>
                  </a:lnTo>
                  <a:lnTo>
                    <a:pt x="11504" y="713"/>
                  </a:lnTo>
                  <a:lnTo>
                    <a:pt x="11516" y="654"/>
                  </a:lnTo>
                  <a:lnTo>
                    <a:pt x="11516" y="570"/>
                  </a:lnTo>
                  <a:lnTo>
                    <a:pt x="11528" y="523"/>
                  </a:lnTo>
                  <a:lnTo>
                    <a:pt x="11528" y="392"/>
                  </a:lnTo>
                  <a:lnTo>
                    <a:pt x="11587" y="321"/>
                  </a:lnTo>
                  <a:lnTo>
                    <a:pt x="11682" y="297"/>
                  </a:lnTo>
                  <a:lnTo>
                    <a:pt x="11789" y="321"/>
                  </a:lnTo>
                  <a:lnTo>
                    <a:pt x="11801" y="309"/>
                  </a:lnTo>
                  <a:lnTo>
                    <a:pt x="11872" y="309"/>
                  </a:lnTo>
                  <a:lnTo>
                    <a:pt x="11896" y="273"/>
                  </a:lnTo>
                  <a:lnTo>
                    <a:pt x="11920" y="261"/>
                  </a:lnTo>
                  <a:lnTo>
                    <a:pt x="11967" y="273"/>
                  </a:lnTo>
                  <a:lnTo>
                    <a:pt x="11979" y="273"/>
                  </a:lnTo>
                  <a:lnTo>
                    <a:pt x="12051" y="178"/>
                  </a:lnTo>
                  <a:lnTo>
                    <a:pt x="12146" y="131"/>
                  </a:lnTo>
                  <a:lnTo>
                    <a:pt x="12205" y="131"/>
                  </a:lnTo>
                  <a:lnTo>
                    <a:pt x="12253" y="131"/>
                  </a:lnTo>
                  <a:lnTo>
                    <a:pt x="12265" y="119"/>
                  </a:lnTo>
                  <a:lnTo>
                    <a:pt x="12324" y="95"/>
                  </a:lnTo>
                  <a:lnTo>
                    <a:pt x="12372" y="12"/>
                  </a:lnTo>
                  <a:lnTo>
                    <a:pt x="12372" y="12"/>
                  </a:lnTo>
                  <a:lnTo>
                    <a:pt x="12467" y="71"/>
                  </a:lnTo>
                  <a:lnTo>
                    <a:pt x="12502" y="83"/>
                  </a:lnTo>
                  <a:lnTo>
                    <a:pt x="12645" y="71"/>
                  </a:lnTo>
                  <a:lnTo>
                    <a:pt x="12669" y="95"/>
                  </a:lnTo>
                  <a:lnTo>
                    <a:pt x="12728" y="214"/>
                  </a:lnTo>
                  <a:lnTo>
                    <a:pt x="12752" y="261"/>
                  </a:lnTo>
                  <a:lnTo>
                    <a:pt x="12811" y="285"/>
                  </a:lnTo>
                  <a:lnTo>
                    <a:pt x="12871" y="273"/>
                  </a:lnTo>
                  <a:lnTo>
                    <a:pt x="12942" y="250"/>
                  </a:lnTo>
                  <a:lnTo>
                    <a:pt x="12978" y="250"/>
                  </a:lnTo>
                  <a:lnTo>
                    <a:pt x="13049" y="285"/>
                  </a:lnTo>
                  <a:lnTo>
                    <a:pt x="13108" y="297"/>
                  </a:lnTo>
                  <a:lnTo>
                    <a:pt x="13168" y="356"/>
                  </a:lnTo>
                  <a:lnTo>
                    <a:pt x="13180" y="404"/>
                  </a:lnTo>
                  <a:lnTo>
                    <a:pt x="13180" y="523"/>
                  </a:lnTo>
                  <a:lnTo>
                    <a:pt x="13180" y="594"/>
                  </a:lnTo>
                  <a:lnTo>
                    <a:pt x="13144" y="665"/>
                  </a:lnTo>
                  <a:lnTo>
                    <a:pt x="13061" y="725"/>
                  </a:lnTo>
                  <a:lnTo>
                    <a:pt x="13049" y="749"/>
                  </a:lnTo>
                  <a:lnTo>
                    <a:pt x="13049" y="761"/>
                  </a:lnTo>
                  <a:lnTo>
                    <a:pt x="13061" y="784"/>
                  </a:lnTo>
                  <a:lnTo>
                    <a:pt x="13085" y="796"/>
                  </a:lnTo>
                  <a:lnTo>
                    <a:pt x="13108" y="820"/>
                  </a:lnTo>
                  <a:lnTo>
                    <a:pt x="13120" y="879"/>
                  </a:lnTo>
                  <a:lnTo>
                    <a:pt x="13132" y="903"/>
                  </a:lnTo>
                  <a:lnTo>
                    <a:pt x="13156" y="915"/>
                  </a:lnTo>
                  <a:lnTo>
                    <a:pt x="13215" y="951"/>
                  </a:lnTo>
                  <a:lnTo>
                    <a:pt x="13239" y="986"/>
                  </a:lnTo>
                  <a:lnTo>
                    <a:pt x="13287" y="1236"/>
                  </a:lnTo>
                  <a:lnTo>
                    <a:pt x="13346" y="1414"/>
                  </a:lnTo>
                  <a:lnTo>
                    <a:pt x="13370" y="1557"/>
                  </a:lnTo>
                  <a:lnTo>
                    <a:pt x="13417" y="1628"/>
                  </a:lnTo>
                  <a:lnTo>
                    <a:pt x="13441" y="1664"/>
                  </a:lnTo>
                  <a:lnTo>
                    <a:pt x="13453" y="1687"/>
                  </a:lnTo>
                  <a:lnTo>
                    <a:pt x="13453" y="1735"/>
                  </a:lnTo>
                  <a:lnTo>
                    <a:pt x="13346" y="1842"/>
                  </a:lnTo>
                  <a:lnTo>
                    <a:pt x="13346" y="1866"/>
                  </a:lnTo>
                  <a:lnTo>
                    <a:pt x="13358" y="1949"/>
                  </a:lnTo>
                  <a:lnTo>
                    <a:pt x="13394" y="2056"/>
                  </a:lnTo>
                  <a:lnTo>
                    <a:pt x="13394" y="2139"/>
                  </a:lnTo>
                  <a:lnTo>
                    <a:pt x="13441" y="2163"/>
                  </a:lnTo>
                  <a:lnTo>
                    <a:pt x="13465" y="2222"/>
                  </a:lnTo>
                  <a:lnTo>
                    <a:pt x="13441" y="2305"/>
                  </a:lnTo>
                  <a:lnTo>
                    <a:pt x="13465" y="2412"/>
                  </a:lnTo>
                  <a:lnTo>
                    <a:pt x="13489" y="2472"/>
                  </a:lnTo>
                  <a:lnTo>
                    <a:pt x="13489" y="2567"/>
                  </a:lnTo>
                  <a:lnTo>
                    <a:pt x="13500" y="2591"/>
                  </a:lnTo>
                  <a:lnTo>
                    <a:pt x="13572" y="2638"/>
                  </a:lnTo>
                  <a:lnTo>
                    <a:pt x="13596" y="2686"/>
                  </a:lnTo>
                  <a:lnTo>
                    <a:pt x="13607" y="2793"/>
                  </a:lnTo>
                  <a:lnTo>
                    <a:pt x="13679" y="2864"/>
                  </a:lnTo>
                  <a:lnTo>
                    <a:pt x="13691" y="2900"/>
                  </a:lnTo>
                  <a:lnTo>
                    <a:pt x="13691" y="2947"/>
                  </a:lnTo>
                  <a:lnTo>
                    <a:pt x="13691" y="2995"/>
                  </a:lnTo>
                  <a:lnTo>
                    <a:pt x="13679" y="3030"/>
                  </a:lnTo>
                  <a:lnTo>
                    <a:pt x="13703" y="3066"/>
                  </a:lnTo>
                  <a:lnTo>
                    <a:pt x="13750" y="3066"/>
                  </a:lnTo>
                  <a:lnTo>
                    <a:pt x="13762" y="3102"/>
                  </a:lnTo>
                  <a:lnTo>
                    <a:pt x="13750" y="3114"/>
                  </a:lnTo>
                  <a:lnTo>
                    <a:pt x="13726" y="3161"/>
                  </a:lnTo>
                  <a:lnTo>
                    <a:pt x="13655" y="3232"/>
                  </a:lnTo>
                  <a:lnTo>
                    <a:pt x="13619" y="3292"/>
                  </a:lnTo>
                  <a:lnTo>
                    <a:pt x="13619" y="3292"/>
                  </a:lnTo>
                  <a:lnTo>
                    <a:pt x="13631" y="3387"/>
                  </a:lnTo>
                  <a:lnTo>
                    <a:pt x="13596" y="3470"/>
                  </a:lnTo>
                  <a:lnTo>
                    <a:pt x="13536" y="3470"/>
                  </a:lnTo>
                  <a:lnTo>
                    <a:pt x="13512" y="3518"/>
                  </a:lnTo>
                  <a:lnTo>
                    <a:pt x="13453" y="3494"/>
                  </a:lnTo>
                  <a:lnTo>
                    <a:pt x="13417" y="3494"/>
                  </a:lnTo>
                  <a:lnTo>
                    <a:pt x="13394" y="3518"/>
                  </a:lnTo>
                  <a:lnTo>
                    <a:pt x="13394" y="3589"/>
                  </a:lnTo>
                  <a:lnTo>
                    <a:pt x="13417" y="3625"/>
                  </a:lnTo>
                  <a:lnTo>
                    <a:pt x="13465" y="3636"/>
                  </a:lnTo>
                  <a:lnTo>
                    <a:pt x="13489" y="3648"/>
                  </a:lnTo>
                  <a:lnTo>
                    <a:pt x="13524" y="3684"/>
                  </a:lnTo>
                  <a:lnTo>
                    <a:pt x="13572" y="3731"/>
                  </a:lnTo>
                  <a:lnTo>
                    <a:pt x="13643" y="3827"/>
                  </a:lnTo>
                  <a:lnTo>
                    <a:pt x="13691" y="3827"/>
                  </a:lnTo>
                  <a:lnTo>
                    <a:pt x="13726" y="3874"/>
                  </a:lnTo>
                  <a:lnTo>
                    <a:pt x="13833" y="3922"/>
                  </a:lnTo>
                  <a:lnTo>
                    <a:pt x="13881" y="3993"/>
                  </a:lnTo>
                  <a:lnTo>
                    <a:pt x="13916" y="3993"/>
                  </a:lnTo>
                  <a:lnTo>
                    <a:pt x="13952" y="4040"/>
                  </a:lnTo>
                  <a:lnTo>
                    <a:pt x="13976" y="4088"/>
                  </a:lnTo>
                  <a:lnTo>
                    <a:pt x="14011" y="4112"/>
                  </a:lnTo>
                  <a:lnTo>
                    <a:pt x="14011" y="4159"/>
                  </a:lnTo>
                  <a:lnTo>
                    <a:pt x="14035" y="4183"/>
                  </a:lnTo>
                  <a:lnTo>
                    <a:pt x="14047" y="4231"/>
                  </a:lnTo>
                  <a:lnTo>
                    <a:pt x="14083" y="4290"/>
                  </a:lnTo>
                  <a:lnTo>
                    <a:pt x="14130" y="4326"/>
                  </a:lnTo>
                  <a:lnTo>
                    <a:pt x="14249" y="4349"/>
                  </a:lnTo>
                  <a:lnTo>
                    <a:pt x="14285" y="4349"/>
                  </a:lnTo>
                  <a:lnTo>
                    <a:pt x="14320" y="4373"/>
                  </a:lnTo>
                  <a:lnTo>
                    <a:pt x="14439" y="4421"/>
                  </a:lnTo>
                  <a:lnTo>
                    <a:pt x="14487" y="4373"/>
                  </a:lnTo>
                  <a:lnTo>
                    <a:pt x="14475" y="4338"/>
                  </a:lnTo>
                  <a:lnTo>
                    <a:pt x="14475" y="4326"/>
                  </a:lnTo>
                  <a:lnTo>
                    <a:pt x="14499" y="4314"/>
                  </a:lnTo>
                  <a:lnTo>
                    <a:pt x="14499" y="4302"/>
                  </a:lnTo>
                  <a:lnTo>
                    <a:pt x="14499" y="4266"/>
                  </a:lnTo>
                  <a:lnTo>
                    <a:pt x="14487" y="4242"/>
                  </a:lnTo>
                  <a:lnTo>
                    <a:pt x="14451" y="4219"/>
                  </a:lnTo>
                  <a:lnTo>
                    <a:pt x="14451" y="4207"/>
                  </a:lnTo>
                  <a:lnTo>
                    <a:pt x="14475" y="4076"/>
                  </a:lnTo>
                  <a:lnTo>
                    <a:pt x="14499" y="4040"/>
                  </a:lnTo>
                  <a:lnTo>
                    <a:pt x="14511" y="4005"/>
                  </a:lnTo>
                  <a:lnTo>
                    <a:pt x="14499" y="3981"/>
                  </a:lnTo>
                  <a:lnTo>
                    <a:pt x="14499" y="3957"/>
                  </a:lnTo>
                  <a:lnTo>
                    <a:pt x="14522" y="3934"/>
                  </a:lnTo>
                  <a:lnTo>
                    <a:pt x="14534" y="3922"/>
                  </a:lnTo>
                  <a:lnTo>
                    <a:pt x="14534" y="3827"/>
                  </a:lnTo>
                  <a:lnTo>
                    <a:pt x="14499" y="3779"/>
                  </a:lnTo>
                  <a:lnTo>
                    <a:pt x="14487" y="3743"/>
                  </a:lnTo>
                  <a:lnTo>
                    <a:pt x="14534" y="3660"/>
                  </a:lnTo>
                  <a:lnTo>
                    <a:pt x="14546" y="3601"/>
                  </a:lnTo>
                  <a:lnTo>
                    <a:pt x="14629" y="3494"/>
                  </a:lnTo>
                  <a:lnTo>
                    <a:pt x="14641" y="3446"/>
                  </a:lnTo>
                  <a:lnTo>
                    <a:pt x="14653" y="3434"/>
                  </a:lnTo>
                  <a:lnTo>
                    <a:pt x="14665" y="3446"/>
                  </a:lnTo>
                  <a:lnTo>
                    <a:pt x="14677" y="3411"/>
                  </a:lnTo>
                  <a:lnTo>
                    <a:pt x="14748" y="3411"/>
                  </a:lnTo>
                  <a:lnTo>
                    <a:pt x="14796" y="3387"/>
                  </a:lnTo>
                  <a:lnTo>
                    <a:pt x="14891" y="3351"/>
                  </a:lnTo>
                  <a:lnTo>
                    <a:pt x="14927" y="3327"/>
                  </a:lnTo>
                  <a:lnTo>
                    <a:pt x="14938" y="3268"/>
                  </a:lnTo>
                  <a:lnTo>
                    <a:pt x="14974" y="3256"/>
                  </a:lnTo>
                  <a:lnTo>
                    <a:pt x="15033" y="3268"/>
                  </a:lnTo>
                  <a:lnTo>
                    <a:pt x="15093" y="3256"/>
                  </a:lnTo>
                  <a:lnTo>
                    <a:pt x="15117" y="3280"/>
                  </a:lnTo>
                  <a:lnTo>
                    <a:pt x="15129" y="3327"/>
                  </a:lnTo>
                  <a:lnTo>
                    <a:pt x="15152" y="3339"/>
                  </a:lnTo>
                  <a:lnTo>
                    <a:pt x="15236" y="3327"/>
                  </a:lnTo>
                  <a:lnTo>
                    <a:pt x="15271" y="3339"/>
                  </a:lnTo>
                  <a:lnTo>
                    <a:pt x="15295" y="3363"/>
                  </a:lnTo>
                  <a:lnTo>
                    <a:pt x="15307" y="3434"/>
                  </a:lnTo>
                  <a:lnTo>
                    <a:pt x="15319" y="3446"/>
                  </a:lnTo>
                  <a:lnTo>
                    <a:pt x="15366" y="3446"/>
                  </a:lnTo>
                  <a:lnTo>
                    <a:pt x="15378" y="3494"/>
                  </a:lnTo>
                  <a:lnTo>
                    <a:pt x="15414" y="3494"/>
                  </a:lnTo>
                  <a:lnTo>
                    <a:pt x="15426" y="3506"/>
                  </a:lnTo>
                  <a:lnTo>
                    <a:pt x="15426" y="3541"/>
                  </a:lnTo>
                  <a:lnTo>
                    <a:pt x="15449" y="3565"/>
                  </a:lnTo>
                  <a:lnTo>
                    <a:pt x="15449" y="3613"/>
                  </a:lnTo>
                  <a:lnTo>
                    <a:pt x="15473" y="3636"/>
                  </a:lnTo>
                  <a:lnTo>
                    <a:pt x="15461" y="3672"/>
                  </a:lnTo>
                  <a:lnTo>
                    <a:pt x="15473" y="3708"/>
                  </a:lnTo>
                  <a:lnTo>
                    <a:pt x="15485" y="3708"/>
                  </a:lnTo>
                  <a:lnTo>
                    <a:pt x="15533" y="3696"/>
                  </a:lnTo>
                  <a:lnTo>
                    <a:pt x="15568" y="3720"/>
                  </a:lnTo>
                  <a:lnTo>
                    <a:pt x="15592" y="3720"/>
                  </a:lnTo>
                  <a:lnTo>
                    <a:pt x="15651" y="3684"/>
                  </a:lnTo>
                  <a:lnTo>
                    <a:pt x="15711" y="3696"/>
                  </a:lnTo>
                  <a:lnTo>
                    <a:pt x="15735" y="3696"/>
                  </a:lnTo>
                  <a:lnTo>
                    <a:pt x="15770" y="3660"/>
                  </a:lnTo>
                  <a:lnTo>
                    <a:pt x="15794" y="3613"/>
                  </a:lnTo>
                  <a:lnTo>
                    <a:pt x="15806" y="3589"/>
                  </a:lnTo>
                  <a:lnTo>
                    <a:pt x="15853" y="3577"/>
                  </a:lnTo>
                  <a:lnTo>
                    <a:pt x="15901" y="3577"/>
                  </a:lnTo>
                  <a:lnTo>
                    <a:pt x="15972" y="3529"/>
                  </a:lnTo>
                  <a:lnTo>
                    <a:pt x="15996" y="3506"/>
                  </a:lnTo>
                  <a:lnTo>
                    <a:pt x="16008" y="3470"/>
                  </a:lnTo>
                  <a:lnTo>
                    <a:pt x="16008" y="3434"/>
                  </a:lnTo>
                  <a:lnTo>
                    <a:pt x="15949" y="3375"/>
                  </a:lnTo>
                  <a:lnTo>
                    <a:pt x="15925" y="3363"/>
                  </a:lnTo>
                  <a:lnTo>
                    <a:pt x="15925" y="3351"/>
                  </a:lnTo>
                  <a:lnTo>
                    <a:pt x="15925" y="3316"/>
                  </a:lnTo>
                  <a:lnTo>
                    <a:pt x="15925" y="3280"/>
                  </a:lnTo>
                  <a:lnTo>
                    <a:pt x="15925" y="3268"/>
                  </a:lnTo>
                  <a:lnTo>
                    <a:pt x="15960" y="3244"/>
                  </a:lnTo>
                  <a:lnTo>
                    <a:pt x="15949" y="3209"/>
                  </a:lnTo>
                  <a:lnTo>
                    <a:pt x="15949" y="3185"/>
                  </a:lnTo>
                  <a:lnTo>
                    <a:pt x="15972" y="3161"/>
                  </a:lnTo>
                  <a:lnTo>
                    <a:pt x="16020" y="2983"/>
                  </a:lnTo>
                  <a:lnTo>
                    <a:pt x="16067" y="2912"/>
                  </a:lnTo>
                  <a:lnTo>
                    <a:pt x="16103" y="2757"/>
                  </a:lnTo>
                  <a:lnTo>
                    <a:pt x="16174" y="2698"/>
                  </a:lnTo>
                  <a:lnTo>
                    <a:pt x="16186" y="2662"/>
                  </a:lnTo>
                  <a:lnTo>
                    <a:pt x="16222" y="2603"/>
                  </a:lnTo>
                  <a:lnTo>
                    <a:pt x="16246" y="2555"/>
                  </a:lnTo>
                  <a:lnTo>
                    <a:pt x="16305" y="2484"/>
                  </a:lnTo>
                  <a:lnTo>
                    <a:pt x="16317" y="2460"/>
                  </a:lnTo>
                  <a:lnTo>
                    <a:pt x="16293" y="2401"/>
                  </a:lnTo>
                  <a:lnTo>
                    <a:pt x="16353" y="2412"/>
                  </a:lnTo>
                  <a:lnTo>
                    <a:pt x="17695" y="2412"/>
                  </a:lnTo>
                  <a:lnTo>
                    <a:pt x="17695" y="2412"/>
                  </a:lnTo>
                  <a:lnTo>
                    <a:pt x="17695" y="2579"/>
                  </a:lnTo>
                  <a:lnTo>
                    <a:pt x="17707" y="2603"/>
                  </a:lnTo>
                  <a:lnTo>
                    <a:pt x="17707" y="2745"/>
                  </a:lnTo>
                  <a:lnTo>
                    <a:pt x="17755" y="2769"/>
                  </a:lnTo>
                  <a:lnTo>
                    <a:pt x="17791" y="2805"/>
                  </a:lnTo>
                  <a:lnTo>
                    <a:pt x="17791" y="2828"/>
                  </a:lnTo>
                  <a:lnTo>
                    <a:pt x="17755" y="2923"/>
                  </a:lnTo>
                  <a:lnTo>
                    <a:pt x="17755" y="3102"/>
                  </a:lnTo>
                  <a:lnTo>
                    <a:pt x="17791" y="3137"/>
                  </a:lnTo>
                  <a:lnTo>
                    <a:pt x="17886" y="3185"/>
                  </a:lnTo>
                  <a:lnTo>
                    <a:pt x="17909" y="3220"/>
                  </a:lnTo>
                  <a:lnTo>
                    <a:pt x="17945" y="3339"/>
                  </a:lnTo>
                  <a:lnTo>
                    <a:pt x="17945" y="3351"/>
                  </a:lnTo>
                  <a:lnTo>
                    <a:pt x="17921" y="3363"/>
                  </a:lnTo>
                  <a:lnTo>
                    <a:pt x="17909" y="3387"/>
                  </a:lnTo>
                  <a:lnTo>
                    <a:pt x="17909" y="3446"/>
                  </a:lnTo>
                  <a:lnTo>
                    <a:pt x="17921" y="3482"/>
                  </a:lnTo>
                  <a:lnTo>
                    <a:pt x="17957" y="3518"/>
                  </a:lnTo>
                  <a:lnTo>
                    <a:pt x="17981" y="3529"/>
                  </a:lnTo>
                  <a:lnTo>
                    <a:pt x="18135" y="3672"/>
                  </a:lnTo>
                  <a:lnTo>
                    <a:pt x="18171" y="3684"/>
                  </a:lnTo>
                  <a:lnTo>
                    <a:pt x="18183" y="3672"/>
                  </a:lnTo>
                  <a:lnTo>
                    <a:pt x="18218" y="3720"/>
                  </a:lnTo>
                  <a:lnTo>
                    <a:pt x="18278" y="3743"/>
                  </a:lnTo>
                  <a:lnTo>
                    <a:pt x="18278" y="3755"/>
                  </a:lnTo>
                  <a:lnTo>
                    <a:pt x="18254" y="3791"/>
                  </a:lnTo>
                  <a:lnTo>
                    <a:pt x="18278" y="3827"/>
                  </a:lnTo>
                  <a:lnTo>
                    <a:pt x="18290" y="3934"/>
                  </a:lnTo>
                  <a:lnTo>
                    <a:pt x="18313" y="3957"/>
                  </a:lnTo>
                  <a:lnTo>
                    <a:pt x="18373" y="3993"/>
                  </a:lnTo>
                  <a:lnTo>
                    <a:pt x="18409" y="4040"/>
                  </a:lnTo>
                  <a:lnTo>
                    <a:pt x="18456" y="4040"/>
                  </a:lnTo>
                  <a:lnTo>
                    <a:pt x="18480" y="4052"/>
                  </a:lnTo>
                  <a:lnTo>
                    <a:pt x="18551" y="4136"/>
                  </a:lnTo>
                  <a:lnTo>
                    <a:pt x="18599" y="4147"/>
                  </a:lnTo>
                  <a:lnTo>
                    <a:pt x="18634" y="4136"/>
                  </a:lnTo>
                  <a:lnTo>
                    <a:pt x="18682" y="4064"/>
                  </a:lnTo>
                  <a:lnTo>
                    <a:pt x="18717" y="4052"/>
                  </a:lnTo>
                  <a:lnTo>
                    <a:pt x="18729" y="4040"/>
                  </a:lnTo>
                  <a:lnTo>
                    <a:pt x="18729" y="4005"/>
                  </a:lnTo>
                  <a:lnTo>
                    <a:pt x="18741" y="4005"/>
                  </a:lnTo>
                  <a:lnTo>
                    <a:pt x="18765" y="4005"/>
                  </a:lnTo>
                  <a:lnTo>
                    <a:pt x="18801" y="4076"/>
                  </a:lnTo>
                  <a:lnTo>
                    <a:pt x="18824" y="4100"/>
                  </a:lnTo>
                  <a:lnTo>
                    <a:pt x="18836" y="4147"/>
                  </a:lnTo>
                  <a:lnTo>
                    <a:pt x="18801" y="4302"/>
                  </a:lnTo>
                  <a:lnTo>
                    <a:pt x="18848" y="4349"/>
                  </a:lnTo>
                  <a:lnTo>
                    <a:pt x="18884" y="4373"/>
                  </a:lnTo>
                  <a:lnTo>
                    <a:pt x="18967" y="4397"/>
                  </a:lnTo>
                  <a:lnTo>
                    <a:pt x="19050" y="4480"/>
                  </a:lnTo>
                  <a:lnTo>
                    <a:pt x="19133" y="4516"/>
                  </a:lnTo>
                  <a:lnTo>
                    <a:pt x="19157" y="4563"/>
                  </a:lnTo>
                  <a:lnTo>
                    <a:pt x="19169" y="4575"/>
                  </a:lnTo>
                  <a:lnTo>
                    <a:pt x="19240" y="4575"/>
                  </a:lnTo>
                  <a:lnTo>
                    <a:pt x="19276" y="4551"/>
                  </a:lnTo>
                  <a:lnTo>
                    <a:pt x="19300" y="4587"/>
                  </a:lnTo>
                  <a:lnTo>
                    <a:pt x="19324" y="4599"/>
                  </a:lnTo>
                  <a:lnTo>
                    <a:pt x="19359" y="4647"/>
                  </a:lnTo>
                  <a:lnTo>
                    <a:pt x="19442" y="4682"/>
                  </a:lnTo>
                  <a:lnTo>
                    <a:pt x="19454" y="4682"/>
                  </a:lnTo>
                  <a:lnTo>
                    <a:pt x="19502" y="4682"/>
                  </a:lnTo>
                  <a:lnTo>
                    <a:pt x="19549" y="4742"/>
                  </a:lnTo>
                  <a:lnTo>
                    <a:pt x="19692" y="4742"/>
                  </a:lnTo>
                  <a:lnTo>
                    <a:pt x="19728" y="4730"/>
                  </a:lnTo>
                  <a:lnTo>
                    <a:pt x="19763" y="4730"/>
                  </a:lnTo>
                  <a:lnTo>
                    <a:pt x="19823" y="4789"/>
                  </a:lnTo>
                  <a:lnTo>
                    <a:pt x="19906" y="4825"/>
                  </a:lnTo>
                  <a:lnTo>
                    <a:pt x="19918" y="4860"/>
                  </a:lnTo>
                  <a:lnTo>
                    <a:pt x="19930" y="4908"/>
                  </a:lnTo>
                  <a:lnTo>
                    <a:pt x="19930" y="4920"/>
                  </a:lnTo>
                  <a:lnTo>
                    <a:pt x="19953" y="4956"/>
                  </a:lnTo>
                  <a:lnTo>
                    <a:pt x="19977" y="4979"/>
                  </a:lnTo>
                  <a:lnTo>
                    <a:pt x="20013" y="4991"/>
                  </a:lnTo>
                  <a:lnTo>
                    <a:pt x="20025" y="4991"/>
                  </a:lnTo>
                  <a:lnTo>
                    <a:pt x="20072" y="5027"/>
                  </a:lnTo>
                  <a:lnTo>
                    <a:pt x="20144" y="5051"/>
                  </a:lnTo>
                  <a:lnTo>
                    <a:pt x="20167" y="5074"/>
                  </a:lnTo>
                  <a:lnTo>
                    <a:pt x="20262" y="5086"/>
                  </a:lnTo>
                  <a:lnTo>
                    <a:pt x="20310" y="5122"/>
                  </a:lnTo>
                  <a:lnTo>
                    <a:pt x="20322" y="5146"/>
                  </a:lnTo>
                  <a:lnTo>
                    <a:pt x="20322" y="5169"/>
                  </a:lnTo>
                  <a:lnTo>
                    <a:pt x="20298" y="5241"/>
                  </a:lnTo>
                  <a:lnTo>
                    <a:pt x="20298" y="5276"/>
                  </a:lnTo>
                  <a:lnTo>
                    <a:pt x="20381" y="5312"/>
                  </a:lnTo>
                  <a:lnTo>
                    <a:pt x="20453" y="5312"/>
                  </a:lnTo>
                  <a:lnTo>
                    <a:pt x="20512" y="5276"/>
                  </a:lnTo>
                  <a:lnTo>
                    <a:pt x="20571" y="5265"/>
                  </a:lnTo>
                  <a:lnTo>
                    <a:pt x="20690" y="5288"/>
                  </a:lnTo>
                  <a:lnTo>
                    <a:pt x="20750" y="5276"/>
                  </a:lnTo>
                  <a:lnTo>
                    <a:pt x="20785" y="5253"/>
                  </a:lnTo>
                  <a:lnTo>
                    <a:pt x="20821" y="5241"/>
                  </a:lnTo>
                  <a:lnTo>
                    <a:pt x="20833" y="5217"/>
                  </a:lnTo>
                  <a:lnTo>
                    <a:pt x="20857" y="5217"/>
                  </a:lnTo>
                  <a:lnTo>
                    <a:pt x="20880" y="5158"/>
                  </a:lnTo>
                  <a:lnTo>
                    <a:pt x="20904" y="5146"/>
                  </a:lnTo>
                  <a:lnTo>
                    <a:pt x="21094" y="5110"/>
                  </a:lnTo>
                  <a:lnTo>
                    <a:pt x="21035" y="5229"/>
                  </a:lnTo>
                  <a:lnTo>
                    <a:pt x="20987" y="5265"/>
                  </a:lnTo>
                  <a:lnTo>
                    <a:pt x="20892" y="5324"/>
                  </a:lnTo>
                  <a:lnTo>
                    <a:pt x="20857" y="5348"/>
                  </a:lnTo>
                  <a:lnTo>
                    <a:pt x="20750" y="5383"/>
                  </a:lnTo>
                  <a:lnTo>
                    <a:pt x="20714" y="5443"/>
                  </a:lnTo>
                  <a:lnTo>
                    <a:pt x="20714" y="5526"/>
                  </a:lnTo>
                  <a:lnTo>
                    <a:pt x="20726" y="5550"/>
                  </a:lnTo>
                  <a:lnTo>
                    <a:pt x="20726" y="5585"/>
                  </a:lnTo>
                  <a:lnTo>
                    <a:pt x="20167" y="6821"/>
                  </a:lnTo>
                  <a:lnTo>
                    <a:pt x="20132" y="6869"/>
                  </a:lnTo>
                  <a:lnTo>
                    <a:pt x="20132" y="6916"/>
                  </a:lnTo>
                  <a:lnTo>
                    <a:pt x="20096" y="6964"/>
                  </a:lnTo>
                  <a:lnTo>
                    <a:pt x="19466" y="8354"/>
                  </a:lnTo>
                  <a:lnTo>
                    <a:pt x="19419" y="8426"/>
                  </a:lnTo>
                  <a:lnTo>
                    <a:pt x="19419" y="8461"/>
                  </a:lnTo>
                  <a:lnTo>
                    <a:pt x="19050" y="9246"/>
                  </a:lnTo>
                  <a:lnTo>
                    <a:pt x="19015" y="9317"/>
                  </a:lnTo>
                  <a:lnTo>
                    <a:pt x="19015" y="9341"/>
                  </a:lnTo>
                  <a:lnTo>
                    <a:pt x="18931" y="9507"/>
                  </a:lnTo>
                  <a:lnTo>
                    <a:pt x="18920" y="9543"/>
                  </a:lnTo>
                  <a:lnTo>
                    <a:pt x="18920" y="9555"/>
                  </a:lnTo>
                  <a:lnTo>
                    <a:pt x="18884" y="9590"/>
                  </a:lnTo>
                  <a:lnTo>
                    <a:pt x="18753" y="9911"/>
                  </a:lnTo>
                  <a:lnTo>
                    <a:pt x="18706" y="9982"/>
                  </a:lnTo>
                  <a:lnTo>
                    <a:pt x="18694" y="10042"/>
                  </a:lnTo>
                  <a:lnTo>
                    <a:pt x="18670" y="10066"/>
                  </a:lnTo>
                  <a:lnTo>
                    <a:pt x="18539" y="10375"/>
                  </a:lnTo>
                  <a:lnTo>
                    <a:pt x="18468" y="10410"/>
                  </a:lnTo>
                  <a:lnTo>
                    <a:pt x="18444" y="10446"/>
                  </a:lnTo>
                  <a:lnTo>
                    <a:pt x="18420" y="10493"/>
                  </a:lnTo>
                  <a:lnTo>
                    <a:pt x="18302" y="10577"/>
                  </a:lnTo>
                  <a:lnTo>
                    <a:pt x="18278" y="10636"/>
                  </a:lnTo>
                  <a:lnTo>
                    <a:pt x="18230" y="10684"/>
                  </a:lnTo>
                  <a:lnTo>
                    <a:pt x="18230" y="10707"/>
                  </a:lnTo>
                  <a:lnTo>
                    <a:pt x="18230" y="10755"/>
                  </a:lnTo>
                  <a:lnTo>
                    <a:pt x="18242" y="10838"/>
                  </a:lnTo>
                  <a:lnTo>
                    <a:pt x="18278" y="10886"/>
                  </a:lnTo>
                  <a:lnTo>
                    <a:pt x="18290" y="10933"/>
                  </a:lnTo>
                  <a:lnTo>
                    <a:pt x="18349" y="11004"/>
                  </a:lnTo>
                  <a:lnTo>
                    <a:pt x="18373" y="11016"/>
                  </a:lnTo>
                  <a:lnTo>
                    <a:pt x="18385" y="11016"/>
                  </a:lnTo>
                  <a:lnTo>
                    <a:pt x="18409" y="11052"/>
                  </a:lnTo>
                  <a:lnTo>
                    <a:pt x="18444" y="11076"/>
                  </a:lnTo>
                  <a:lnTo>
                    <a:pt x="18480" y="11135"/>
                  </a:lnTo>
                  <a:lnTo>
                    <a:pt x="18563" y="11195"/>
                  </a:lnTo>
                  <a:lnTo>
                    <a:pt x="18611" y="11278"/>
                  </a:lnTo>
                  <a:lnTo>
                    <a:pt x="18622" y="11337"/>
                  </a:lnTo>
                  <a:lnTo>
                    <a:pt x="18634" y="11385"/>
                  </a:lnTo>
                  <a:lnTo>
                    <a:pt x="18634" y="11456"/>
                  </a:lnTo>
                  <a:lnTo>
                    <a:pt x="18646" y="11480"/>
                  </a:lnTo>
                  <a:lnTo>
                    <a:pt x="18670" y="11504"/>
                  </a:lnTo>
                  <a:lnTo>
                    <a:pt x="18670" y="11515"/>
                  </a:lnTo>
                  <a:lnTo>
                    <a:pt x="18670" y="11515"/>
                  </a:lnTo>
                  <a:close/>
                </a:path>
              </a:pathLst>
            </a:custGeom>
            <a:solidFill>
              <a:srgbClr val="EAEAEA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18" name="Freeform 308"/>
            <p:cNvSpPr>
              <a:spLocks/>
            </p:cNvSpPr>
            <p:nvPr/>
          </p:nvSpPr>
          <p:spPr bwMode="auto">
            <a:xfrm>
              <a:off x="-32061150" y="-9275763"/>
              <a:ext cx="14093825" cy="7508875"/>
            </a:xfrm>
            <a:custGeom>
              <a:avLst/>
              <a:gdLst/>
              <a:ahLst/>
              <a:cxnLst>
                <a:cxn ang="0">
                  <a:pos x="286" y="237"/>
                </a:cxn>
                <a:cxn ang="0">
                  <a:pos x="167" y="309"/>
                </a:cxn>
                <a:cxn ang="0">
                  <a:pos x="48" y="475"/>
                </a:cxn>
                <a:cxn ang="0">
                  <a:pos x="0" y="582"/>
                </a:cxn>
                <a:cxn ang="0">
                  <a:pos x="155" y="748"/>
                </a:cxn>
                <a:cxn ang="0">
                  <a:pos x="309" y="808"/>
                </a:cxn>
                <a:cxn ang="0">
                  <a:pos x="321" y="950"/>
                </a:cxn>
                <a:cxn ang="0">
                  <a:pos x="357" y="1093"/>
                </a:cxn>
                <a:cxn ang="0">
                  <a:pos x="523" y="1414"/>
                </a:cxn>
                <a:cxn ang="0">
                  <a:pos x="690" y="1616"/>
                </a:cxn>
                <a:cxn ang="0">
                  <a:pos x="820" y="1723"/>
                </a:cxn>
                <a:cxn ang="0">
                  <a:pos x="1034" y="1984"/>
                </a:cxn>
                <a:cxn ang="0">
                  <a:pos x="1308" y="2353"/>
                </a:cxn>
                <a:cxn ang="0">
                  <a:pos x="1177" y="2662"/>
                </a:cxn>
                <a:cxn ang="0">
                  <a:pos x="1629" y="2840"/>
                </a:cxn>
                <a:cxn ang="0">
                  <a:pos x="1878" y="2911"/>
                </a:cxn>
                <a:cxn ang="0">
                  <a:pos x="2092" y="2899"/>
                </a:cxn>
                <a:cxn ang="0">
                  <a:pos x="2187" y="2923"/>
                </a:cxn>
                <a:cxn ang="0">
                  <a:pos x="2211" y="3042"/>
                </a:cxn>
                <a:cxn ang="0">
                  <a:pos x="2235" y="3268"/>
                </a:cxn>
                <a:cxn ang="0">
                  <a:pos x="2282" y="3482"/>
                </a:cxn>
                <a:cxn ang="0">
                  <a:pos x="2793" y="3505"/>
                </a:cxn>
                <a:cxn ang="0">
                  <a:pos x="3292" y="3458"/>
                </a:cxn>
                <a:cxn ang="0">
                  <a:pos x="3518" y="3256"/>
                </a:cxn>
                <a:cxn ang="0">
                  <a:pos x="3744" y="3101"/>
                </a:cxn>
                <a:cxn ang="0">
                  <a:pos x="3982" y="2899"/>
                </a:cxn>
                <a:cxn ang="0">
                  <a:pos x="4172" y="2709"/>
                </a:cxn>
                <a:cxn ang="0">
                  <a:pos x="4243" y="2733"/>
                </a:cxn>
                <a:cxn ang="0">
                  <a:pos x="4207" y="2864"/>
                </a:cxn>
                <a:cxn ang="0">
                  <a:pos x="4184" y="2983"/>
                </a:cxn>
                <a:cxn ang="0">
                  <a:pos x="4231" y="3137"/>
                </a:cxn>
                <a:cxn ang="0">
                  <a:pos x="4136" y="3387"/>
                </a:cxn>
                <a:cxn ang="0">
                  <a:pos x="4279" y="4587"/>
                </a:cxn>
                <a:cxn ang="0">
                  <a:pos x="4683" y="4718"/>
                </a:cxn>
                <a:cxn ang="0">
                  <a:pos x="4920" y="4575"/>
                </a:cxn>
                <a:cxn ang="0">
                  <a:pos x="5396" y="4551"/>
                </a:cxn>
                <a:cxn ang="0">
                  <a:pos x="5823" y="4516"/>
                </a:cxn>
                <a:cxn ang="0">
                  <a:pos x="6299" y="4551"/>
                </a:cxn>
                <a:cxn ang="0">
                  <a:pos x="6477" y="4682"/>
                </a:cxn>
                <a:cxn ang="0">
                  <a:pos x="6715" y="4634"/>
                </a:cxn>
                <a:cxn ang="0">
                  <a:pos x="6929" y="4527"/>
                </a:cxn>
                <a:cxn ang="0">
                  <a:pos x="7131" y="4302"/>
                </a:cxn>
                <a:cxn ang="0">
                  <a:pos x="7345" y="4076"/>
                </a:cxn>
                <a:cxn ang="0">
                  <a:pos x="7606" y="4088"/>
                </a:cxn>
                <a:cxn ang="0">
                  <a:pos x="7784" y="3969"/>
                </a:cxn>
                <a:cxn ang="0">
                  <a:pos x="7998" y="3708"/>
                </a:cxn>
                <a:cxn ang="0">
                  <a:pos x="8188" y="3624"/>
                </a:cxn>
                <a:cxn ang="0">
                  <a:pos x="8676" y="3280"/>
                </a:cxn>
                <a:cxn ang="0">
                  <a:pos x="8723" y="3042"/>
                </a:cxn>
                <a:cxn ang="0">
                  <a:pos x="8545" y="2959"/>
                </a:cxn>
                <a:cxn ang="0">
                  <a:pos x="6394" y="2127"/>
                </a:cxn>
                <a:cxn ang="0">
                  <a:pos x="202" y="0"/>
                </a:cxn>
              </a:cxnLst>
              <a:rect l="0" t="0" r="r" b="b"/>
              <a:pathLst>
                <a:path w="8878" h="4730">
                  <a:moveTo>
                    <a:pt x="202" y="0"/>
                  </a:moveTo>
                  <a:lnTo>
                    <a:pt x="202" y="0"/>
                  </a:lnTo>
                  <a:lnTo>
                    <a:pt x="202" y="35"/>
                  </a:lnTo>
                  <a:lnTo>
                    <a:pt x="286" y="237"/>
                  </a:lnTo>
                  <a:lnTo>
                    <a:pt x="274" y="297"/>
                  </a:lnTo>
                  <a:lnTo>
                    <a:pt x="250" y="309"/>
                  </a:lnTo>
                  <a:lnTo>
                    <a:pt x="202" y="309"/>
                  </a:lnTo>
                  <a:lnTo>
                    <a:pt x="167" y="309"/>
                  </a:lnTo>
                  <a:lnTo>
                    <a:pt x="107" y="344"/>
                  </a:lnTo>
                  <a:lnTo>
                    <a:pt x="24" y="333"/>
                  </a:lnTo>
                  <a:lnTo>
                    <a:pt x="12" y="380"/>
                  </a:lnTo>
                  <a:lnTo>
                    <a:pt x="48" y="475"/>
                  </a:lnTo>
                  <a:lnTo>
                    <a:pt x="36" y="475"/>
                  </a:lnTo>
                  <a:lnTo>
                    <a:pt x="36" y="511"/>
                  </a:lnTo>
                  <a:lnTo>
                    <a:pt x="0" y="558"/>
                  </a:lnTo>
                  <a:lnTo>
                    <a:pt x="0" y="582"/>
                  </a:lnTo>
                  <a:lnTo>
                    <a:pt x="60" y="653"/>
                  </a:lnTo>
                  <a:lnTo>
                    <a:pt x="119" y="689"/>
                  </a:lnTo>
                  <a:lnTo>
                    <a:pt x="131" y="725"/>
                  </a:lnTo>
                  <a:lnTo>
                    <a:pt x="155" y="748"/>
                  </a:lnTo>
                  <a:lnTo>
                    <a:pt x="191" y="784"/>
                  </a:lnTo>
                  <a:lnTo>
                    <a:pt x="214" y="808"/>
                  </a:lnTo>
                  <a:lnTo>
                    <a:pt x="250" y="808"/>
                  </a:lnTo>
                  <a:lnTo>
                    <a:pt x="309" y="808"/>
                  </a:lnTo>
                  <a:lnTo>
                    <a:pt x="345" y="844"/>
                  </a:lnTo>
                  <a:lnTo>
                    <a:pt x="357" y="879"/>
                  </a:lnTo>
                  <a:lnTo>
                    <a:pt x="357" y="915"/>
                  </a:lnTo>
                  <a:lnTo>
                    <a:pt x="321" y="950"/>
                  </a:lnTo>
                  <a:lnTo>
                    <a:pt x="286" y="1010"/>
                  </a:lnTo>
                  <a:lnTo>
                    <a:pt x="298" y="1046"/>
                  </a:lnTo>
                  <a:lnTo>
                    <a:pt x="309" y="1081"/>
                  </a:lnTo>
                  <a:lnTo>
                    <a:pt x="357" y="1093"/>
                  </a:lnTo>
                  <a:lnTo>
                    <a:pt x="440" y="1176"/>
                  </a:lnTo>
                  <a:lnTo>
                    <a:pt x="488" y="1283"/>
                  </a:lnTo>
                  <a:lnTo>
                    <a:pt x="500" y="1355"/>
                  </a:lnTo>
                  <a:lnTo>
                    <a:pt x="523" y="1414"/>
                  </a:lnTo>
                  <a:lnTo>
                    <a:pt x="559" y="1450"/>
                  </a:lnTo>
                  <a:lnTo>
                    <a:pt x="571" y="1521"/>
                  </a:lnTo>
                  <a:lnTo>
                    <a:pt x="595" y="1557"/>
                  </a:lnTo>
                  <a:lnTo>
                    <a:pt x="690" y="1616"/>
                  </a:lnTo>
                  <a:lnTo>
                    <a:pt x="749" y="1687"/>
                  </a:lnTo>
                  <a:lnTo>
                    <a:pt x="797" y="1699"/>
                  </a:lnTo>
                  <a:lnTo>
                    <a:pt x="820" y="1711"/>
                  </a:lnTo>
                  <a:lnTo>
                    <a:pt x="820" y="1723"/>
                  </a:lnTo>
                  <a:lnTo>
                    <a:pt x="832" y="1866"/>
                  </a:lnTo>
                  <a:lnTo>
                    <a:pt x="844" y="1877"/>
                  </a:lnTo>
                  <a:lnTo>
                    <a:pt x="892" y="1925"/>
                  </a:lnTo>
                  <a:lnTo>
                    <a:pt x="1034" y="1984"/>
                  </a:lnTo>
                  <a:lnTo>
                    <a:pt x="1094" y="2068"/>
                  </a:lnTo>
                  <a:lnTo>
                    <a:pt x="1165" y="2163"/>
                  </a:lnTo>
                  <a:lnTo>
                    <a:pt x="1284" y="2293"/>
                  </a:lnTo>
                  <a:lnTo>
                    <a:pt x="1308" y="2353"/>
                  </a:lnTo>
                  <a:lnTo>
                    <a:pt x="1308" y="2436"/>
                  </a:lnTo>
                  <a:lnTo>
                    <a:pt x="1284" y="2543"/>
                  </a:lnTo>
                  <a:lnTo>
                    <a:pt x="1260" y="2579"/>
                  </a:lnTo>
                  <a:lnTo>
                    <a:pt x="1177" y="2662"/>
                  </a:lnTo>
                  <a:lnTo>
                    <a:pt x="1082" y="2804"/>
                  </a:lnTo>
                  <a:lnTo>
                    <a:pt x="1046" y="2852"/>
                  </a:lnTo>
                  <a:lnTo>
                    <a:pt x="1046" y="2864"/>
                  </a:lnTo>
                  <a:lnTo>
                    <a:pt x="1629" y="2840"/>
                  </a:lnTo>
                  <a:lnTo>
                    <a:pt x="1640" y="2792"/>
                  </a:lnTo>
                  <a:lnTo>
                    <a:pt x="1747" y="2876"/>
                  </a:lnTo>
                  <a:lnTo>
                    <a:pt x="1831" y="2888"/>
                  </a:lnTo>
                  <a:lnTo>
                    <a:pt x="1878" y="2911"/>
                  </a:lnTo>
                  <a:lnTo>
                    <a:pt x="1937" y="2899"/>
                  </a:lnTo>
                  <a:lnTo>
                    <a:pt x="1961" y="2888"/>
                  </a:lnTo>
                  <a:lnTo>
                    <a:pt x="1997" y="2888"/>
                  </a:lnTo>
                  <a:lnTo>
                    <a:pt x="2092" y="2899"/>
                  </a:lnTo>
                  <a:lnTo>
                    <a:pt x="2116" y="2947"/>
                  </a:lnTo>
                  <a:lnTo>
                    <a:pt x="2151" y="2911"/>
                  </a:lnTo>
                  <a:lnTo>
                    <a:pt x="2175" y="2911"/>
                  </a:lnTo>
                  <a:lnTo>
                    <a:pt x="2187" y="2923"/>
                  </a:lnTo>
                  <a:lnTo>
                    <a:pt x="2187" y="2947"/>
                  </a:lnTo>
                  <a:lnTo>
                    <a:pt x="2175" y="2994"/>
                  </a:lnTo>
                  <a:lnTo>
                    <a:pt x="2187" y="3018"/>
                  </a:lnTo>
                  <a:lnTo>
                    <a:pt x="2211" y="3042"/>
                  </a:lnTo>
                  <a:lnTo>
                    <a:pt x="2211" y="3101"/>
                  </a:lnTo>
                  <a:lnTo>
                    <a:pt x="2187" y="3137"/>
                  </a:lnTo>
                  <a:lnTo>
                    <a:pt x="2199" y="3220"/>
                  </a:lnTo>
                  <a:lnTo>
                    <a:pt x="2235" y="3268"/>
                  </a:lnTo>
                  <a:lnTo>
                    <a:pt x="2282" y="3292"/>
                  </a:lnTo>
                  <a:lnTo>
                    <a:pt x="2306" y="3351"/>
                  </a:lnTo>
                  <a:lnTo>
                    <a:pt x="2306" y="3387"/>
                  </a:lnTo>
                  <a:lnTo>
                    <a:pt x="2282" y="3482"/>
                  </a:lnTo>
                  <a:lnTo>
                    <a:pt x="2294" y="3517"/>
                  </a:lnTo>
                  <a:lnTo>
                    <a:pt x="2674" y="3505"/>
                  </a:lnTo>
                  <a:lnTo>
                    <a:pt x="2686" y="3494"/>
                  </a:lnTo>
                  <a:lnTo>
                    <a:pt x="2793" y="3505"/>
                  </a:lnTo>
                  <a:lnTo>
                    <a:pt x="3007" y="3482"/>
                  </a:lnTo>
                  <a:lnTo>
                    <a:pt x="3126" y="3482"/>
                  </a:lnTo>
                  <a:lnTo>
                    <a:pt x="3209" y="3482"/>
                  </a:lnTo>
                  <a:lnTo>
                    <a:pt x="3292" y="3458"/>
                  </a:lnTo>
                  <a:lnTo>
                    <a:pt x="3399" y="3399"/>
                  </a:lnTo>
                  <a:lnTo>
                    <a:pt x="3447" y="3351"/>
                  </a:lnTo>
                  <a:lnTo>
                    <a:pt x="3494" y="3256"/>
                  </a:lnTo>
                  <a:lnTo>
                    <a:pt x="3518" y="3256"/>
                  </a:lnTo>
                  <a:lnTo>
                    <a:pt x="3566" y="3232"/>
                  </a:lnTo>
                  <a:lnTo>
                    <a:pt x="3649" y="3220"/>
                  </a:lnTo>
                  <a:lnTo>
                    <a:pt x="3684" y="3197"/>
                  </a:lnTo>
                  <a:lnTo>
                    <a:pt x="3744" y="3101"/>
                  </a:lnTo>
                  <a:lnTo>
                    <a:pt x="3827" y="3042"/>
                  </a:lnTo>
                  <a:lnTo>
                    <a:pt x="3886" y="2971"/>
                  </a:lnTo>
                  <a:lnTo>
                    <a:pt x="3946" y="2947"/>
                  </a:lnTo>
                  <a:lnTo>
                    <a:pt x="3982" y="2899"/>
                  </a:lnTo>
                  <a:lnTo>
                    <a:pt x="4005" y="2852"/>
                  </a:lnTo>
                  <a:lnTo>
                    <a:pt x="4065" y="2816"/>
                  </a:lnTo>
                  <a:lnTo>
                    <a:pt x="4100" y="2757"/>
                  </a:lnTo>
                  <a:lnTo>
                    <a:pt x="4172" y="2709"/>
                  </a:lnTo>
                  <a:lnTo>
                    <a:pt x="4267" y="2685"/>
                  </a:lnTo>
                  <a:lnTo>
                    <a:pt x="4279" y="2674"/>
                  </a:lnTo>
                  <a:lnTo>
                    <a:pt x="4279" y="2697"/>
                  </a:lnTo>
                  <a:lnTo>
                    <a:pt x="4243" y="2733"/>
                  </a:lnTo>
                  <a:lnTo>
                    <a:pt x="4255" y="2769"/>
                  </a:lnTo>
                  <a:lnTo>
                    <a:pt x="4231" y="2804"/>
                  </a:lnTo>
                  <a:lnTo>
                    <a:pt x="4219" y="2852"/>
                  </a:lnTo>
                  <a:lnTo>
                    <a:pt x="4207" y="2864"/>
                  </a:lnTo>
                  <a:lnTo>
                    <a:pt x="4184" y="2876"/>
                  </a:lnTo>
                  <a:lnTo>
                    <a:pt x="4172" y="2899"/>
                  </a:lnTo>
                  <a:lnTo>
                    <a:pt x="4172" y="2947"/>
                  </a:lnTo>
                  <a:lnTo>
                    <a:pt x="4184" y="2983"/>
                  </a:lnTo>
                  <a:lnTo>
                    <a:pt x="4207" y="2983"/>
                  </a:lnTo>
                  <a:lnTo>
                    <a:pt x="4231" y="3018"/>
                  </a:lnTo>
                  <a:lnTo>
                    <a:pt x="4243" y="3066"/>
                  </a:lnTo>
                  <a:lnTo>
                    <a:pt x="4231" y="3137"/>
                  </a:lnTo>
                  <a:lnTo>
                    <a:pt x="4172" y="3173"/>
                  </a:lnTo>
                  <a:lnTo>
                    <a:pt x="4136" y="3197"/>
                  </a:lnTo>
                  <a:lnTo>
                    <a:pt x="4148" y="3363"/>
                  </a:lnTo>
                  <a:lnTo>
                    <a:pt x="4136" y="3387"/>
                  </a:lnTo>
                  <a:lnTo>
                    <a:pt x="4160" y="3434"/>
                  </a:lnTo>
                  <a:lnTo>
                    <a:pt x="4160" y="3446"/>
                  </a:lnTo>
                  <a:lnTo>
                    <a:pt x="4219" y="4599"/>
                  </a:lnTo>
                  <a:lnTo>
                    <a:pt x="4279" y="4587"/>
                  </a:lnTo>
                  <a:lnTo>
                    <a:pt x="4326" y="4587"/>
                  </a:lnTo>
                  <a:lnTo>
                    <a:pt x="4493" y="4718"/>
                  </a:lnTo>
                  <a:lnTo>
                    <a:pt x="4540" y="4730"/>
                  </a:lnTo>
                  <a:lnTo>
                    <a:pt x="4683" y="4718"/>
                  </a:lnTo>
                  <a:lnTo>
                    <a:pt x="4778" y="4682"/>
                  </a:lnTo>
                  <a:lnTo>
                    <a:pt x="4861" y="4634"/>
                  </a:lnTo>
                  <a:lnTo>
                    <a:pt x="4885" y="4599"/>
                  </a:lnTo>
                  <a:lnTo>
                    <a:pt x="4920" y="4575"/>
                  </a:lnTo>
                  <a:lnTo>
                    <a:pt x="5075" y="4527"/>
                  </a:lnTo>
                  <a:lnTo>
                    <a:pt x="5206" y="4527"/>
                  </a:lnTo>
                  <a:lnTo>
                    <a:pt x="5289" y="4551"/>
                  </a:lnTo>
                  <a:lnTo>
                    <a:pt x="5396" y="4551"/>
                  </a:lnTo>
                  <a:lnTo>
                    <a:pt x="5491" y="4516"/>
                  </a:lnTo>
                  <a:lnTo>
                    <a:pt x="5621" y="4504"/>
                  </a:lnTo>
                  <a:lnTo>
                    <a:pt x="5752" y="4504"/>
                  </a:lnTo>
                  <a:lnTo>
                    <a:pt x="5823" y="4516"/>
                  </a:lnTo>
                  <a:lnTo>
                    <a:pt x="6026" y="4527"/>
                  </a:lnTo>
                  <a:lnTo>
                    <a:pt x="6073" y="4504"/>
                  </a:lnTo>
                  <a:lnTo>
                    <a:pt x="6097" y="4504"/>
                  </a:lnTo>
                  <a:lnTo>
                    <a:pt x="6299" y="4551"/>
                  </a:lnTo>
                  <a:lnTo>
                    <a:pt x="6358" y="4527"/>
                  </a:lnTo>
                  <a:lnTo>
                    <a:pt x="6441" y="4599"/>
                  </a:lnTo>
                  <a:lnTo>
                    <a:pt x="6453" y="4658"/>
                  </a:lnTo>
                  <a:lnTo>
                    <a:pt x="6477" y="4682"/>
                  </a:lnTo>
                  <a:lnTo>
                    <a:pt x="6525" y="4694"/>
                  </a:lnTo>
                  <a:lnTo>
                    <a:pt x="6632" y="4670"/>
                  </a:lnTo>
                  <a:lnTo>
                    <a:pt x="6691" y="4634"/>
                  </a:lnTo>
                  <a:lnTo>
                    <a:pt x="6715" y="4634"/>
                  </a:lnTo>
                  <a:lnTo>
                    <a:pt x="6750" y="4599"/>
                  </a:lnTo>
                  <a:lnTo>
                    <a:pt x="6786" y="4587"/>
                  </a:lnTo>
                  <a:lnTo>
                    <a:pt x="6893" y="4563"/>
                  </a:lnTo>
                  <a:lnTo>
                    <a:pt x="6929" y="4527"/>
                  </a:lnTo>
                  <a:lnTo>
                    <a:pt x="7012" y="4492"/>
                  </a:lnTo>
                  <a:lnTo>
                    <a:pt x="7036" y="4456"/>
                  </a:lnTo>
                  <a:lnTo>
                    <a:pt x="7083" y="4361"/>
                  </a:lnTo>
                  <a:lnTo>
                    <a:pt x="7131" y="4302"/>
                  </a:lnTo>
                  <a:lnTo>
                    <a:pt x="7154" y="4230"/>
                  </a:lnTo>
                  <a:lnTo>
                    <a:pt x="7202" y="4195"/>
                  </a:lnTo>
                  <a:lnTo>
                    <a:pt x="7226" y="4135"/>
                  </a:lnTo>
                  <a:lnTo>
                    <a:pt x="7345" y="4076"/>
                  </a:lnTo>
                  <a:lnTo>
                    <a:pt x="7380" y="4076"/>
                  </a:lnTo>
                  <a:lnTo>
                    <a:pt x="7463" y="4064"/>
                  </a:lnTo>
                  <a:lnTo>
                    <a:pt x="7559" y="4076"/>
                  </a:lnTo>
                  <a:lnTo>
                    <a:pt x="7606" y="4088"/>
                  </a:lnTo>
                  <a:lnTo>
                    <a:pt x="7642" y="4088"/>
                  </a:lnTo>
                  <a:lnTo>
                    <a:pt x="7677" y="4064"/>
                  </a:lnTo>
                  <a:lnTo>
                    <a:pt x="7701" y="4040"/>
                  </a:lnTo>
                  <a:lnTo>
                    <a:pt x="7784" y="3969"/>
                  </a:lnTo>
                  <a:lnTo>
                    <a:pt x="7844" y="3862"/>
                  </a:lnTo>
                  <a:lnTo>
                    <a:pt x="7927" y="3791"/>
                  </a:lnTo>
                  <a:lnTo>
                    <a:pt x="7963" y="3719"/>
                  </a:lnTo>
                  <a:lnTo>
                    <a:pt x="7998" y="3708"/>
                  </a:lnTo>
                  <a:lnTo>
                    <a:pt x="8058" y="3708"/>
                  </a:lnTo>
                  <a:lnTo>
                    <a:pt x="8105" y="3660"/>
                  </a:lnTo>
                  <a:lnTo>
                    <a:pt x="8153" y="3636"/>
                  </a:lnTo>
                  <a:lnTo>
                    <a:pt x="8188" y="3624"/>
                  </a:lnTo>
                  <a:lnTo>
                    <a:pt x="8224" y="3648"/>
                  </a:lnTo>
                  <a:lnTo>
                    <a:pt x="8450" y="3541"/>
                  </a:lnTo>
                  <a:lnTo>
                    <a:pt x="8545" y="3387"/>
                  </a:lnTo>
                  <a:lnTo>
                    <a:pt x="8676" y="3280"/>
                  </a:lnTo>
                  <a:lnTo>
                    <a:pt x="8866" y="3137"/>
                  </a:lnTo>
                  <a:lnTo>
                    <a:pt x="8878" y="3125"/>
                  </a:lnTo>
                  <a:lnTo>
                    <a:pt x="8842" y="3090"/>
                  </a:lnTo>
                  <a:lnTo>
                    <a:pt x="8723" y="3042"/>
                  </a:lnTo>
                  <a:lnTo>
                    <a:pt x="8699" y="3042"/>
                  </a:lnTo>
                  <a:lnTo>
                    <a:pt x="8628" y="3006"/>
                  </a:lnTo>
                  <a:lnTo>
                    <a:pt x="8569" y="2994"/>
                  </a:lnTo>
                  <a:lnTo>
                    <a:pt x="8545" y="2959"/>
                  </a:lnTo>
                  <a:lnTo>
                    <a:pt x="8545" y="2959"/>
                  </a:lnTo>
                  <a:lnTo>
                    <a:pt x="7998" y="2745"/>
                  </a:lnTo>
                  <a:lnTo>
                    <a:pt x="7772" y="2709"/>
                  </a:lnTo>
                  <a:lnTo>
                    <a:pt x="6394" y="2127"/>
                  </a:lnTo>
                  <a:lnTo>
                    <a:pt x="4683" y="725"/>
                  </a:lnTo>
                  <a:lnTo>
                    <a:pt x="1652" y="475"/>
                  </a:lnTo>
                  <a:lnTo>
                    <a:pt x="1629" y="463"/>
                  </a:lnTo>
                  <a:lnTo>
                    <a:pt x="202" y="0"/>
                  </a:lnTo>
                  <a:lnTo>
                    <a:pt x="202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19" name="Freeform 310"/>
            <p:cNvSpPr>
              <a:spLocks/>
            </p:cNvSpPr>
            <p:nvPr/>
          </p:nvSpPr>
          <p:spPr bwMode="auto">
            <a:xfrm>
              <a:off x="-18495962" y="-8220075"/>
              <a:ext cx="13319125" cy="10829925"/>
            </a:xfrm>
            <a:custGeom>
              <a:avLst/>
              <a:gdLst/>
              <a:ahLst/>
              <a:cxnLst>
                <a:cxn ang="0">
                  <a:pos x="6322" y="1248"/>
                </a:cxn>
                <a:cxn ang="0">
                  <a:pos x="6251" y="1557"/>
                </a:cxn>
                <a:cxn ang="0">
                  <a:pos x="6298" y="1795"/>
                </a:cxn>
                <a:cxn ang="0">
                  <a:pos x="6370" y="2223"/>
                </a:cxn>
                <a:cxn ang="0">
                  <a:pos x="6393" y="2852"/>
                </a:cxn>
                <a:cxn ang="0">
                  <a:pos x="6370" y="3565"/>
                </a:cxn>
                <a:cxn ang="0">
                  <a:pos x="7106" y="3554"/>
                </a:cxn>
                <a:cxn ang="0">
                  <a:pos x="7772" y="3660"/>
                </a:cxn>
                <a:cxn ang="0">
                  <a:pos x="8188" y="3672"/>
                </a:cxn>
                <a:cxn ang="0">
                  <a:pos x="8235" y="4076"/>
                </a:cxn>
                <a:cxn ang="0">
                  <a:pos x="8117" y="4587"/>
                </a:cxn>
                <a:cxn ang="0">
                  <a:pos x="8330" y="4908"/>
                </a:cxn>
                <a:cxn ang="0">
                  <a:pos x="8330" y="5372"/>
                </a:cxn>
                <a:cxn ang="0">
                  <a:pos x="7974" y="6049"/>
                </a:cxn>
                <a:cxn ang="0">
                  <a:pos x="7404" y="6786"/>
                </a:cxn>
                <a:cxn ang="0">
                  <a:pos x="6750" y="6596"/>
                </a:cxn>
                <a:cxn ang="0">
                  <a:pos x="6144" y="6655"/>
                </a:cxn>
                <a:cxn ang="0">
                  <a:pos x="5597" y="6204"/>
                </a:cxn>
                <a:cxn ang="0">
                  <a:pos x="5086" y="6037"/>
                </a:cxn>
                <a:cxn ang="0">
                  <a:pos x="4646" y="5704"/>
                </a:cxn>
                <a:cxn ang="0">
                  <a:pos x="4207" y="5657"/>
                </a:cxn>
                <a:cxn ang="0">
                  <a:pos x="3696" y="5455"/>
                </a:cxn>
                <a:cxn ang="0">
                  <a:pos x="3244" y="5491"/>
                </a:cxn>
                <a:cxn ang="0">
                  <a:pos x="2793" y="5146"/>
                </a:cxn>
                <a:cxn ang="0">
                  <a:pos x="2531" y="4956"/>
                </a:cxn>
                <a:cxn ang="0">
                  <a:pos x="2175" y="4552"/>
                </a:cxn>
                <a:cxn ang="0">
                  <a:pos x="1949" y="4302"/>
                </a:cxn>
                <a:cxn ang="0">
                  <a:pos x="1830" y="3874"/>
                </a:cxn>
                <a:cxn ang="0">
                  <a:pos x="1818" y="3351"/>
                </a:cxn>
                <a:cxn ang="0">
                  <a:pos x="1901" y="2757"/>
                </a:cxn>
                <a:cxn ang="0">
                  <a:pos x="1687" y="2092"/>
                </a:cxn>
                <a:cxn ang="0">
                  <a:pos x="1414" y="2258"/>
                </a:cxn>
                <a:cxn ang="0">
                  <a:pos x="1248" y="2223"/>
                </a:cxn>
                <a:cxn ang="0">
                  <a:pos x="986" y="2246"/>
                </a:cxn>
                <a:cxn ang="0">
                  <a:pos x="404" y="2401"/>
                </a:cxn>
                <a:cxn ang="0">
                  <a:pos x="0" y="2294"/>
                </a:cxn>
                <a:cxn ang="0">
                  <a:pos x="404" y="2139"/>
                </a:cxn>
                <a:cxn ang="0">
                  <a:pos x="523" y="1878"/>
                </a:cxn>
                <a:cxn ang="0">
                  <a:pos x="939" y="1842"/>
                </a:cxn>
                <a:cxn ang="0">
                  <a:pos x="1141" y="1937"/>
                </a:cxn>
                <a:cxn ang="0">
                  <a:pos x="1343" y="2020"/>
                </a:cxn>
                <a:cxn ang="0">
                  <a:pos x="1687" y="1735"/>
                </a:cxn>
                <a:cxn ang="0">
                  <a:pos x="2056" y="1818"/>
                </a:cxn>
                <a:cxn ang="0">
                  <a:pos x="2270" y="1628"/>
                </a:cxn>
                <a:cxn ang="0">
                  <a:pos x="2412" y="1260"/>
                </a:cxn>
                <a:cxn ang="0">
                  <a:pos x="2769" y="1236"/>
                </a:cxn>
                <a:cxn ang="0">
                  <a:pos x="3209" y="1105"/>
                </a:cxn>
                <a:cxn ang="0">
                  <a:pos x="3363" y="856"/>
                </a:cxn>
                <a:cxn ang="0">
                  <a:pos x="3470" y="630"/>
                </a:cxn>
                <a:cxn ang="0">
                  <a:pos x="3648" y="392"/>
                </a:cxn>
                <a:cxn ang="0">
                  <a:pos x="3874" y="83"/>
                </a:cxn>
                <a:cxn ang="0">
                  <a:pos x="4159" y="24"/>
                </a:cxn>
                <a:cxn ang="0">
                  <a:pos x="4848" y="95"/>
                </a:cxn>
                <a:cxn ang="0">
                  <a:pos x="5074" y="452"/>
                </a:cxn>
                <a:cxn ang="0">
                  <a:pos x="5300" y="511"/>
                </a:cxn>
                <a:cxn ang="0">
                  <a:pos x="5585" y="927"/>
                </a:cxn>
                <a:cxn ang="0">
                  <a:pos x="5942" y="880"/>
                </a:cxn>
                <a:cxn ang="0">
                  <a:pos x="6120" y="832"/>
                </a:cxn>
              </a:cxnLst>
              <a:rect l="0" t="0" r="r" b="b"/>
              <a:pathLst>
                <a:path w="8390" h="6822">
                  <a:moveTo>
                    <a:pt x="6275" y="951"/>
                  </a:moveTo>
                  <a:lnTo>
                    <a:pt x="6286" y="963"/>
                  </a:lnTo>
                  <a:lnTo>
                    <a:pt x="6334" y="1010"/>
                  </a:lnTo>
                  <a:lnTo>
                    <a:pt x="6358" y="1058"/>
                  </a:lnTo>
                  <a:lnTo>
                    <a:pt x="6393" y="1082"/>
                  </a:lnTo>
                  <a:lnTo>
                    <a:pt x="6393" y="1141"/>
                  </a:lnTo>
                  <a:lnTo>
                    <a:pt x="6346" y="1189"/>
                  </a:lnTo>
                  <a:lnTo>
                    <a:pt x="6322" y="1248"/>
                  </a:lnTo>
                  <a:lnTo>
                    <a:pt x="6298" y="1319"/>
                  </a:lnTo>
                  <a:lnTo>
                    <a:pt x="6310" y="1391"/>
                  </a:lnTo>
                  <a:lnTo>
                    <a:pt x="6322" y="1426"/>
                  </a:lnTo>
                  <a:lnTo>
                    <a:pt x="6322" y="1438"/>
                  </a:lnTo>
                  <a:lnTo>
                    <a:pt x="6358" y="1474"/>
                  </a:lnTo>
                  <a:lnTo>
                    <a:pt x="6346" y="1509"/>
                  </a:lnTo>
                  <a:lnTo>
                    <a:pt x="6263" y="1521"/>
                  </a:lnTo>
                  <a:lnTo>
                    <a:pt x="6251" y="1557"/>
                  </a:lnTo>
                  <a:lnTo>
                    <a:pt x="6239" y="1616"/>
                  </a:lnTo>
                  <a:lnTo>
                    <a:pt x="6239" y="1664"/>
                  </a:lnTo>
                  <a:lnTo>
                    <a:pt x="6275" y="1676"/>
                  </a:lnTo>
                  <a:lnTo>
                    <a:pt x="6298" y="1688"/>
                  </a:lnTo>
                  <a:lnTo>
                    <a:pt x="6310" y="1700"/>
                  </a:lnTo>
                  <a:lnTo>
                    <a:pt x="6322" y="1723"/>
                  </a:lnTo>
                  <a:lnTo>
                    <a:pt x="6298" y="1771"/>
                  </a:lnTo>
                  <a:lnTo>
                    <a:pt x="6298" y="1795"/>
                  </a:lnTo>
                  <a:lnTo>
                    <a:pt x="6382" y="1937"/>
                  </a:lnTo>
                  <a:lnTo>
                    <a:pt x="6393" y="1973"/>
                  </a:lnTo>
                  <a:lnTo>
                    <a:pt x="6382" y="2032"/>
                  </a:lnTo>
                  <a:lnTo>
                    <a:pt x="6346" y="2056"/>
                  </a:lnTo>
                  <a:lnTo>
                    <a:pt x="6334" y="2080"/>
                  </a:lnTo>
                  <a:lnTo>
                    <a:pt x="6346" y="2104"/>
                  </a:lnTo>
                  <a:lnTo>
                    <a:pt x="6358" y="2151"/>
                  </a:lnTo>
                  <a:lnTo>
                    <a:pt x="6370" y="2223"/>
                  </a:lnTo>
                  <a:lnTo>
                    <a:pt x="6370" y="2341"/>
                  </a:lnTo>
                  <a:lnTo>
                    <a:pt x="6346" y="2436"/>
                  </a:lnTo>
                  <a:lnTo>
                    <a:pt x="6298" y="2508"/>
                  </a:lnTo>
                  <a:lnTo>
                    <a:pt x="6286" y="2555"/>
                  </a:lnTo>
                  <a:lnTo>
                    <a:pt x="6310" y="2627"/>
                  </a:lnTo>
                  <a:lnTo>
                    <a:pt x="6298" y="2722"/>
                  </a:lnTo>
                  <a:lnTo>
                    <a:pt x="6298" y="2745"/>
                  </a:lnTo>
                  <a:lnTo>
                    <a:pt x="6393" y="2852"/>
                  </a:lnTo>
                  <a:lnTo>
                    <a:pt x="6417" y="2900"/>
                  </a:lnTo>
                  <a:lnTo>
                    <a:pt x="6429" y="2959"/>
                  </a:lnTo>
                  <a:lnTo>
                    <a:pt x="6417" y="3149"/>
                  </a:lnTo>
                  <a:lnTo>
                    <a:pt x="6441" y="3256"/>
                  </a:lnTo>
                  <a:lnTo>
                    <a:pt x="6382" y="3435"/>
                  </a:lnTo>
                  <a:lnTo>
                    <a:pt x="6358" y="3530"/>
                  </a:lnTo>
                  <a:lnTo>
                    <a:pt x="6370" y="3554"/>
                  </a:lnTo>
                  <a:lnTo>
                    <a:pt x="6370" y="3565"/>
                  </a:lnTo>
                  <a:lnTo>
                    <a:pt x="6417" y="3577"/>
                  </a:lnTo>
                  <a:lnTo>
                    <a:pt x="6429" y="3565"/>
                  </a:lnTo>
                  <a:lnTo>
                    <a:pt x="6500" y="3577"/>
                  </a:lnTo>
                  <a:lnTo>
                    <a:pt x="6607" y="3565"/>
                  </a:lnTo>
                  <a:lnTo>
                    <a:pt x="6714" y="3577"/>
                  </a:lnTo>
                  <a:lnTo>
                    <a:pt x="6750" y="3565"/>
                  </a:lnTo>
                  <a:lnTo>
                    <a:pt x="7106" y="3565"/>
                  </a:lnTo>
                  <a:lnTo>
                    <a:pt x="7106" y="3554"/>
                  </a:lnTo>
                  <a:lnTo>
                    <a:pt x="7154" y="3565"/>
                  </a:lnTo>
                  <a:lnTo>
                    <a:pt x="7225" y="3565"/>
                  </a:lnTo>
                  <a:lnTo>
                    <a:pt x="7213" y="3554"/>
                  </a:lnTo>
                  <a:lnTo>
                    <a:pt x="7308" y="3565"/>
                  </a:lnTo>
                  <a:lnTo>
                    <a:pt x="7641" y="3554"/>
                  </a:lnTo>
                  <a:lnTo>
                    <a:pt x="7689" y="3625"/>
                  </a:lnTo>
                  <a:lnTo>
                    <a:pt x="7736" y="3660"/>
                  </a:lnTo>
                  <a:lnTo>
                    <a:pt x="7772" y="3660"/>
                  </a:lnTo>
                  <a:lnTo>
                    <a:pt x="7831" y="3613"/>
                  </a:lnTo>
                  <a:lnTo>
                    <a:pt x="7843" y="3613"/>
                  </a:lnTo>
                  <a:lnTo>
                    <a:pt x="7879" y="3660"/>
                  </a:lnTo>
                  <a:lnTo>
                    <a:pt x="7903" y="3672"/>
                  </a:lnTo>
                  <a:lnTo>
                    <a:pt x="8093" y="3649"/>
                  </a:lnTo>
                  <a:lnTo>
                    <a:pt x="8128" y="3649"/>
                  </a:lnTo>
                  <a:lnTo>
                    <a:pt x="8140" y="3660"/>
                  </a:lnTo>
                  <a:lnTo>
                    <a:pt x="8188" y="3672"/>
                  </a:lnTo>
                  <a:lnTo>
                    <a:pt x="8200" y="3708"/>
                  </a:lnTo>
                  <a:lnTo>
                    <a:pt x="8224" y="3744"/>
                  </a:lnTo>
                  <a:lnTo>
                    <a:pt x="8224" y="3791"/>
                  </a:lnTo>
                  <a:lnTo>
                    <a:pt x="8224" y="3839"/>
                  </a:lnTo>
                  <a:lnTo>
                    <a:pt x="8259" y="3934"/>
                  </a:lnTo>
                  <a:lnTo>
                    <a:pt x="8271" y="4017"/>
                  </a:lnTo>
                  <a:lnTo>
                    <a:pt x="8259" y="4053"/>
                  </a:lnTo>
                  <a:lnTo>
                    <a:pt x="8235" y="4076"/>
                  </a:lnTo>
                  <a:lnTo>
                    <a:pt x="8188" y="4100"/>
                  </a:lnTo>
                  <a:lnTo>
                    <a:pt x="8128" y="4148"/>
                  </a:lnTo>
                  <a:lnTo>
                    <a:pt x="8117" y="4195"/>
                  </a:lnTo>
                  <a:lnTo>
                    <a:pt x="8069" y="4219"/>
                  </a:lnTo>
                  <a:lnTo>
                    <a:pt x="8057" y="4231"/>
                  </a:lnTo>
                  <a:lnTo>
                    <a:pt x="8045" y="4385"/>
                  </a:lnTo>
                  <a:lnTo>
                    <a:pt x="8081" y="4492"/>
                  </a:lnTo>
                  <a:lnTo>
                    <a:pt x="8117" y="4587"/>
                  </a:lnTo>
                  <a:lnTo>
                    <a:pt x="8140" y="4599"/>
                  </a:lnTo>
                  <a:lnTo>
                    <a:pt x="8212" y="4635"/>
                  </a:lnTo>
                  <a:lnTo>
                    <a:pt x="8224" y="4671"/>
                  </a:lnTo>
                  <a:lnTo>
                    <a:pt x="8259" y="4789"/>
                  </a:lnTo>
                  <a:lnTo>
                    <a:pt x="8283" y="4801"/>
                  </a:lnTo>
                  <a:lnTo>
                    <a:pt x="8307" y="4813"/>
                  </a:lnTo>
                  <a:lnTo>
                    <a:pt x="8319" y="4837"/>
                  </a:lnTo>
                  <a:lnTo>
                    <a:pt x="8330" y="4908"/>
                  </a:lnTo>
                  <a:lnTo>
                    <a:pt x="8342" y="4980"/>
                  </a:lnTo>
                  <a:lnTo>
                    <a:pt x="8319" y="5039"/>
                  </a:lnTo>
                  <a:lnTo>
                    <a:pt x="8319" y="5051"/>
                  </a:lnTo>
                  <a:lnTo>
                    <a:pt x="8354" y="5087"/>
                  </a:lnTo>
                  <a:lnTo>
                    <a:pt x="8378" y="5134"/>
                  </a:lnTo>
                  <a:lnTo>
                    <a:pt x="8390" y="5193"/>
                  </a:lnTo>
                  <a:lnTo>
                    <a:pt x="8378" y="5277"/>
                  </a:lnTo>
                  <a:lnTo>
                    <a:pt x="8330" y="5372"/>
                  </a:lnTo>
                  <a:lnTo>
                    <a:pt x="8307" y="5372"/>
                  </a:lnTo>
                  <a:lnTo>
                    <a:pt x="8259" y="5419"/>
                  </a:lnTo>
                  <a:lnTo>
                    <a:pt x="8188" y="5526"/>
                  </a:lnTo>
                  <a:lnTo>
                    <a:pt x="8117" y="5752"/>
                  </a:lnTo>
                  <a:lnTo>
                    <a:pt x="8117" y="5907"/>
                  </a:lnTo>
                  <a:lnTo>
                    <a:pt x="8093" y="5942"/>
                  </a:lnTo>
                  <a:lnTo>
                    <a:pt x="8045" y="5978"/>
                  </a:lnTo>
                  <a:lnTo>
                    <a:pt x="7974" y="6049"/>
                  </a:lnTo>
                  <a:lnTo>
                    <a:pt x="7938" y="6120"/>
                  </a:lnTo>
                  <a:lnTo>
                    <a:pt x="7903" y="6239"/>
                  </a:lnTo>
                  <a:lnTo>
                    <a:pt x="7867" y="6358"/>
                  </a:lnTo>
                  <a:lnTo>
                    <a:pt x="7808" y="6465"/>
                  </a:lnTo>
                  <a:lnTo>
                    <a:pt x="7772" y="6513"/>
                  </a:lnTo>
                  <a:lnTo>
                    <a:pt x="7713" y="6548"/>
                  </a:lnTo>
                  <a:lnTo>
                    <a:pt x="7522" y="6667"/>
                  </a:lnTo>
                  <a:lnTo>
                    <a:pt x="7404" y="6786"/>
                  </a:lnTo>
                  <a:lnTo>
                    <a:pt x="7380" y="6822"/>
                  </a:lnTo>
                  <a:lnTo>
                    <a:pt x="7320" y="6786"/>
                  </a:lnTo>
                  <a:lnTo>
                    <a:pt x="7106" y="6643"/>
                  </a:lnTo>
                  <a:lnTo>
                    <a:pt x="7059" y="6572"/>
                  </a:lnTo>
                  <a:lnTo>
                    <a:pt x="7023" y="6572"/>
                  </a:lnTo>
                  <a:lnTo>
                    <a:pt x="6845" y="6620"/>
                  </a:lnTo>
                  <a:lnTo>
                    <a:pt x="6809" y="6620"/>
                  </a:lnTo>
                  <a:lnTo>
                    <a:pt x="6750" y="6596"/>
                  </a:lnTo>
                  <a:lnTo>
                    <a:pt x="6690" y="6608"/>
                  </a:lnTo>
                  <a:lnTo>
                    <a:pt x="6572" y="6667"/>
                  </a:lnTo>
                  <a:lnTo>
                    <a:pt x="6512" y="6667"/>
                  </a:lnTo>
                  <a:lnTo>
                    <a:pt x="6477" y="6643"/>
                  </a:lnTo>
                  <a:lnTo>
                    <a:pt x="6405" y="6643"/>
                  </a:lnTo>
                  <a:lnTo>
                    <a:pt x="6251" y="6667"/>
                  </a:lnTo>
                  <a:lnTo>
                    <a:pt x="6179" y="6667"/>
                  </a:lnTo>
                  <a:lnTo>
                    <a:pt x="6144" y="6655"/>
                  </a:lnTo>
                  <a:lnTo>
                    <a:pt x="6108" y="6631"/>
                  </a:lnTo>
                  <a:lnTo>
                    <a:pt x="6073" y="6560"/>
                  </a:lnTo>
                  <a:lnTo>
                    <a:pt x="5954" y="6477"/>
                  </a:lnTo>
                  <a:lnTo>
                    <a:pt x="5859" y="6346"/>
                  </a:lnTo>
                  <a:lnTo>
                    <a:pt x="5787" y="6215"/>
                  </a:lnTo>
                  <a:lnTo>
                    <a:pt x="5752" y="6204"/>
                  </a:lnTo>
                  <a:lnTo>
                    <a:pt x="5668" y="6215"/>
                  </a:lnTo>
                  <a:lnTo>
                    <a:pt x="5597" y="6204"/>
                  </a:lnTo>
                  <a:lnTo>
                    <a:pt x="5550" y="6180"/>
                  </a:lnTo>
                  <a:lnTo>
                    <a:pt x="5502" y="6168"/>
                  </a:lnTo>
                  <a:lnTo>
                    <a:pt x="5419" y="6180"/>
                  </a:lnTo>
                  <a:lnTo>
                    <a:pt x="5288" y="6120"/>
                  </a:lnTo>
                  <a:lnTo>
                    <a:pt x="5205" y="6120"/>
                  </a:lnTo>
                  <a:lnTo>
                    <a:pt x="5134" y="6061"/>
                  </a:lnTo>
                  <a:lnTo>
                    <a:pt x="5122" y="6049"/>
                  </a:lnTo>
                  <a:lnTo>
                    <a:pt x="5086" y="6037"/>
                  </a:lnTo>
                  <a:lnTo>
                    <a:pt x="4979" y="6061"/>
                  </a:lnTo>
                  <a:lnTo>
                    <a:pt x="4932" y="6013"/>
                  </a:lnTo>
                  <a:lnTo>
                    <a:pt x="4872" y="5966"/>
                  </a:lnTo>
                  <a:lnTo>
                    <a:pt x="4813" y="5895"/>
                  </a:lnTo>
                  <a:lnTo>
                    <a:pt x="4777" y="5883"/>
                  </a:lnTo>
                  <a:lnTo>
                    <a:pt x="4730" y="5847"/>
                  </a:lnTo>
                  <a:lnTo>
                    <a:pt x="4682" y="5776"/>
                  </a:lnTo>
                  <a:lnTo>
                    <a:pt x="4646" y="5704"/>
                  </a:lnTo>
                  <a:lnTo>
                    <a:pt x="4623" y="5669"/>
                  </a:lnTo>
                  <a:lnTo>
                    <a:pt x="4563" y="5657"/>
                  </a:lnTo>
                  <a:lnTo>
                    <a:pt x="4528" y="5657"/>
                  </a:lnTo>
                  <a:lnTo>
                    <a:pt x="4385" y="5740"/>
                  </a:lnTo>
                  <a:lnTo>
                    <a:pt x="4349" y="5740"/>
                  </a:lnTo>
                  <a:lnTo>
                    <a:pt x="4302" y="5716"/>
                  </a:lnTo>
                  <a:lnTo>
                    <a:pt x="4266" y="5693"/>
                  </a:lnTo>
                  <a:lnTo>
                    <a:pt x="4207" y="5657"/>
                  </a:lnTo>
                  <a:lnTo>
                    <a:pt x="4147" y="5562"/>
                  </a:lnTo>
                  <a:lnTo>
                    <a:pt x="4076" y="5538"/>
                  </a:lnTo>
                  <a:lnTo>
                    <a:pt x="4029" y="5526"/>
                  </a:lnTo>
                  <a:lnTo>
                    <a:pt x="4005" y="5491"/>
                  </a:lnTo>
                  <a:lnTo>
                    <a:pt x="3969" y="5467"/>
                  </a:lnTo>
                  <a:lnTo>
                    <a:pt x="3933" y="5443"/>
                  </a:lnTo>
                  <a:lnTo>
                    <a:pt x="3767" y="5431"/>
                  </a:lnTo>
                  <a:lnTo>
                    <a:pt x="3696" y="5455"/>
                  </a:lnTo>
                  <a:lnTo>
                    <a:pt x="3636" y="5526"/>
                  </a:lnTo>
                  <a:lnTo>
                    <a:pt x="3589" y="5538"/>
                  </a:lnTo>
                  <a:lnTo>
                    <a:pt x="3518" y="5538"/>
                  </a:lnTo>
                  <a:lnTo>
                    <a:pt x="3422" y="5514"/>
                  </a:lnTo>
                  <a:lnTo>
                    <a:pt x="3399" y="5514"/>
                  </a:lnTo>
                  <a:lnTo>
                    <a:pt x="3351" y="5538"/>
                  </a:lnTo>
                  <a:lnTo>
                    <a:pt x="3280" y="5491"/>
                  </a:lnTo>
                  <a:lnTo>
                    <a:pt x="3244" y="5491"/>
                  </a:lnTo>
                  <a:lnTo>
                    <a:pt x="3197" y="5502"/>
                  </a:lnTo>
                  <a:lnTo>
                    <a:pt x="3090" y="5479"/>
                  </a:lnTo>
                  <a:lnTo>
                    <a:pt x="3018" y="5384"/>
                  </a:lnTo>
                  <a:lnTo>
                    <a:pt x="2971" y="5336"/>
                  </a:lnTo>
                  <a:lnTo>
                    <a:pt x="2959" y="5229"/>
                  </a:lnTo>
                  <a:lnTo>
                    <a:pt x="2947" y="5205"/>
                  </a:lnTo>
                  <a:lnTo>
                    <a:pt x="2911" y="5170"/>
                  </a:lnTo>
                  <a:lnTo>
                    <a:pt x="2793" y="5146"/>
                  </a:lnTo>
                  <a:lnTo>
                    <a:pt x="2745" y="5122"/>
                  </a:lnTo>
                  <a:lnTo>
                    <a:pt x="2698" y="5051"/>
                  </a:lnTo>
                  <a:lnTo>
                    <a:pt x="2674" y="5039"/>
                  </a:lnTo>
                  <a:lnTo>
                    <a:pt x="2662" y="5098"/>
                  </a:lnTo>
                  <a:lnTo>
                    <a:pt x="2650" y="5063"/>
                  </a:lnTo>
                  <a:lnTo>
                    <a:pt x="2614" y="5039"/>
                  </a:lnTo>
                  <a:lnTo>
                    <a:pt x="2579" y="4991"/>
                  </a:lnTo>
                  <a:lnTo>
                    <a:pt x="2531" y="4956"/>
                  </a:lnTo>
                  <a:lnTo>
                    <a:pt x="2377" y="4920"/>
                  </a:lnTo>
                  <a:lnTo>
                    <a:pt x="2353" y="4908"/>
                  </a:lnTo>
                  <a:lnTo>
                    <a:pt x="2341" y="4896"/>
                  </a:lnTo>
                  <a:lnTo>
                    <a:pt x="2329" y="4849"/>
                  </a:lnTo>
                  <a:lnTo>
                    <a:pt x="2293" y="4801"/>
                  </a:lnTo>
                  <a:lnTo>
                    <a:pt x="2282" y="4754"/>
                  </a:lnTo>
                  <a:lnTo>
                    <a:pt x="2246" y="4635"/>
                  </a:lnTo>
                  <a:lnTo>
                    <a:pt x="2175" y="4552"/>
                  </a:lnTo>
                  <a:lnTo>
                    <a:pt x="2139" y="4587"/>
                  </a:lnTo>
                  <a:lnTo>
                    <a:pt x="2139" y="4623"/>
                  </a:lnTo>
                  <a:lnTo>
                    <a:pt x="2115" y="4611"/>
                  </a:lnTo>
                  <a:lnTo>
                    <a:pt x="2091" y="4599"/>
                  </a:lnTo>
                  <a:lnTo>
                    <a:pt x="2080" y="4587"/>
                  </a:lnTo>
                  <a:lnTo>
                    <a:pt x="2091" y="4480"/>
                  </a:lnTo>
                  <a:lnTo>
                    <a:pt x="2044" y="4350"/>
                  </a:lnTo>
                  <a:lnTo>
                    <a:pt x="1949" y="4302"/>
                  </a:lnTo>
                  <a:lnTo>
                    <a:pt x="1901" y="4243"/>
                  </a:lnTo>
                  <a:lnTo>
                    <a:pt x="1901" y="4171"/>
                  </a:lnTo>
                  <a:lnTo>
                    <a:pt x="1925" y="4112"/>
                  </a:lnTo>
                  <a:lnTo>
                    <a:pt x="1854" y="4065"/>
                  </a:lnTo>
                  <a:lnTo>
                    <a:pt x="1830" y="4029"/>
                  </a:lnTo>
                  <a:lnTo>
                    <a:pt x="1842" y="3981"/>
                  </a:lnTo>
                  <a:lnTo>
                    <a:pt x="1830" y="3946"/>
                  </a:lnTo>
                  <a:lnTo>
                    <a:pt x="1830" y="3874"/>
                  </a:lnTo>
                  <a:lnTo>
                    <a:pt x="1866" y="3827"/>
                  </a:lnTo>
                  <a:lnTo>
                    <a:pt x="1878" y="3791"/>
                  </a:lnTo>
                  <a:lnTo>
                    <a:pt x="1925" y="3696"/>
                  </a:lnTo>
                  <a:lnTo>
                    <a:pt x="1925" y="3672"/>
                  </a:lnTo>
                  <a:lnTo>
                    <a:pt x="1901" y="3554"/>
                  </a:lnTo>
                  <a:lnTo>
                    <a:pt x="1830" y="3482"/>
                  </a:lnTo>
                  <a:lnTo>
                    <a:pt x="1806" y="3447"/>
                  </a:lnTo>
                  <a:lnTo>
                    <a:pt x="1818" y="3351"/>
                  </a:lnTo>
                  <a:lnTo>
                    <a:pt x="1806" y="3316"/>
                  </a:lnTo>
                  <a:lnTo>
                    <a:pt x="1759" y="3256"/>
                  </a:lnTo>
                  <a:lnTo>
                    <a:pt x="1735" y="3126"/>
                  </a:lnTo>
                  <a:lnTo>
                    <a:pt x="1735" y="3090"/>
                  </a:lnTo>
                  <a:lnTo>
                    <a:pt x="1782" y="3019"/>
                  </a:lnTo>
                  <a:lnTo>
                    <a:pt x="1794" y="2947"/>
                  </a:lnTo>
                  <a:lnTo>
                    <a:pt x="1854" y="2876"/>
                  </a:lnTo>
                  <a:lnTo>
                    <a:pt x="1901" y="2757"/>
                  </a:lnTo>
                  <a:lnTo>
                    <a:pt x="1901" y="2698"/>
                  </a:lnTo>
                  <a:lnTo>
                    <a:pt x="1842" y="2472"/>
                  </a:lnTo>
                  <a:lnTo>
                    <a:pt x="1842" y="2448"/>
                  </a:lnTo>
                  <a:lnTo>
                    <a:pt x="1866" y="2258"/>
                  </a:lnTo>
                  <a:lnTo>
                    <a:pt x="1842" y="2211"/>
                  </a:lnTo>
                  <a:lnTo>
                    <a:pt x="1782" y="2139"/>
                  </a:lnTo>
                  <a:lnTo>
                    <a:pt x="1723" y="2092"/>
                  </a:lnTo>
                  <a:lnTo>
                    <a:pt x="1687" y="2092"/>
                  </a:lnTo>
                  <a:lnTo>
                    <a:pt x="1616" y="2175"/>
                  </a:lnTo>
                  <a:lnTo>
                    <a:pt x="1580" y="2234"/>
                  </a:lnTo>
                  <a:lnTo>
                    <a:pt x="1497" y="2270"/>
                  </a:lnTo>
                  <a:lnTo>
                    <a:pt x="1473" y="2234"/>
                  </a:lnTo>
                  <a:lnTo>
                    <a:pt x="1450" y="2223"/>
                  </a:lnTo>
                  <a:lnTo>
                    <a:pt x="1438" y="2234"/>
                  </a:lnTo>
                  <a:lnTo>
                    <a:pt x="1426" y="2246"/>
                  </a:lnTo>
                  <a:lnTo>
                    <a:pt x="1414" y="2258"/>
                  </a:lnTo>
                  <a:lnTo>
                    <a:pt x="1402" y="2234"/>
                  </a:lnTo>
                  <a:lnTo>
                    <a:pt x="1402" y="2211"/>
                  </a:lnTo>
                  <a:lnTo>
                    <a:pt x="1355" y="2211"/>
                  </a:lnTo>
                  <a:lnTo>
                    <a:pt x="1331" y="2187"/>
                  </a:lnTo>
                  <a:lnTo>
                    <a:pt x="1307" y="2187"/>
                  </a:lnTo>
                  <a:lnTo>
                    <a:pt x="1295" y="2211"/>
                  </a:lnTo>
                  <a:lnTo>
                    <a:pt x="1260" y="2211"/>
                  </a:lnTo>
                  <a:lnTo>
                    <a:pt x="1248" y="2223"/>
                  </a:lnTo>
                  <a:lnTo>
                    <a:pt x="1212" y="2234"/>
                  </a:lnTo>
                  <a:lnTo>
                    <a:pt x="1200" y="2211"/>
                  </a:lnTo>
                  <a:lnTo>
                    <a:pt x="1105" y="2223"/>
                  </a:lnTo>
                  <a:lnTo>
                    <a:pt x="1081" y="2234"/>
                  </a:lnTo>
                  <a:lnTo>
                    <a:pt x="1081" y="2258"/>
                  </a:lnTo>
                  <a:lnTo>
                    <a:pt x="1069" y="2270"/>
                  </a:lnTo>
                  <a:lnTo>
                    <a:pt x="998" y="2258"/>
                  </a:lnTo>
                  <a:lnTo>
                    <a:pt x="986" y="2246"/>
                  </a:lnTo>
                  <a:lnTo>
                    <a:pt x="939" y="2258"/>
                  </a:lnTo>
                  <a:lnTo>
                    <a:pt x="808" y="2294"/>
                  </a:lnTo>
                  <a:lnTo>
                    <a:pt x="760" y="2318"/>
                  </a:lnTo>
                  <a:lnTo>
                    <a:pt x="677" y="2329"/>
                  </a:lnTo>
                  <a:lnTo>
                    <a:pt x="618" y="2365"/>
                  </a:lnTo>
                  <a:lnTo>
                    <a:pt x="535" y="2389"/>
                  </a:lnTo>
                  <a:lnTo>
                    <a:pt x="463" y="2377"/>
                  </a:lnTo>
                  <a:lnTo>
                    <a:pt x="404" y="2401"/>
                  </a:lnTo>
                  <a:lnTo>
                    <a:pt x="333" y="2460"/>
                  </a:lnTo>
                  <a:lnTo>
                    <a:pt x="333" y="2460"/>
                  </a:lnTo>
                  <a:lnTo>
                    <a:pt x="297" y="2425"/>
                  </a:lnTo>
                  <a:lnTo>
                    <a:pt x="178" y="2377"/>
                  </a:lnTo>
                  <a:lnTo>
                    <a:pt x="154" y="2377"/>
                  </a:lnTo>
                  <a:lnTo>
                    <a:pt x="83" y="2341"/>
                  </a:lnTo>
                  <a:lnTo>
                    <a:pt x="24" y="2329"/>
                  </a:lnTo>
                  <a:lnTo>
                    <a:pt x="0" y="2294"/>
                  </a:lnTo>
                  <a:lnTo>
                    <a:pt x="0" y="2294"/>
                  </a:lnTo>
                  <a:lnTo>
                    <a:pt x="12" y="2294"/>
                  </a:lnTo>
                  <a:lnTo>
                    <a:pt x="36" y="2282"/>
                  </a:lnTo>
                  <a:lnTo>
                    <a:pt x="178" y="2223"/>
                  </a:lnTo>
                  <a:lnTo>
                    <a:pt x="285" y="2163"/>
                  </a:lnTo>
                  <a:lnTo>
                    <a:pt x="356" y="2151"/>
                  </a:lnTo>
                  <a:lnTo>
                    <a:pt x="368" y="2151"/>
                  </a:lnTo>
                  <a:lnTo>
                    <a:pt x="404" y="2139"/>
                  </a:lnTo>
                  <a:lnTo>
                    <a:pt x="428" y="2080"/>
                  </a:lnTo>
                  <a:lnTo>
                    <a:pt x="428" y="2056"/>
                  </a:lnTo>
                  <a:lnTo>
                    <a:pt x="535" y="1985"/>
                  </a:lnTo>
                  <a:lnTo>
                    <a:pt x="547" y="1961"/>
                  </a:lnTo>
                  <a:lnTo>
                    <a:pt x="558" y="1937"/>
                  </a:lnTo>
                  <a:lnTo>
                    <a:pt x="547" y="1914"/>
                  </a:lnTo>
                  <a:lnTo>
                    <a:pt x="535" y="1914"/>
                  </a:lnTo>
                  <a:lnTo>
                    <a:pt x="523" y="1878"/>
                  </a:lnTo>
                  <a:lnTo>
                    <a:pt x="523" y="1854"/>
                  </a:lnTo>
                  <a:lnTo>
                    <a:pt x="535" y="1842"/>
                  </a:lnTo>
                  <a:lnTo>
                    <a:pt x="594" y="1842"/>
                  </a:lnTo>
                  <a:lnTo>
                    <a:pt x="665" y="1854"/>
                  </a:lnTo>
                  <a:lnTo>
                    <a:pt x="772" y="1866"/>
                  </a:lnTo>
                  <a:lnTo>
                    <a:pt x="796" y="1866"/>
                  </a:lnTo>
                  <a:lnTo>
                    <a:pt x="867" y="1830"/>
                  </a:lnTo>
                  <a:lnTo>
                    <a:pt x="939" y="1842"/>
                  </a:lnTo>
                  <a:lnTo>
                    <a:pt x="998" y="1818"/>
                  </a:lnTo>
                  <a:lnTo>
                    <a:pt x="1046" y="1807"/>
                  </a:lnTo>
                  <a:lnTo>
                    <a:pt x="1081" y="1830"/>
                  </a:lnTo>
                  <a:lnTo>
                    <a:pt x="1093" y="1842"/>
                  </a:lnTo>
                  <a:lnTo>
                    <a:pt x="1105" y="1842"/>
                  </a:lnTo>
                  <a:lnTo>
                    <a:pt x="1129" y="1902"/>
                  </a:lnTo>
                  <a:lnTo>
                    <a:pt x="1129" y="1937"/>
                  </a:lnTo>
                  <a:lnTo>
                    <a:pt x="1141" y="1937"/>
                  </a:lnTo>
                  <a:lnTo>
                    <a:pt x="1165" y="1925"/>
                  </a:lnTo>
                  <a:lnTo>
                    <a:pt x="1200" y="1925"/>
                  </a:lnTo>
                  <a:lnTo>
                    <a:pt x="1224" y="1949"/>
                  </a:lnTo>
                  <a:lnTo>
                    <a:pt x="1236" y="1985"/>
                  </a:lnTo>
                  <a:lnTo>
                    <a:pt x="1260" y="2020"/>
                  </a:lnTo>
                  <a:lnTo>
                    <a:pt x="1283" y="2044"/>
                  </a:lnTo>
                  <a:lnTo>
                    <a:pt x="1307" y="2044"/>
                  </a:lnTo>
                  <a:lnTo>
                    <a:pt x="1343" y="2020"/>
                  </a:lnTo>
                  <a:lnTo>
                    <a:pt x="1414" y="1890"/>
                  </a:lnTo>
                  <a:lnTo>
                    <a:pt x="1438" y="1866"/>
                  </a:lnTo>
                  <a:lnTo>
                    <a:pt x="1450" y="1854"/>
                  </a:lnTo>
                  <a:lnTo>
                    <a:pt x="1485" y="1842"/>
                  </a:lnTo>
                  <a:lnTo>
                    <a:pt x="1592" y="1842"/>
                  </a:lnTo>
                  <a:lnTo>
                    <a:pt x="1628" y="1866"/>
                  </a:lnTo>
                  <a:lnTo>
                    <a:pt x="1676" y="1878"/>
                  </a:lnTo>
                  <a:lnTo>
                    <a:pt x="1687" y="1735"/>
                  </a:lnTo>
                  <a:lnTo>
                    <a:pt x="1711" y="1688"/>
                  </a:lnTo>
                  <a:lnTo>
                    <a:pt x="1818" y="1676"/>
                  </a:lnTo>
                  <a:lnTo>
                    <a:pt x="1866" y="1628"/>
                  </a:lnTo>
                  <a:lnTo>
                    <a:pt x="1901" y="1605"/>
                  </a:lnTo>
                  <a:lnTo>
                    <a:pt x="1937" y="1640"/>
                  </a:lnTo>
                  <a:lnTo>
                    <a:pt x="1961" y="1712"/>
                  </a:lnTo>
                  <a:lnTo>
                    <a:pt x="2008" y="1783"/>
                  </a:lnTo>
                  <a:lnTo>
                    <a:pt x="2056" y="1818"/>
                  </a:lnTo>
                  <a:lnTo>
                    <a:pt x="2091" y="1818"/>
                  </a:lnTo>
                  <a:lnTo>
                    <a:pt x="2127" y="1795"/>
                  </a:lnTo>
                  <a:lnTo>
                    <a:pt x="2151" y="1747"/>
                  </a:lnTo>
                  <a:lnTo>
                    <a:pt x="2187" y="1712"/>
                  </a:lnTo>
                  <a:lnTo>
                    <a:pt x="2187" y="1700"/>
                  </a:lnTo>
                  <a:lnTo>
                    <a:pt x="2198" y="1688"/>
                  </a:lnTo>
                  <a:lnTo>
                    <a:pt x="2222" y="1664"/>
                  </a:lnTo>
                  <a:lnTo>
                    <a:pt x="2270" y="1628"/>
                  </a:lnTo>
                  <a:lnTo>
                    <a:pt x="2317" y="1557"/>
                  </a:lnTo>
                  <a:lnTo>
                    <a:pt x="2317" y="1533"/>
                  </a:lnTo>
                  <a:lnTo>
                    <a:pt x="2282" y="1474"/>
                  </a:lnTo>
                  <a:lnTo>
                    <a:pt x="2270" y="1438"/>
                  </a:lnTo>
                  <a:lnTo>
                    <a:pt x="2282" y="1367"/>
                  </a:lnTo>
                  <a:lnTo>
                    <a:pt x="2305" y="1343"/>
                  </a:lnTo>
                  <a:lnTo>
                    <a:pt x="2353" y="1319"/>
                  </a:lnTo>
                  <a:lnTo>
                    <a:pt x="2412" y="1260"/>
                  </a:lnTo>
                  <a:lnTo>
                    <a:pt x="2484" y="1248"/>
                  </a:lnTo>
                  <a:lnTo>
                    <a:pt x="2507" y="1272"/>
                  </a:lnTo>
                  <a:lnTo>
                    <a:pt x="2507" y="1296"/>
                  </a:lnTo>
                  <a:lnTo>
                    <a:pt x="2519" y="1307"/>
                  </a:lnTo>
                  <a:lnTo>
                    <a:pt x="2614" y="1296"/>
                  </a:lnTo>
                  <a:lnTo>
                    <a:pt x="2674" y="1319"/>
                  </a:lnTo>
                  <a:lnTo>
                    <a:pt x="2709" y="1272"/>
                  </a:lnTo>
                  <a:lnTo>
                    <a:pt x="2769" y="1236"/>
                  </a:lnTo>
                  <a:lnTo>
                    <a:pt x="2828" y="1224"/>
                  </a:lnTo>
                  <a:lnTo>
                    <a:pt x="2864" y="1260"/>
                  </a:lnTo>
                  <a:lnTo>
                    <a:pt x="2888" y="1260"/>
                  </a:lnTo>
                  <a:lnTo>
                    <a:pt x="2923" y="1212"/>
                  </a:lnTo>
                  <a:lnTo>
                    <a:pt x="3018" y="1189"/>
                  </a:lnTo>
                  <a:lnTo>
                    <a:pt x="3173" y="1212"/>
                  </a:lnTo>
                  <a:lnTo>
                    <a:pt x="3220" y="1165"/>
                  </a:lnTo>
                  <a:lnTo>
                    <a:pt x="3209" y="1105"/>
                  </a:lnTo>
                  <a:lnTo>
                    <a:pt x="3220" y="1022"/>
                  </a:lnTo>
                  <a:lnTo>
                    <a:pt x="3185" y="975"/>
                  </a:lnTo>
                  <a:lnTo>
                    <a:pt x="3185" y="939"/>
                  </a:lnTo>
                  <a:lnTo>
                    <a:pt x="3197" y="915"/>
                  </a:lnTo>
                  <a:lnTo>
                    <a:pt x="3244" y="915"/>
                  </a:lnTo>
                  <a:lnTo>
                    <a:pt x="3304" y="927"/>
                  </a:lnTo>
                  <a:lnTo>
                    <a:pt x="3327" y="915"/>
                  </a:lnTo>
                  <a:lnTo>
                    <a:pt x="3363" y="856"/>
                  </a:lnTo>
                  <a:lnTo>
                    <a:pt x="3363" y="808"/>
                  </a:lnTo>
                  <a:lnTo>
                    <a:pt x="3375" y="785"/>
                  </a:lnTo>
                  <a:lnTo>
                    <a:pt x="3482" y="761"/>
                  </a:lnTo>
                  <a:lnTo>
                    <a:pt x="3506" y="749"/>
                  </a:lnTo>
                  <a:lnTo>
                    <a:pt x="3506" y="725"/>
                  </a:lnTo>
                  <a:lnTo>
                    <a:pt x="3494" y="701"/>
                  </a:lnTo>
                  <a:lnTo>
                    <a:pt x="3482" y="642"/>
                  </a:lnTo>
                  <a:lnTo>
                    <a:pt x="3470" y="630"/>
                  </a:lnTo>
                  <a:lnTo>
                    <a:pt x="3399" y="630"/>
                  </a:lnTo>
                  <a:lnTo>
                    <a:pt x="3363" y="618"/>
                  </a:lnTo>
                  <a:lnTo>
                    <a:pt x="3363" y="571"/>
                  </a:lnTo>
                  <a:lnTo>
                    <a:pt x="3375" y="547"/>
                  </a:lnTo>
                  <a:lnTo>
                    <a:pt x="3411" y="547"/>
                  </a:lnTo>
                  <a:lnTo>
                    <a:pt x="3446" y="464"/>
                  </a:lnTo>
                  <a:lnTo>
                    <a:pt x="3601" y="416"/>
                  </a:lnTo>
                  <a:lnTo>
                    <a:pt x="3648" y="392"/>
                  </a:lnTo>
                  <a:lnTo>
                    <a:pt x="3660" y="369"/>
                  </a:lnTo>
                  <a:lnTo>
                    <a:pt x="3660" y="321"/>
                  </a:lnTo>
                  <a:lnTo>
                    <a:pt x="3672" y="285"/>
                  </a:lnTo>
                  <a:lnTo>
                    <a:pt x="3731" y="262"/>
                  </a:lnTo>
                  <a:lnTo>
                    <a:pt x="3803" y="250"/>
                  </a:lnTo>
                  <a:lnTo>
                    <a:pt x="3850" y="202"/>
                  </a:lnTo>
                  <a:lnTo>
                    <a:pt x="3838" y="131"/>
                  </a:lnTo>
                  <a:lnTo>
                    <a:pt x="3874" y="83"/>
                  </a:lnTo>
                  <a:lnTo>
                    <a:pt x="3886" y="36"/>
                  </a:lnTo>
                  <a:lnTo>
                    <a:pt x="3898" y="24"/>
                  </a:lnTo>
                  <a:lnTo>
                    <a:pt x="4005" y="24"/>
                  </a:lnTo>
                  <a:lnTo>
                    <a:pt x="4005" y="24"/>
                  </a:lnTo>
                  <a:lnTo>
                    <a:pt x="4064" y="24"/>
                  </a:lnTo>
                  <a:lnTo>
                    <a:pt x="4112" y="12"/>
                  </a:lnTo>
                  <a:lnTo>
                    <a:pt x="4171" y="36"/>
                  </a:lnTo>
                  <a:lnTo>
                    <a:pt x="4159" y="24"/>
                  </a:lnTo>
                  <a:lnTo>
                    <a:pt x="4302" y="12"/>
                  </a:lnTo>
                  <a:lnTo>
                    <a:pt x="4540" y="12"/>
                  </a:lnTo>
                  <a:lnTo>
                    <a:pt x="4540" y="0"/>
                  </a:lnTo>
                  <a:lnTo>
                    <a:pt x="4742" y="24"/>
                  </a:lnTo>
                  <a:lnTo>
                    <a:pt x="4753" y="36"/>
                  </a:lnTo>
                  <a:lnTo>
                    <a:pt x="4777" y="83"/>
                  </a:lnTo>
                  <a:lnTo>
                    <a:pt x="4813" y="95"/>
                  </a:lnTo>
                  <a:lnTo>
                    <a:pt x="4848" y="95"/>
                  </a:lnTo>
                  <a:lnTo>
                    <a:pt x="4848" y="83"/>
                  </a:lnTo>
                  <a:lnTo>
                    <a:pt x="4908" y="119"/>
                  </a:lnTo>
                  <a:lnTo>
                    <a:pt x="4932" y="179"/>
                  </a:lnTo>
                  <a:lnTo>
                    <a:pt x="4920" y="274"/>
                  </a:lnTo>
                  <a:lnTo>
                    <a:pt x="4944" y="309"/>
                  </a:lnTo>
                  <a:lnTo>
                    <a:pt x="5003" y="345"/>
                  </a:lnTo>
                  <a:lnTo>
                    <a:pt x="5039" y="381"/>
                  </a:lnTo>
                  <a:lnTo>
                    <a:pt x="5074" y="452"/>
                  </a:lnTo>
                  <a:lnTo>
                    <a:pt x="5122" y="476"/>
                  </a:lnTo>
                  <a:lnTo>
                    <a:pt x="5134" y="476"/>
                  </a:lnTo>
                  <a:lnTo>
                    <a:pt x="5157" y="440"/>
                  </a:lnTo>
                  <a:lnTo>
                    <a:pt x="5157" y="440"/>
                  </a:lnTo>
                  <a:lnTo>
                    <a:pt x="5205" y="428"/>
                  </a:lnTo>
                  <a:lnTo>
                    <a:pt x="5205" y="428"/>
                  </a:lnTo>
                  <a:lnTo>
                    <a:pt x="5241" y="428"/>
                  </a:lnTo>
                  <a:lnTo>
                    <a:pt x="5300" y="511"/>
                  </a:lnTo>
                  <a:lnTo>
                    <a:pt x="5324" y="630"/>
                  </a:lnTo>
                  <a:lnTo>
                    <a:pt x="5360" y="713"/>
                  </a:lnTo>
                  <a:lnTo>
                    <a:pt x="5407" y="737"/>
                  </a:lnTo>
                  <a:lnTo>
                    <a:pt x="5478" y="713"/>
                  </a:lnTo>
                  <a:lnTo>
                    <a:pt x="5514" y="713"/>
                  </a:lnTo>
                  <a:lnTo>
                    <a:pt x="5526" y="725"/>
                  </a:lnTo>
                  <a:lnTo>
                    <a:pt x="5550" y="856"/>
                  </a:lnTo>
                  <a:lnTo>
                    <a:pt x="5585" y="927"/>
                  </a:lnTo>
                  <a:lnTo>
                    <a:pt x="5680" y="951"/>
                  </a:lnTo>
                  <a:lnTo>
                    <a:pt x="5847" y="1034"/>
                  </a:lnTo>
                  <a:lnTo>
                    <a:pt x="5871" y="1034"/>
                  </a:lnTo>
                  <a:lnTo>
                    <a:pt x="5906" y="1010"/>
                  </a:lnTo>
                  <a:lnTo>
                    <a:pt x="5918" y="998"/>
                  </a:lnTo>
                  <a:lnTo>
                    <a:pt x="5918" y="939"/>
                  </a:lnTo>
                  <a:lnTo>
                    <a:pt x="5942" y="903"/>
                  </a:lnTo>
                  <a:lnTo>
                    <a:pt x="5942" y="880"/>
                  </a:lnTo>
                  <a:lnTo>
                    <a:pt x="5977" y="868"/>
                  </a:lnTo>
                  <a:lnTo>
                    <a:pt x="6025" y="892"/>
                  </a:lnTo>
                  <a:lnTo>
                    <a:pt x="6037" y="880"/>
                  </a:lnTo>
                  <a:lnTo>
                    <a:pt x="6049" y="868"/>
                  </a:lnTo>
                  <a:lnTo>
                    <a:pt x="6073" y="820"/>
                  </a:lnTo>
                  <a:lnTo>
                    <a:pt x="6084" y="808"/>
                  </a:lnTo>
                  <a:lnTo>
                    <a:pt x="6108" y="820"/>
                  </a:lnTo>
                  <a:lnTo>
                    <a:pt x="6120" y="832"/>
                  </a:lnTo>
                  <a:lnTo>
                    <a:pt x="6144" y="868"/>
                  </a:lnTo>
                  <a:lnTo>
                    <a:pt x="6203" y="880"/>
                  </a:lnTo>
                  <a:lnTo>
                    <a:pt x="6251" y="939"/>
                  </a:lnTo>
                  <a:lnTo>
                    <a:pt x="6275" y="951"/>
                  </a:lnTo>
                  <a:lnTo>
                    <a:pt x="6275" y="95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20" name="Freeform 312"/>
            <p:cNvSpPr>
              <a:spLocks/>
            </p:cNvSpPr>
            <p:nvPr/>
          </p:nvSpPr>
          <p:spPr bwMode="auto">
            <a:xfrm>
              <a:off x="-8591550" y="-9540875"/>
              <a:ext cx="21337588" cy="20129500"/>
            </a:xfrm>
            <a:custGeom>
              <a:avLst/>
              <a:gdLst/>
              <a:ahLst/>
              <a:cxnLst>
                <a:cxn ang="0">
                  <a:pos x="1557" y="8010"/>
                </a:cxn>
                <a:cxn ang="0">
                  <a:pos x="1747" y="8794"/>
                </a:cxn>
                <a:cxn ang="0">
                  <a:pos x="1569" y="9460"/>
                </a:cxn>
                <a:cxn ang="0">
                  <a:pos x="3838" y="10708"/>
                </a:cxn>
                <a:cxn ang="0">
                  <a:pos x="3969" y="10922"/>
                </a:cxn>
                <a:cxn ang="0">
                  <a:pos x="4183" y="11955"/>
                </a:cxn>
                <a:cxn ang="0">
                  <a:pos x="4587" y="12134"/>
                </a:cxn>
                <a:cxn ang="0">
                  <a:pos x="4753" y="12146"/>
                </a:cxn>
                <a:cxn ang="0">
                  <a:pos x="4753" y="12217"/>
                </a:cxn>
                <a:cxn ang="0">
                  <a:pos x="4789" y="12276"/>
                </a:cxn>
                <a:cxn ang="0">
                  <a:pos x="4789" y="12348"/>
                </a:cxn>
                <a:cxn ang="0">
                  <a:pos x="5003" y="12526"/>
                </a:cxn>
                <a:cxn ang="0">
                  <a:pos x="5526" y="12276"/>
                </a:cxn>
                <a:cxn ang="0">
                  <a:pos x="5811" y="11884"/>
                </a:cxn>
                <a:cxn ang="0">
                  <a:pos x="6286" y="11789"/>
                </a:cxn>
                <a:cxn ang="0">
                  <a:pos x="6964" y="11825"/>
                </a:cxn>
                <a:cxn ang="0">
                  <a:pos x="7653" y="12217"/>
                </a:cxn>
                <a:cxn ang="0">
                  <a:pos x="8283" y="11979"/>
                </a:cxn>
                <a:cxn ang="0">
                  <a:pos x="8877" y="12122"/>
                </a:cxn>
                <a:cxn ang="0">
                  <a:pos x="9317" y="11706"/>
                </a:cxn>
                <a:cxn ang="0">
                  <a:pos x="9174" y="12526"/>
                </a:cxn>
                <a:cxn ang="0">
                  <a:pos x="10054" y="12657"/>
                </a:cxn>
                <a:cxn ang="0">
                  <a:pos x="9899" y="11825"/>
                </a:cxn>
                <a:cxn ang="0">
                  <a:pos x="10363" y="11100"/>
                </a:cxn>
                <a:cxn ang="0">
                  <a:pos x="10529" y="10720"/>
                </a:cxn>
                <a:cxn ang="0">
                  <a:pos x="10731" y="10411"/>
                </a:cxn>
                <a:cxn ang="0">
                  <a:pos x="11301" y="10030"/>
                </a:cxn>
                <a:cxn ang="0">
                  <a:pos x="11575" y="9686"/>
                </a:cxn>
                <a:cxn ang="0">
                  <a:pos x="12062" y="9044"/>
                </a:cxn>
                <a:cxn ang="0">
                  <a:pos x="12502" y="8295"/>
                </a:cxn>
                <a:cxn ang="0">
                  <a:pos x="12668" y="7689"/>
                </a:cxn>
                <a:cxn ang="0">
                  <a:pos x="12918" y="6905"/>
                </a:cxn>
                <a:cxn ang="0">
                  <a:pos x="12953" y="6477"/>
                </a:cxn>
                <a:cxn ang="0">
                  <a:pos x="12858" y="6192"/>
                </a:cxn>
                <a:cxn ang="0">
                  <a:pos x="12870" y="5740"/>
                </a:cxn>
                <a:cxn ang="0">
                  <a:pos x="12906" y="5087"/>
                </a:cxn>
                <a:cxn ang="0">
                  <a:pos x="12965" y="4160"/>
                </a:cxn>
                <a:cxn ang="0">
                  <a:pos x="13215" y="3542"/>
                </a:cxn>
                <a:cxn ang="0">
                  <a:pos x="11373" y="2781"/>
                </a:cxn>
                <a:cxn ang="0">
                  <a:pos x="5764" y="2425"/>
                </a:cxn>
                <a:cxn ang="0">
                  <a:pos x="5395" y="2033"/>
                </a:cxn>
                <a:cxn ang="0">
                  <a:pos x="4825" y="1640"/>
                </a:cxn>
                <a:cxn ang="0">
                  <a:pos x="4646" y="1165"/>
                </a:cxn>
                <a:cxn ang="0">
                  <a:pos x="4207" y="179"/>
                </a:cxn>
                <a:cxn ang="0">
                  <a:pos x="3910" y="416"/>
                </a:cxn>
                <a:cxn ang="0">
                  <a:pos x="3886" y="1141"/>
                </a:cxn>
                <a:cxn ang="0">
                  <a:pos x="2769" y="1724"/>
                </a:cxn>
                <a:cxn ang="0">
                  <a:pos x="1854" y="1735"/>
                </a:cxn>
                <a:cxn ang="0">
                  <a:pos x="535" y="1759"/>
                </a:cxn>
                <a:cxn ang="0">
                  <a:pos x="154" y="1973"/>
                </a:cxn>
                <a:cxn ang="0">
                  <a:pos x="0" y="2448"/>
                </a:cxn>
                <a:cxn ang="0">
                  <a:pos x="107" y="2888"/>
                </a:cxn>
                <a:cxn ang="0">
                  <a:pos x="59" y="3577"/>
                </a:cxn>
                <a:cxn ang="0">
                  <a:pos x="190" y="4397"/>
                </a:cxn>
                <a:cxn ang="0">
                  <a:pos x="1402" y="4386"/>
                </a:cxn>
                <a:cxn ang="0">
                  <a:pos x="1949" y="4504"/>
                </a:cxn>
                <a:cxn ang="0">
                  <a:pos x="1878" y="5027"/>
                </a:cxn>
                <a:cxn ang="0">
                  <a:pos x="2068" y="5645"/>
                </a:cxn>
                <a:cxn ang="0">
                  <a:pos x="2068" y="6204"/>
                </a:cxn>
                <a:cxn ang="0">
                  <a:pos x="1569" y="7297"/>
                </a:cxn>
              </a:cxnLst>
              <a:rect l="0" t="0" r="r" b="b"/>
              <a:pathLst>
                <a:path w="13441" h="12680">
                  <a:moveTo>
                    <a:pt x="1141" y="7654"/>
                  </a:moveTo>
                  <a:lnTo>
                    <a:pt x="1153" y="7654"/>
                  </a:lnTo>
                  <a:lnTo>
                    <a:pt x="1236" y="7689"/>
                  </a:lnTo>
                  <a:lnTo>
                    <a:pt x="1343" y="7725"/>
                  </a:lnTo>
                  <a:lnTo>
                    <a:pt x="1438" y="7761"/>
                  </a:lnTo>
                  <a:lnTo>
                    <a:pt x="1462" y="7772"/>
                  </a:lnTo>
                  <a:lnTo>
                    <a:pt x="1497" y="7820"/>
                  </a:lnTo>
                  <a:lnTo>
                    <a:pt x="1497" y="7856"/>
                  </a:lnTo>
                  <a:lnTo>
                    <a:pt x="1545" y="7939"/>
                  </a:lnTo>
                  <a:lnTo>
                    <a:pt x="1557" y="7963"/>
                  </a:lnTo>
                  <a:lnTo>
                    <a:pt x="1557" y="8010"/>
                  </a:lnTo>
                  <a:lnTo>
                    <a:pt x="1497" y="8093"/>
                  </a:lnTo>
                  <a:lnTo>
                    <a:pt x="1462" y="8200"/>
                  </a:lnTo>
                  <a:lnTo>
                    <a:pt x="1497" y="8248"/>
                  </a:lnTo>
                  <a:lnTo>
                    <a:pt x="1497" y="8331"/>
                  </a:lnTo>
                  <a:lnTo>
                    <a:pt x="1580" y="8426"/>
                  </a:lnTo>
                  <a:lnTo>
                    <a:pt x="1592" y="8521"/>
                  </a:lnTo>
                  <a:lnTo>
                    <a:pt x="1640" y="8592"/>
                  </a:lnTo>
                  <a:lnTo>
                    <a:pt x="1652" y="8640"/>
                  </a:lnTo>
                  <a:lnTo>
                    <a:pt x="1711" y="8699"/>
                  </a:lnTo>
                  <a:lnTo>
                    <a:pt x="1723" y="8735"/>
                  </a:lnTo>
                  <a:lnTo>
                    <a:pt x="1747" y="8794"/>
                  </a:lnTo>
                  <a:lnTo>
                    <a:pt x="1747" y="8854"/>
                  </a:lnTo>
                  <a:lnTo>
                    <a:pt x="1735" y="8866"/>
                  </a:lnTo>
                  <a:lnTo>
                    <a:pt x="1747" y="8889"/>
                  </a:lnTo>
                  <a:lnTo>
                    <a:pt x="1759" y="8985"/>
                  </a:lnTo>
                  <a:lnTo>
                    <a:pt x="1771" y="9294"/>
                  </a:lnTo>
                  <a:lnTo>
                    <a:pt x="1414" y="9294"/>
                  </a:lnTo>
                  <a:lnTo>
                    <a:pt x="1450" y="9329"/>
                  </a:lnTo>
                  <a:lnTo>
                    <a:pt x="1438" y="9341"/>
                  </a:lnTo>
                  <a:lnTo>
                    <a:pt x="1485" y="9400"/>
                  </a:lnTo>
                  <a:lnTo>
                    <a:pt x="1509" y="9400"/>
                  </a:lnTo>
                  <a:lnTo>
                    <a:pt x="1569" y="9460"/>
                  </a:lnTo>
                  <a:lnTo>
                    <a:pt x="1569" y="9472"/>
                  </a:lnTo>
                  <a:lnTo>
                    <a:pt x="1628" y="9543"/>
                  </a:lnTo>
                  <a:lnTo>
                    <a:pt x="1640" y="9543"/>
                  </a:lnTo>
                  <a:lnTo>
                    <a:pt x="1782" y="9721"/>
                  </a:lnTo>
                  <a:lnTo>
                    <a:pt x="1794" y="9721"/>
                  </a:lnTo>
                  <a:lnTo>
                    <a:pt x="1818" y="9781"/>
                  </a:lnTo>
                  <a:lnTo>
                    <a:pt x="1901" y="10684"/>
                  </a:lnTo>
                  <a:lnTo>
                    <a:pt x="2080" y="10684"/>
                  </a:lnTo>
                  <a:lnTo>
                    <a:pt x="2531" y="10684"/>
                  </a:lnTo>
                  <a:lnTo>
                    <a:pt x="2579" y="10696"/>
                  </a:lnTo>
                  <a:lnTo>
                    <a:pt x="3838" y="10708"/>
                  </a:lnTo>
                  <a:lnTo>
                    <a:pt x="3874" y="10684"/>
                  </a:lnTo>
                  <a:lnTo>
                    <a:pt x="3910" y="10660"/>
                  </a:lnTo>
                  <a:lnTo>
                    <a:pt x="3957" y="10636"/>
                  </a:lnTo>
                  <a:lnTo>
                    <a:pt x="3993" y="10636"/>
                  </a:lnTo>
                  <a:lnTo>
                    <a:pt x="4005" y="10648"/>
                  </a:lnTo>
                  <a:lnTo>
                    <a:pt x="4040" y="10684"/>
                  </a:lnTo>
                  <a:lnTo>
                    <a:pt x="4040" y="10720"/>
                  </a:lnTo>
                  <a:lnTo>
                    <a:pt x="4017" y="10779"/>
                  </a:lnTo>
                  <a:lnTo>
                    <a:pt x="3969" y="10815"/>
                  </a:lnTo>
                  <a:lnTo>
                    <a:pt x="3957" y="10838"/>
                  </a:lnTo>
                  <a:lnTo>
                    <a:pt x="3969" y="10922"/>
                  </a:lnTo>
                  <a:lnTo>
                    <a:pt x="3910" y="11017"/>
                  </a:lnTo>
                  <a:lnTo>
                    <a:pt x="3886" y="11029"/>
                  </a:lnTo>
                  <a:lnTo>
                    <a:pt x="3874" y="11064"/>
                  </a:lnTo>
                  <a:lnTo>
                    <a:pt x="3862" y="11100"/>
                  </a:lnTo>
                  <a:lnTo>
                    <a:pt x="3886" y="11147"/>
                  </a:lnTo>
                  <a:lnTo>
                    <a:pt x="3886" y="11195"/>
                  </a:lnTo>
                  <a:lnTo>
                    <a:pt x="3838" y="11231"/>
                  </a:lnTo>
                  <a:lnTo>
                    <a:pt x="3874" y="11492"/>
                  </a:lnTo>
                  <a:lnTo>
                    <a:pt x="3945" y="11706"/>
                  </a:lnTo>
                  <a:lnTo>
                    <a:pt x="4076" y="11860"/>
                  </a:lnTo>
                  <a:lnTo>
                    <a:pt x="4183" y="11955"/>
                  </a:lnTo>
                  <a:lnTo>
                    <a:pt x="4219" y="11967"/>
                  </a:lnTo>
                  <a:lnTo>
                    <a:pt x="4231" y="11920"/>
                  </a:lnTo>
                  <a:lnTo>
                    <a:pt x="4254" y="11920"/>
                  </a:lnTo>
                  <a:lnTo>
                    <a:pt x="4302" y="12039"/>
                  </a:lnTo>
                  <a:lnTo>
                    <a:pt x="4326" y="12051"/>
                  </a:lnTo>
                  <a:lnTo>
                    <a:pt x="4349" y="12051"/>
                  </a:lnTo>
                  <a:lnTo>
                    <a:pt x="4409" y="12039"/>
                  </a:lnTo>
                  <a:lnTo>
                    <a:pt x="4516" y="12098"/>
                  </a:lnTo>
                  <a:lnTo>
                    <a:pt x="4563" y="12110"/>
                  </a:lnTo>
                  <a:lnTo>
                    <a:pt x="4587" y="12122"/>
                  </a:lnTo>
                  <a:lnTo>
                    <a:pt x="4587" y="12134"/>
                  </a:lnTo>
                  <a:lnTo>
                    <a:pt x="4611" y="12158"/>
                  </a:lnTo>
                  <a:lnTo>
                    <a:pt x="4658" y="12158"/>
                  </a:lnTo>
                  <a:lnTo>
                    <a:pt x="4706" y="12169"/>
                  </a:lnTo>
                  <a:lnTo>
                    <a:pt x="4706" y="12146"/>
                  </a:lnTo>
                  <a:lnTo>
                    <a:pt x="4706" y="12146"/>
                  </a:lnTo>
                  <a:lnTo>
                    <a:pt x="4718" y="12134"/>
                  </a:lnTo>
                  <a:lnTo>
                    <a:pt x="4730" y="12122"/>
                  </a:lnTo>
                  <a:lnTo>
                    <a:pt x="4730" y="12122"/>
                  </a:lnTo>
                  <a:lnTo>
                    <a:pt x="4742" y="12134"/>
                  </a:lnTo>
                  <a:lnTo>
                    <a:pt x="4742" y="12134"/>
                  </a:lnTo>
                  <a:lnTo>
                    <a:pt x="4753" y="12146"/>
                  </a:lnTo>
                  <a:lnTo>
                    <a:pt x="4742" y="12146"/>
                  </a:lnTo>
                  <a:lnTo>
                    <a:pt x="4753" y="12158"/>
                  </a:lnTo>
                  <a:lnTo>
                    <a:pt x="4753" y="12158"/>
                  </a:lnTo>
                  <a:lnTo>
                    <a:pt x="4753" y="12169"/>
                  </a:lnTo>
                  <a:lnTo>
                    <a:pt x="4753" y="12181"/>
                  </a:lnTo>
                  <a:lnTo>
                    <a:pt x="4765" y="12181"/>
                  </a:lnTo>
                  <a:lnTo>
                    <a:pt x="4765" y="12193"/>
                  </a:lnTo>
                  <a:lnTo>
                    <a:pt x="4753" y="12193"/>
                  </a:lnTo>
                  <a:lnTo>
                    <a:pt x="4765" y="12205"/>
                  </a:lnTo>
                  <a:lnTo>
                    <a:pt x="4765" y="12205"/>
                  </a:lnTo>
                  <a:lnTo>
                    <a:pt x="4753" y="12217"/>
                  </a:lnTo>
                  <a:lnTo>
                    <a:pt x="4765" y="12229"/>
                  </a:lnTo>
                  <a:lnTo>
                    <a:pt x="4765" y="12229"/>
                  </a:lnTo>
                  <a:lnTo>
                    <a:pt x="4765" y="12241"/>
                  </a:lnTo>
                  <a:lnTo>
                    <a:pt x="4765" y="12241"/>
                  </a:lnTo>
                  <a:lnTo>
                    <a:pt x="4777" y="12241"/>
                  </a:lnTo>
                  <a:lnTo>
                    <a:pt x="4777" y="12253"/>
                  </a:lnTo>
                  <a:lnTo>
                    <a:pt x="4777" y="12253"/>
                  </a:lnTo>
                  <a:lnTo>
                    <a:pt x="4789" y="12253"/>
                  </a:lnTo>
                  <a:lnTo>
                    <a:pt x="4777" y="12264"/>
                  </a:lnTo>
                  <a:lnTo>
                    <a:pt x="4789" y="12264"/>
                  </a:lnTo>
                  <a:lnTo>
                    <a:pt x="4789" y="12276"/>
                  </a:lnTo>
                  <a:lnTo>
                    <a:pt x="4801" y="12288"/>
                  </a:lnTo>
                  <a:lnTo>
                    <a:pt x="4801" y="12288"/>
                  </a:lnTo>
                  <a:lnTo>
                    <a:pt x="4789" y="12300"/>
                  </a:lnTo>
                  <a:lnTo>
                    <a:pt x="4801" y="12312"/>
                  </a:lnTo>
                  <a:lnTo>
                    <a:pt x="4789" y="12312"/>
                  </a:lnTo>
                  <a:lnTo>
                    <a:pt x="4789" y="12312"/>
                  </a:lnTo>
                  <a:lnTo>
                    <a:pt x="4789" y="12324"/>
                  </a:lnTo>
                  <a:lnTo>
                    <a:pt x="4789" y="12336"/>
                  </a:lnTo>
                  <a:lnTo>
                    <a:pt x="4777" y="12336"/>
                  </a:lnTo>
                  <a:lnTo>
                    <a:pt x="4777" y="12348"/>
                  </a:lnTo>
                  <a:lnTo>
                    <a:pt x="4789" y="12348"/>
                  </a:lnTo>
                  <a:lnTo>
                    <a:pt x="4801" y="12348"/>
                  </a:lnTo>
                  <a:lnTo>
                    <a:pt x="4801" y="12360"/>
                  </a:lnTo>
                  <a:lnTo>
                    <a:pt x="4801" y="12360"/>
                  </a:lnTo>
                  <a:lnTo>
                    <a:pt x="4813" y="12360"/>
                  </a:lnTo>
                  <a:lnTo>
                    <a:pt x="4825" y="12360"/>
                  </a:lnTo>
                  <a:lnTo>
                    <a:pt x="4825" y="12371"/>
                  </a:lnTo>
                  <a:lnTo>
                    <a:pt x="4872" y="12466"/>
                  </a:lnTo>
                  <a:lnTo>
                    <a:pt x="4920" y="12490"/>
                  </a:lnTo>
                  <a:lnTo>
                    <a:pt x="4967" y="12538"/>
                  </a:lnTo>
                  <a:lnTo>
                    <a:pt x="4991" y="12550"/>
                  </a:lnTo>
                  <a:lnTo>
                    <a:pt x="5003" y="12526"/>
                  </a:lnTo>
                  <a:lnTo>
                    <a:pt x="5015" y="12538"/>
                  </a:lnTo>
                  <a:lnTo>
                    <a:pt x="5027" y="12550"/>
                  </a:lnTo>
                  <a:lnTo>
                    <a:pt x="5122" y="12466"/>
                  </a:lnTo>
                  <a:lnTo>
                    <a:pt x="5169" y="12455"/>
                  </a:lnTo>
                  <a:lnTo>
                    <a:pt x="5205" y="12443"/>
                  </a:lnTo>
                  <a:lnTo>
                    <a:pt x="5288" y="12419"/>
                  </a:lnTo>
                  <a:lnTo>
                    <a:pt x="5360" y="12395"/>
                  </a:lnTo>
                  <a:lnTo>
                    <a:pt x="5395" y="12407"/>
                  </a:lnTo>
                  <a:lnTo>
                    <a:pt x="5466" y="12360"/>
                  </a:lnTo>
                  <a:lnTo>
                    <a:pt x="5490" y="12300"/>
                  </a:lnTo>
                  <a:lnTo>
                    <a:pt x="5526" y="12276"/>
                  </a:lnTo>
                  <a:lnTo>
                    <a:pt x="5562" y="12169"/>
                  </a:lnTo>
                  <a:lnTo>
                    <a:pt x="5633" y="12110"/>
                  </a:lnTo>
                  <a:lnTo>
                    <a:pt x="5657" y="12098"/>
                  </a:lnTo>
                  <a:lnTo>
                    <a:pt x="5692" y="12098"/>
                  </a:lnTo>
                  <a:lnTo>
                    <a:pt x="5704" y="12086"/>
                  </a:lnTo>
                  <a:lnTo>
                    <a:pt x="5704" y="12027"/>
                  </a:lnTo>
                  <a:lnTo>
                    <a:pt x="5740" y="11979"/>
                  </a:lnTo>
                  <a:lnTo>
                    <a:pt x="5740" y="11932"/>
                  </a:lnTo>
                  <a:lnTo>
                    <a:pt x="5775" y="11920"/>
                  </a:lnTo>
                  <a:lnTo>
                    <a:pt x="5799" y="11896"/>
                  </a:lnTo>
                  <a:lnTo>
                    <a:pt x="5811" y="11884"/>
                  </a:lnTo>
                  <a:lnTo>
                    <a:pt x="5847" y="11884"/>
                  </a:lnTo>
                  <a:lnTo>
                    <a:pt x="5871" y="11860"/>
                  </a:lnTo>
                  <a:lnTo>
                    <a:pt x="5894" y="11837"/>
                  </a:lnTo>
                  <a:lnTo>
                    <a:pt x="6049" y="11837"/>
                  </a:lnTo>
                  <a:lnTo>
                    <a:pt x="6073" y="11837"/>
                  </a:lnTo>
                  <a:lnTo>
                    <a:pt x="6096" y="11813"/>
                  </a:lnTo>
                  <a:lnTo>
                    <a:pt x="6132" y="11813"/>
                  </a:lnTo>
                  <a:lnTo>
                    <a:pt x="6180" y="11837"/>
                  </a:lnTo>
                  <a:lnTo>
                    <a:pt x="6203" y="11837"/>
                  </a:lnTo>
                  <a:lnTo>
                    <a:pt x="6251" y="11789"/>
                  </a:lnTo>
                  <a:lnTo>
                    <a:pt x="6286" y="11789"/>
                  </a:lnTo>
                  <a:lnTo>
                    <a:pt x="6334" y="11777"/>
                  </a:lnTo>
                  <a:lnTo>
                    <a:pt x="6358" y="11742"/>
                  </a:lnTo>
                  <a:lnTo>
                    <a:pt x="6477" y="11670"/>
                  </a:lnTo>
                  <a:lnTo>
                    <a:pt x="6524" y="11658"/>
                  </a:lnTo>
                  <a:lnTo>
                    <a:pt x="6643" y="11658"/>
                  </a:lnTo>
                  <a:lnTo>
                    <a:pt x="6714" y="11706"/>
                  </a:lnTo>
                  <a:lnTo>
                    <a:pt x="6762" y="11730"/>
                  </a:lnTo>
                  <a:lnTo>
                    <a:pt x="6821" y="11765"/>
                  </a:lnTo>
                  <a:lnTo>
                    <a:pt x="6857" y="11777"/>
                  </a:lnTo>
                  <a:lnTo>
                    <a:pt x="6916" y="11813"/>
                  </a:lnTo>
                  <a:lnTo>
                    <a:pt x="6964" y="11825"/>
                  </a:lnTo>
                  <a:lnTo>
                    <a:pt x="7011" y="11849"/>
                  </a:lnTo>
                  <a:lnTo>
                    <a:pt x="7071" y="11837"/>
                  </a:lnTo>
                  <a:lnTo>
                    <a:pt x="7142" y="11860"/>
                  </a:lnTo>
                  <a:lnTo>
                    <a:pt x="7178" y="11920"/>
                  </a:lnTo>
                  <a:lnTo>
                    <a:pt x="7225" y="11967"/>
                  </a:lnTo>
                  <a:lnTo>
                    <a:pt x="7308" y="12003"/>
                  </a:lnTo>
                  <a:lnTo>
                    <a:pt x="7344" y="12039"/>
                  </a:lnTo>
                  <a:lnTo>
                    <a:pt x="7427" y="12074"/>
                  </a:lnTo>
                  <a:lnTo>
                    <a:pt x="7510" y="12098"/>
                  </a:lnTo>
                  <a:lnTo>
                    <a:pt x="7546" y="12134"/>
                  </a:lnTo>
                  <a:lnTo>
                    <a:pt x="7653" y="12217"/>
                  </a:lnTo>
                  <a:lnTo>
                    <a:pt x="7724" y="12193"/>
                  </a:lnTo>
                  <a:lnTo>
                    <a:pt x="7784" y="12193"/>
                  </a:lnTo>
                  <a:lnTo>
                    <a:pt x="7891" y="12158"/>
                  </a:lnTo>
                  <a:lnTo>
                    <a:pt x="7962" y="12169"/>
                  </a:lnTo>
                  <a:lnTo>
                    <a:pt x="7998" y="12158"/>
                  </a:lnTo>
                  <a:lnTo>
                    <a:pt x="8057" y="12110"/>
                  </a:lnTo>
                  <a:lnTo>
                    <a:pt x="8093" y="12098"/>
                  </a:lnTo>
                  <a:lnTo>
                    <a:pt x="8128" y="12039"/>
                  </a:lnTo>
                  <a:lnTo>
                    <a:pt x="8164" y="12015"/>
                  </a:lnTo>
                  <a:lnTo>
                    <a:pt x="8247" y="12003"/>
                  </a:lnTo>
                  <a:lnTo>
                    <a:pt x="8283" y="11979"/>
                  </a:lnTo>
                  <a:lnTo>
                    <a:pt x="8402" y="12003"/>
                  </a:lnTo>
                  <a:lnTo>
                    <a:pt x="8437" y="12051"/>
                  </a:lnTo>
                  <a:lnTo>
                    <a:pt x="8497" y="12086"/>
                  </a:lnTo>
                  <a:lnTo>
                    <a:pt x="8509" y="12122"/>
                  </a:lnTo>
                  <a:lnTo>
                    <a:pt x="8521" y="12158"/>
                  </a:lnTo>
                  <a:lnTo>
                    <a:pt x="8533" y="12193"/>
                  </a:lnTo>
                  <a:lnTo>
                    <a:pt x="8592" y="12217"/>
                  </a:lnTo>
                  <a:lnTo>
                    <a:pt x="8639" y="12205"/>
                  </a:lnTo>
                  <a:lnTo>
                    <a:pt x="8758" y="12158"/>
                  </a:lnTo>
                  <a:lnTo>
                    <a:pt x="8853" y="12146"/>
                  </a:lnTo>
                  <a:lnTo>
                    <a:pt x="8877" y="12122"/>
                  </a:lnTo>
                  <a:lnTo>
                    <a:pt x="8901" y="12074"/>
                  </a:lnTo>
                  <a:lnTo>
                    <a:pt x="8937" y="12003"/>
                  </a:lnTo>
                  <a:lnTo>
                    <a:pt x="8996" y="11979"/>
                  </a:lnTo>
                  <a:lnTo>
                    <a:pt x="9044" y="11944"/>
                  </a:lnTo>
                  <a:lnTo>
                    <a:pt x="9103" y="11872"/>
                  </a:lnTo>
                  <a:lnTo>
                    <a:pt x="9139" y="11849"/>
                  </a:lnTo>
                  <a:lnTo>
                    <a:pt x="9174" y="11777"/>
                  </a:lnTo>
                  <a:lnTo>
                    <a:pt x="9210" y="11753"/>
                  </a:lnTo>
                  <a:lnTo>
                    <a:pt x="9246" y="11718"/>
                  </a:lnTo>
                  <a:lnTo>
                    <a:pt x="9281" y="11706"/>
                  </a:lnTo>
                  <a:lnTo>
                    <a:pt x="9317" y="11706"/>
                  </a:lnTo>
                  <a:lnTo>
                    <a:pt x="9341" y="11753"/>
                  </a:lnTo>
                  <a:lnTo>
                    <a:pt x="9352" y="11825"/>
                  </a:lnTo>
                  <a:lnTo>
                    <a:pt x="9341" y="12062"/>
                  </a:lnTo>
                  <a:lnTo>
                    <a:pt x="9317" y="12193"/>
                  </a:lnTo>
                  <a:lnTo>
                    <a:pt x="9281" y="12241"/>
                  </a:lnTo>
                  <a:lnTo>
                    <a:pt x="9186" y="12264"/>
                  </a:lnTo>
                  <a:lnTo>
                    <a:pt x="9150" y="12300"/>
                  </a:lnTo>
                  <a:lnTo>
                    <a:pt x="9103" y="12383"/>
                  </a:lnTo>
                  <a:lnTo>
                    <a:pt x="9091" y="12443"/>
                  </a:lnTo>
                  <a:lnTo>
                    <a:pt x="9115" y="12490"/>
                  </a:lnTo>
                  <a:lnTo>
                    <a:pt x="9174" y="12526"/>
                  </a:lnTo>
                  <a:lnTo>
                    <a:pt x="9257" y="12562"/>
                  </a:lnTo>
                  <a:lnTo>
                    <a:pt x="9305" y="12609"/>
                  </a:lnTo>
                  <a:lnTo>
                    <a:pt x="9352" y="12645"/>
                  </a:lnTo>
                  <a:lnTo>
                    <a:pt x="9424" y="12621"/>
                  </a:lnTo>
                  <a:lnTo>
                    <a:pt x="9459" y="12609"/>
                  </a:lnTo>
                  <a:lnTo>
                    <a:pt x="9555" y="12621"/>
                  </a:lnTo>
                  <a:lnTo>
                    <a:pt x="9650" y="12597"/>
                  </a:lnTo>
                  <a:lnTo>
                    <a:pt x="9828" y="12609"/>
                  </a:lnTo>
                  <a:lnTo>
                    <a:pt x="9935" y="12657"/>
                  </a:lnTo>
                  <a:lnTo>
                    <a:pt x="10018" y="12680"/>
                  </a:lnTo>
                  <a:lnTo>
                    <a:pt x="10054" y="12657"/>
                  </a:lnTo>
                  <a:lnTo>
                    <a:pt x="10042" y="12585"/>
                  </a:lnTo>
                  <a:lnTo>
                    <a:pt x="9982" y="12478"/>
                  </a:lnTo>
                  <a:lnTo>
                    <a:pt x="9947" y="12360"/>
                  </a:lnTo>
                  <a:lnTo>
                    <a:pt x="9923" y="12312"/>
                  </a:lnTo>
                  <a:lnTo>
                    <a:pt x="9887" y="12276"/>
                  </a:lnTo>
                  <a:lnTo>
                    <a:pt x="9863" y="12253"/>
                  </a:lnTo>
                  <a:lnTo>
                    <a:pt x="9840" y="12193"/>
                  </a:lnTo>
                  <a:lnTo>
                    <a:pt x="9840" y="12134"/>
                  </a:lnTo>
                  <a:lnTo>
                    <a:pt x="9852" y="11991"/>
                  </a:lnTo>
                  <a:lnTo>
                    <a:pt x="9899" y="11884"/>
                  </a:lnTo>
                  <a:lnTo>
                    <a:pt x="9899" y="11825"/>
                  </a:lnTo>
                  <a:lnTo>
                    <a:pt x="9899" y="11789"/>
                  </a:lnTo>
                  <a:lnTo>
                    <a:pt x="9899" y="11718"/>
                  </a:lnTo>
                  <a:lnTo>
                    <a:pt x="9935" y="11635"/>
                  </a:lnTo>
                  <a:lnTo>
                    <a:pt x="9994" y="11563"/>
                  </a:lnTo>
                  <a:lnTo>
                    <a:pt x="10042" y="11504"/>
                  </a:lnTo>
                  <a:lnTo>
                    <a:pt x="10101" y="11290"/>
                  </a:lnTo>
                  <a:lnTo>
                    <a:pt x="10184" y="11219"/>
                  </a:lnTo>
                  <a:lnTo>
                    <a:pt x="10196" y="11195"/>
                  </a:lnTo>
                  <a:lnTo>
                    <a:pt x="10232" y="11147"/>
                  </a:lnTo>
                  <a:lnTo>
                    <a:pt x="10291" y="11136"/>
                  </a:lnTo>
                  <a:lnTo>
                    <a:pt x="10363" y="11100"/>
                  </a:lnTo>
                  <a:lnTo>
                    <a:pt x="10398" y="11005"/>
                  </a:lnTo>
                  <a:lnTo>
                    <a:pt x="10422" y="10993"/>
                  </a:lnTo>
                  <a:lnTo>
                    <a:pt x="10422" y="10945"/>
                  </a:lnTo>
                  <a:lnTo>
                    <a:pt x="10434" y="10922"/>
                  </a:lnTo>
                  <a:lnTo>
                    <a:pt x="10493" y="10922"/>
                  </a:lnTo>
                  <a:lnTo>
                    <a:pt x="10517" y="10886"/>
                  </a:lnTo>
                  <a:lnTo>
                    <a:pt x="10553" y="10874"/>
                  </a:lnTo>
                  <a:lnTo>
                    <a:pt x="10565" y="10791"/>
                  </a:lnTo>
                  <a:lnTo>
                    <a:pt x="10565" y="10755"/>
                  </a:lnTo>
                  <a:lnTo>
                    <a:pt x="10541" y="10743"/>
                  </a:lnTo>
                  <a:lnTo>
                    <a:pt x="10529" y="10720"/>
                  </a:lnTo>
                  <a:lnTo>
                    <a:pt x="10505" y="10720"/>
                  </a:lnTo>
                  <a:lnTo>
                    <a:pt x="10493" y="10696"/>
                  </a:lnTo>
                  <a:lnTo>
                    <a:pt x="10481" y="10660"/>
                  </a:lnTo>
                  <a:lnTo>
                    <a:pt x="10481" y="10613"/>
                  </a:lnTo>
                  <a:lnTo>
                    <a:pt x="10493" y="10589"/>
                  </a:lnTo>
                  <a:lnTo>
                    <a:pt x="10588" y="10553"/>
                  </a:lnTo>
                  <a:lnTo>
                    <a:pt x="10636" y="10565"/>
                  </a:lnTo>
                  <a:lnTo>
                    <a:pt x="10636" y="10553"/>
                  </a:lnTo>
                  <a:lnTo>
                    <a:pt x="10636" y="10482"/>
                  </a:lnTo>
                  <a:lnTo>
                    <a:pt x="10683" y="10422"/>
                  </a:lnTo>
                  <a:lnTo>
                    <a:pt x="10731" y="10411"/>
                  </a:lnTo>
                  <a:lnTo>
                    <a:pt x="10767" y="10375"/>
                  </a:lnTo>
                  <a:lnTo>
                    <a:pt x="10838" y="10363"/>
                  </a:lnTo>
                  <a:lnTo>
                    <a:pt x="10909" y="10304"/>
                  </a:lnTo>
                  <a:lnTo>
                    <a:pt x="10921" y="10268"/>
                  </a:lnTo>
                  <a:lnTo>
                    <a:pt x="10933" y="10185"/>
                  </a:lnTo>
                  <a:lnTo>
                    <a:pt x="10981" y="10102"/>
                  </a:lnTo>
                  <a:lnTo>
                    <a:pt x="11004" y="10102"/>
                  </a:lnTo>
                  <a:lnTo>
                    <a:pt x="11123" y="10114"/>
                  </a:lnTo>
                  <a:lnTo>
                    <a:pt x="11171" y="10102"/>
                  </a:lnTo>
                  <a:lnTo>
                    <a:pt x="11254" y="10090"/>
                  </a:lnTo>
                  <a:lnTo>
                    <a:pt x="11301" y="10030"/>
                  </a:lnTo>
                  <a:lnTo>
                    <a:pt x="11373" y="10030"/>
                  </a:lnTo>
                  <a:lnTo>
                    <a:pt x="11397" y="10018"/>
                  </a:lnTo>
                  <a:lnTo>
                    <a:pt x="11432" y="9947"/>
                  </a:lnTo>
                  <a:lnTo>
                    <a:pt x="11480" y="9900"/>
                  </a:lnTo>
                  <a:lnTo>
                    <a:pt x="11527" y="9805"/>
                  </a:lnTo>
                  <a:lnTo>
                    <a:pt x="11539" y="9781"/>
                  </a:lnTo>
                  <a:lnTo>
                    <a:pt x="11515" y="9721"/>
                  </a:lnTo>
                  <a:lnTo>
                    <a:pt x="11527" y="9698"/>
                  </a:lnTo>
                  <a:lnTo>
                    <a:pt x="11527" y="9686"/>
                  </a:lnTo>
                  <a:lnTo>
                    <a:pt x="11563" y="9698"/>
                  </a:lnTo>
                  <a:lnTo>
                    <a:pt x="11575" y="9686"/>
                  </a:lnTo>
                  <a:lnTo>
                    <a:pt x="11634" y="9614"/>
                  </a:lnTo>
                  <a:lnTo>
                    <a:pt x="11622" y="9579"/>
                  </a:lnTo>
                  <a:lnTo>
                    <a:pt x="11658" y="9519"/>
                  </a:lnTo>
                  <a:lnTo>
                    <a:pt x="11646" y="9424"/>
                  </a:lnTo>
                  <a:lnTo>
                    <a:pt x="11670" y="9377"/>
                  </a:lnTo>
                  <a:lnTo>
                    <a:pt x="11682" y="9305"/>
                  </a:lnTo>
                  <a:lnTo>
                    <a:pt x="11741" y="9234"/>
                  </a:lnTo>
                  <a:lnTo>
                    <a:pt x="11789" y="9163"/>
                  </a:lnTo>
                  <a:lnTo>
                    <a:pt x="11955" y="9068"/>
                  </a:lnTo>
                  <a:lnTo>
                    <a:pt x="12003" y="9068"/>
                  </a:lnTo>
                  <a:lnTo>
                    <a:pt x="12062" y="9044"/>
                  </a:lnTo>
                  <a:lnTo>
                    <a:pt x="12110" y="9091"/>
                  </a:lnTo>
                  <a:lnTo>
                    <a:pt x="12133" y="9091"/>
                  </a:lnTo>
                  <a:lnTo>
                    <a:pt x="12228" y="9056"/>
                  </a:lnTo>
                  <a:lnTo>
                    <a:pt x="12335" y="8973"/>
                  </a:lnTo>
                  <a:lnTo>
                    <a:pt x="12371" y="8866"/>
                  </a:lnTo>
                  <a:lnTo>
                    <a:pt x="12407" y="8830"/>
                  </a:lnTo>
                  <a:lnTo>
                    <a:pt x="12430" y="8747"/>
                  </a:lnTo>
                  <a:lnTo>
                    <a:pt x="12502" y="8533"/>
                  </a:lnTo>
                  <a:lnTo>
                    <a:pt x="12514" y="8474"/>
                  </a:lnTo>
                  <a:lnTo>
                    <a:pt x="12490" y="8331"/>
                  </a:lnTo>
                  <a:lnTo>
                    <a:pt x="12502" y="8295"/>
                  </a:lnTo>
                  <a:lnTo>
                    <a:pt x="12502" y="8260"/>
                  </a:lnTo>
                  <a:lnTo>
                    <a:pt x="12514" y="8200"/>
                  </a:lnTo>
                  <a:lnTo>
                    <a:pt x="12561" y="8105"/>
                  </a:lnTo>
                  <a:lnTo>
                    <a:pt x="12585" y="8069"/>
                  </a:lnTo>
                  <a:lnTo>
                    <a:pt x="12597" y="8034"/>
                  </a:lnTo>
                  <a:lnTo>
                    <a:pt x="12668" y="7998"/>
                  </a:lnTo>
                  <a:lnTo>
                    <a:pt x="12680" y="7963"/>
                  </a:lnTo>
                  <a:lnTo>
                    <a:pt x="12668" y="7939"/>
                  </a:lnTo>
                  <a:lnTo>
                    <a:pt x="12668" y="7808"/>
                  </a:lnTo>
                  <a:lnTo>
                    <a:pt x="12692" y="7737"/>
                  </a:lnTo>
                  <a:lnTo>
                    <a:pt x="12668" y="7689"/>
                  </a:lnTo>
                  <a:lnTo>
                    <a:pt x="12680" y="7630"/>
                  </a:lnTo>
                  <a:lnTo>
                    <a:pt x="12656" y="7582"/>
                  </a:lnTo>
                  <a:lnTo>
                    <a:pt x="12656" y="7558"/>
                  </a:lnTo>
                  <a:lnTo>
                    <a:pt x="12739" y="7463"/>
                  </a:lnTo>
                  <a:lnTo>
                    <a:pt x="12775" y="7333"/>
                  </a:lnTo>
                  <a:lnTo>
                    <a:pt x="12775" y="7333"/>
                  </a:lnTo>
                  <a:lnTo>
                    <a:pt x="12858" y="7250"/>
                  </a:lnTo>
                  <a:lnTo>
                    <a:pt x="12894" y="7143"/>
                  </a:lnTo>
                  <a:lnTo>
                    <a:pt x="12941" y="7083"/>
                  </a:lnTo>
                  <a:lnTo>
                    <a:pt x="12941" y="7000"/>
                  </a:lnTo>
                  <a:lnTo>
                    <a:pt x="12918" y="6905"/>
                  </a:lnTo>
                  <a:lnTo>
                    <a:pt x="12918" y="6810"/>
                  </a:lnTo>
                  <a:lnTo>
                    <a:pt x="12930" y="6786"/>
                  </a:lnTo>
                  <a:lnTo>
                    <a:pt x="12965" y="6774"/>
                  </a:lnTo>
                  <a:lnTo>
                    <a:pt x="12977" y="6703"/>
                  </a:lnTo>
                  <a:lnTo>
                    <a:pt x="13013" y="6703"/>
                  </a:lnTo>
                  <a:lnTo>
                    <a:pt x="13025" y="6691"/>
                  </a:lnTo>
                  <a:lnTo>
                    <a:pt x="13036" y="6584"/>
                  </a:lnTo>
                  <a:lnTo>
                    <a:pt x="13036" y="6560"/>
                  </a:lnTo>
                  <a:lnTo>
                    <a:pt x="13025" y="6536"/>
                  </a:lnTo>
                  <a:lnTo>
                    <a:pt x="12977" y="6536"/>
                  </a:lnTo>
                  <a:lnTo>
                    <a:pt x="12953" y="6477"/>
                  </a:lnTo>
                  <a:lnTo>
                    <a:pt x="12918" y="6477"/>
                  </a:lnTo>
                  <a:lnTo>
                    <a:pt x="12906" y="6465"/>
                  </a:lnTo>
                  <a:lnTo>
                    <a:pt x="12894" y="6441"/>
                  </a:lnTo>
                  <a:lnTo>
                    <a:pt x="12906" y="6406"/>
                  </a:lnTo>
                  <a:lnTo>
                    <a:pt x="12882" y="6358"/>
                  </a:lnTo>
                  <a:lnTo>
                    <a:pt x="12846" y="6299"/>
                  </a:lnTo>
                  <a:lnTo>
                    <a:pt x="12823" y="6275"/>
                  </a:lnTo>
                  <a:lnTo>
                    <a:pt x="12823" y="6251"/>
                  </a:lnTo>
                  <a:lnTo>
                    <a:pt x="12823" y="6239"/>
                  </a:lnTo>
                  <a:lnTo>
                    <a:pt x="12858" y="6227"/>
                  </a:lnTo>
                  <a:lnTo>
                    <a:pt x="12858" y="6192"/>
                  </a:lnTo>
                  <a:lnTo>
                    <a:pt x="12858" y="6144"/>
                  </a:lnTo>
                  <a:lnTo>
                    <a:pt x="12882" y="6121"/>
                  </a:lnTo>
                  <a:lnTo>
                    <a:pt x="12894" y="6061"/>
                  </a:lnTo>
                  <a:lnTo>
                    <a:pt x="12930" y="6014"/>
                  </a:lnTo>
                  <a:lnTo>
                    <a:pt x="12930" y="6002"/>
                  </a:lnTo>
                  <a:lnTo>
                    <a:pt x="12906" y="5942"/>
                  </a:lnTo>
                  <a:lnTo>
                    <a:pt x="12918" y="5871"/>
                  </a:lnTo>
                  <a:lnTo>
                    <a:pt x="12918" y="5812"/>
                  </a:lnTo>
                  <a:lnTo>
                    <a:pt x="12894" y="5776"/>
                  </a:lnTo>
                  <a:lnTo>
                    <a:pt x="12870" y="5764"/>
                  </a:lnTo>
                  <a:lnTo>
                    <a:pt x="12870" y="5740"/>
                  </a:lnTo>
                  <a:lnTo>
                    <a:pt x="12882" y="5598"/>
                  </a:lnTo>
                  <a:lnTo>
                    <a:pt x="12882" y="5550"/>
                  </a:lnTo>
                  <a:lnTo>
                    <a:pt x="12882" y="5514"/>
                  </a:lnTo>
                  <a:lnTo>
                    <a:pt x="12918" y="5455"/>
                  </a:lnTo>
                  <a:lnTo>
                    <a:pt x="12918" y="5431"/>
                  </a:lnTo>
                  <a:lnTo>
                    <a:pt x="12930" y="5384"/>
                  </a:lnTo>
                  <a:lnTo>
                    <a:pt x="12918" y="5360"/>
                  </a:lnTo>
                  <a:lnTo>
                    <a:pt x="12870" y="5301"/>
                  </a:lnTo>
                  <a:lnTo>
                    <a:pt x="12834" y="5253"/>
                  </a:lnTo>
                  <a:lnTo>
                    <a:pt x="12894" y="5099"/>
                  </a:lnTo>
                  <a:lnTo>
                    <a:pt x="12906" y="5087"/>
                  </a:lnTo>
                  <a:lnTo>
                    <a:pt x="12906" y="5039"/>
                  </a:lnTo>
                  <a:lnTo>
                    <a:pt x="12846" y="4944"/>
                  </a:lnTo>
                  <a:lnTo>
                    <a:pt x="12811" y="4849"/>
                  </a:lnTo>
                  <a:lnTo>
                    <a:pt x="12811" y="4813"/>
                  </a:lnTo>
                  <a:lnTo>
                    <a:pt x="12846" y="4671"/>
                  </a:lnTo>
                  <a:lnTo>
                    <a:pt x="12882" y="4576"/>
                  </a:lnTo>
                  <a:lnTo>
                    <a:pt x="12906" y="4457"/>
                  </a:lnTo>
                  <a:lnTo>
                    <a:pt x="12953" y="4374"/>
                  </a:lnTo>
                  <a:lnTo>
                    <a:pt x="12941" y="4290"/>
                  </a:lnTo>
                  <a:lnTo>
                    <a:pt x="12941" y="4231"/>
                  </a:lnTo>
                  <a:lnTo>
                    <a:pt x="12965" y="4160"/>
                  </a:lnTo>
                  <a:lnTo>
                    <a:pt x="12965" y="4065"/>
                  </a:lnTo>
                  <a:lnTo>
                    <a:pt x="13001" y="4017"/>
                  </a:lnTo>
                  <a:lnTo>
                    <a:pt x="12989" y="3934"/>
                  </a:lnTo>
                  <a:lnTo>
                    <a:pt x="12989" y="3875"/>
                  </a:lnTo>
                  <a:lnTo>
                    <a:pt x="13025" y="3839"/>
                  </a:lnTo>
                  <a:lnTo>
                    <a:pt x="13096" y="3744"/>
                  </a:lnTo>
                  <a:lnTo>
                    <a:pt x="13120" y="3672"/>
                  </a:lnTo>
                  <a:lnTo>
                    <a:pt x="13132" y="3637"/>
                  </a:lnTo>
                  <a:lnTo>
                    <a:pt x="13179" y="3601"/>
                  </a:lnTo>
                  <a:lnTo>
                    <a:pt x="13191" y="3577"/>
                  </a:lnTo>
                  <a:lnTo>
                    <a:pt x="13215" y="3542"/>
                  </a:lnTo>
                  <a:lnTo>
                    <a:pt x="13227" y="3482"/>
                  </a:lnTo>
                  <a:lnTo>
                    <a:pt x="13238" y="3328"/>
                  </a:lnTo>
                  <a:lnTo>
                    <a:pt x="13262" y="3280"/>
                  </a:lnTo>
                  <a:lnTo>
                    <a:pt x="13322" y="3221"/>
                  </a:lnTo>
                  <a:lnTo>
                    <a:pt x="13345" y="3173"/>
                  </a:lnTo>
                  <a:lnTo>
                    <a:pt x="13393" y="3031"/>
                  </a:lnTo>
                  <a:lnTo>
                    <a:pt x="13429" y="2983"/>
                  </a:lnTo>
                  <a:lnTo>
                    <a:pt x="13441" y="2971"/>
                  </a:lnTo>
                  <a:lnTo>
                    <a:pt x="13429" y="2971"/>
                  </a:lnTo>
                  <a:lnTo>
                    <a:pt x="12502" y="2888"/>
                  </a:lnTo>
                  <a:lnTo>
                    <a:pt x="11373" y="2781"/>
                  </a:lnTo>
                  <a:lnTo>
                    <a:pt x="10636" y="2722"/>
                  </a:lnTo>
                  <a:lnTo>
                    <a:pt x="10077" y="2674"/>
                  </a:lnTo>
                  <a:lnTo>
                    <a:pt x="9352" y="2615"/>
                  </a:lnTo>
                  <a:lnTo>
                    <a:pt x="9198" y="2603"/>
                  </a:lnTo>
                  <a:lnTo>
                    <a:pt x="9115" y="2603"/>
                  </a:lnTo>
                  <a:lnTo>
                    <a:pt x="8663" y="2567"/>
                  </a:lnTo>
                  <a:lnTo>
                    <a:pt x="7831" y="2508"/>
                  </a:lnTo>
                  <a:lnTo>
                    <a:pt x="6928" y="2448"/>
                  </a:lnTo>
                  <a:lnTo>
                    <a:pt x="5859" y="2365"/>
                  </a:lnTo>
                  <a:lnTo>
                    <a:pt x="5775" y="2413"/>
                  </a:lnTo>
                  <a:lnTo>
                    <a:pt x="5764" y="2425"/>
                  </a:lnTo>
                  <a:lnTo>
                    <a:pt x="5740" y="2437"/>
                  </a:lnTo>
                  <a:lnTo>
                    <a:pt x="5716" y="2413"/>
                  </a:lnTo>
                  <a:lnTo>
                    <a:pt x="5680" y="2294"/>
                  </a:lnTo>
                  <a:lnTo>
                    <a:pt x="5645" y="2246"/>
                  </a:lnTo>
                  <a:lnTo>
                    <a:pt x="5585" y="2223"/>
                  </a:lnTo>
                  <a:lnTo>
                    <a:pt x="5502" y="2223"/>
                  </a:lnTo>
                  <a:lnTo>
                    <a:pt x="5455" y="2211"/>
                  </a:lnTo>
                  <a:lnTo>
                    <a:pt x="5419" y="2199"/>
                  </a:lnTo>
                  <a:lnTo>
                    <a:pt x="5395" y="2139"/>
                  </a:lnTo>
                  <a:lnTo>
                    <a:pt x="5419" y="2080"/>
                  </a:lnTo>
                  <a:lnTo>
                    <a:pt x="5395" y="2033"/>
                  </a:lnTo>
                  <a:lnTo>
                    <a:pt x="5360" y="1985"/>
                  </a:lnTo>
                  <a:lnTo>
                    <a:pt x="5312" y="1961"/>
                  </a:lnTo>
                  <a:lnTo>
                    <a:pt x="5253" y="1914"/>
                  </a:lnTo>
                  <a:lnTo>
                    <a:pt x="5229" y="1878"/>
                  </a:lnTo>
                  <a:lnTo>
                    <a:pt x="5193" y="1854"/>
                  </a:lnTo>
                  <a:lnTo>
                    <a:pt x="4991" y="1795"/>
                  </a:lnTo>
                  <a:lnTo>
                    <a:pt x="4944" y="1747"/>
                  </a:lnTo>
                  <a:lnTo>
                    <a:pt x="4944" y="1700"/>
                  </a:lnTo>
                  <a:lnTo>
                    <a:pt x="4932" y="1664"/>
                  </a:lnTo>
                  <a:lnTo>
                    <a:pt x="4860" y="1664"/>
                  </a:lnTo>
                  <a:lnTo>
                    <a:pt x="4825" y="1640"/>
                  </a:lnTo>
                  <a:lnTo>
                    <a:pt x="4777" y="1652"/>
                  </a:lnTo>
                  <a:lnTo>
                    <a:pt x="4742" y="1640"/>
                  </a:lnTo>
                  <a:lnTo>
                    <a:pt x="4718" y="1617"/>
                  </a:lnTo>
                  <a:lnTo>
                    <a:pt x="4706" y="1533"/>
                  </a:lnTo>
                  <a:lnTo>
                    <a:pt x="4694" y="1498"/>
                  </a:lnTo>
                  <a:lnTo>
                    <a:pt x="4694" y="1462"/>
                  </a:lnTo>
                  <a:lnTo>
                    <a:pt x="4682" y="1403"/>
                  </a:lnTo>
                  <a:lnTo>
                    <a:pt x="4670" y="1331"/>
                  </a:lnTo>
                  <a:lnTo>
                    <a:pt x="4635" y="1260"/>
                  </a:lnTo>
                  <a:lnTo>
                    <a:pt x="4646" y="1213"/>
                  </a:lnTo>
                  <a:lnTo>
                    <a:pt x="4646" y="1165"/>
                  </a:lnTo>
                  <a:lnTo>
                    <a:pt x="4670" y="1070"/>
                  </a:lnTo>
                  <a:lnTo>
                    <a:pt x="4670" y="1022"/>
                  </a:lnTo>
                  <a:lnTo>
                    <a:pt x="4611" y="951"/>
                  </a:lnTo>
                  <a:lnTo>
                    <a:pt x="4599" y="904"/>
                  </a:lnTo>
                  <a:lnTo>
                    <a:pt x="4456" y="690"/>
                  </a:lnTo>
                  <a:lnTo>
                    <a:pt x="4444" y="630"/>
                  </a:lnTo>
                  <a:lnTo>
                    <a:pt x="4409" y="535"/>
                  </a:lnTo>
                  <a:lnTo>
                    <a:pt x="4326" y="369"/>
                  </a:lnTo>
                  <a:lnTo>
                    <a:pt x="4314" y="345"/>
                  </a:lnTo>
                  <a:lnTo>
                    <a:pt x="4278" y="238"/>
                  </a:lnTo>
                  <a:lnTo>
                    <a:pt x="4207" y="179"/>
                  </a:lnTo>
                  <a:lnTo>
                    <a:pt x="4147" y="36"/>
                  </a:lnTo>
                  <a:lnTo>
                    <a:pt x="4124" y="24"/>
                  </a:lnTo>
                  <a:lnTo>
                    <a:pt x="4088" y="0"/>
                  </a:lnTo>
                  <a:lnTo>
                    <a:pt x="4088" y="0"/>
                  </a:lnTo>
                  <a:lnTo>
                    <a:pt x="4064" y="24"/>
                  </a:lnTo>
                  <a:lnTo>
                    <a:pt x="4005" y="95"/>
                  </a:lnTo>
                  <a:lnTo>
                    <a:pt x="3981" y="179"/>
                  </a:lnTo>
                  <a:lnTo>
                    <a:pt x="4005" y="286"/>
                  </a:lnTo>
                  <a:lnTo>
                    <a:pt x="3993" y="333"/>
                  </a:lnTo>
                  <a:lnTo>
                    <a:pt x="3933" y="381"/>
                  </a:lnTo>
                  <a:lnTo>
                    <a:pt x="3910" y="416"/>
                  </a:lnTo>
                  <a:lnTo>
                    <a:pt x="3898" y="476"/>
                  </a:lnTo>
                  <a:lnTo>
                    <a:pt x="3874" y="523"/>
                  </a:lnTo>
                  <a:lnTo>
                    <a:pt x="3827" y="559"/>
                  </a:lnTo>
                  <a:lnTo>
                    <a:pt x="3803" y="606"/>
                  </a:lnTo>
                  <a:lnTo>
                    <a:pt x="3803" y="654"/>
                  </a:lnTo>
                  <a:lnTo>
                    <a:pt x="3850" y="713"/>
                  </a:lnTo>
                  <a:lnTo>
                    <a:pt x="3910" y="868"/>
                  </a:lnTo>
                  <a:lnTo>
                    <a:pt x="3898" y="915"/>
                  </a:lnTo>
                  <a:lnTo>
                    <a:pt x="3874" y="963"/>
                  </a:lnTo>
                  <a:lnTo>
                    <a:pt x="3874" y="1082"/>
                  </a:lnTo>
                  <a:lnTo>
                    <a:pt x="3886" y="1141"/>
                  </a:lnTo>
                  <a:lnTo>
                    <a:pt x="3827" y="1201"/>
                  </a:lnTo>
                  <a:lnTo>
                    <a:pt x="3815" y="1272"/>
                  </a:lnTo>
                  <a:lnTo>
                    <a:pt x="3767" y="1355"/>
                  </a:lnTo>
                  <a:lnTo>
                    <a:pt x="3755" y="1403"/>
                  </a:lnTo>
                  <a:lnTo>
                    <a:pt x="3779" y="1522"/>
                  </a:lnTo>
                  <a:lnTo>
                    <a:pt x="3755" y="1593"/>
                  </a:lnTo>
                  <a:lnTo>
                    <a:pt x="3755" y="1628"/>
                  </a:lnTo>
                  <a:lnTo>
                    <a:pt x="3803" y="1652"/>
                  </a:lnTo>
                  <a:lnTo>
                    <a:pt x="3743" y="1712"/>
                  </a:lnTo>
                  <a:lnTo>
                    <a:pt x="3529" y="1700"/>
                  </a:lnTo>
                  <a:lnTo>
                    <a:pt x="2769" y="1724"/>
                  </a:lnTo>
                  <a:lnTo>
                    <a:pt x="2745" y="1712"/>
                  </a:lnTo>
                  <a:lnTo>
                    <a:pt x="2709" y="1724"/>
                  </a:lnTo>
                  <a:lnTo>
                    <a:pt x="2377" y="1724"/>
                  </a:lnTo>
                  <a:lnTo>
                    <a:pt x="2293" y="1724"/>
                  </a:lnTo>
                  <a:lnTo>
                    <a:pt x="2293" y="1724"/>
                  </a:lnTo>
                  <a:lnTo>
                    <a:pt x="2008" y="1735"/>
                  </a:lnTo>
                  <a:lnTo>
                    <a:pt x="1961" y="1724"/>
                  </a:lnTo>
                  <a:lnTo>
                    <a:pt x="1913" y="1735"/>
                  </a:lnTo>
                  <a:lnTo>
                    <a:pt x="1913" y="1747"/>
                  </a:lnTo>
                  <a:lnTo>
                    <a:pt x="1866" y="1735"/>
                  </a:lnTo>
                  <a:lnTo>
                    <a:pt x="1854" y="1735"/>
                  </a:lnTo>
                  <a:lnTo>
                    <a:pt x="1592" y="1735"/>
                  </a:lnTo>
                  <a:lnTo>
                    <a:pt x="1592" y="1747"/>
                  </a:lnTo>
                  <a:lnTo>
                    <a:pt x="1533" y="1735"/>
                  </a:lnTo>
                  <a:lnTo>
                    <a:pt x="1176" y="1747"/>
                  </a:lnTo>
                  <a:lnTo>
                    <a:pt x="1105" y="1735"/>
                  </a:lnTo>
                  <a:lnTo>
                    <a:pt x="1105" y="1747"/>
                  </a:lnTo>
                  <a:lnTo>
                    <a:pt x="879" y="1759"/>
                  </a:lnTo>
                  <a:lnTo>
                    <a:pt x="689" y="1759"/>
                  </a:lnTo>
                  <a:lnTo>
                    <a:pt x="558" y="1747"/>
                  </a:lnTo>
                  <a:lnTo>
                    <a:pt x="558" y="1759"/>
                  </a:lnTo>
                  <a:lnTo>
                    <a:pt x="535" y="1759"/>
                  </a:lnTo>
                  <a:lnTo>
                    <a:pt x="249" y="1759"/>
                  </a:lnTo>
                  <a:lnTo>
                    <a:pt x="202" y="1759"/>
                  </a:lnTo>
                  <a:lnTo>
                    <a:pt x="202" y="1771"/>
                  </a:lnTo>
                  <a:lnTo>
                    <a:pt x="71" y="1771"/>
                  </a:lnTo>
                  <a:lnTo>
                    <a:pt x="36" y="1783"/>
                  </a:lnTo>
                  <a:lnTo>
                    <a:pt x="36" y="1783"/>
                  </a:lnTo>
                  <a:lnTo>
                    <a:pt x="47" y="1795"/>
                  </a:lnTo>
                  <a:lnTo>
                    <a:pt x="95" y="1842"/>
                  </a:lnTo>
                  <a:lnTo>
                    <a:pt x="119" y="1890"/>
                  </a:lnTo>
                  <a:lnTo>
                    <a:pt x="154" y="1914"/>
                  </a:lnTo>
                  <a:lnTo>
                    <a:pt x="154" y="1973"/>
                  </a:lnTo>
                  <a:lnTo>
                    <a:pt x="107" y="2021"/>
                  </a:lnTo>
                  <a:lnTo>
                    <a:pt x="83" y="2080"/>
                  </a:lnTo>
                  <a:lnTo>
                    <a:pt x="59" y="2151"/>
                  </a:lnTo>
                  <a:lnTo>
                    <a:pt x="71" y="2223"/>
                  </a:lnTo>
                  <a:lnTo>
                    <a:pt x="83" y="2258"/>
                  </a:lnTo>
                  <a:lnTo>
                    <a:pt x="83" y="2270"/>
                  </a:lnTo>
                  <a:lnTo>
                    <a:pt x="119" y="2306"/>
                  </a:lnTo>
                  <a:lnTo>
                    <a:pt x="107" y="2341"/>
                  </a:lnTo>
                  <a:lnTo>
                    <a:pt x="24" y="2353"/>
                  </a:lnTo>
                  <a:lnTo>
                    <a:pt x="12" y="2389"/>
                  </a:lnTo>
                  <a:lnTo>
                    <a:pt x="0" y="2448"/>
                  </a:lnTo>
                  <a:lnTo>
                    <a:pt x="0" y="2496"/>
                  </a:lnTo>
                  <a:lnTo>
                    <a:pt x="36" y="2508"/>
                  </a:lnTo>
                  <a:lnTo>
                    <a:pt x="59" y="2520"/>
                  </a:lnTo>
                  <a:lnTo>
                    <a:pt x="71" y="2532"/>
                  </a:lnTo>
                  <a:lnTo>
                    <a:pt x="83" y="2555"/>
                  </a:lnTo>
                  <a:lnTo>
                    <a:pt x="59" y="2603"/>
                  </a:lnTo>
                  <a:lnTo>
                    <a:pt x="59" y="2627"/>
                  </a:lnTo>
                  <a:lnTo>
                    <a:pt x="143" y="2769"/>
                  </a:lnTo>
                  <a:lnTo>
                    <a:pt x="154" y="2805"/>
                  </a:lnTo>
                  <a:lnTo>
                    <a:pt x="143" y="2864"/>
                  </a:lnTo>
                  <a:lnTo>
                    <a:pt x="107" y="2888"/>
                  </a:lnTo>
                  <a:lnTo>
                    <a:pt x="95" y="2912"/>
                  </a:lnTo>
                  <a:lnTo>
                    <a:pt x="107" y="2936"/>
                  </a:lnTo>
                  <a:lnTo>
                    <a:pt x="119" y="2983"/>
                  </a:lnTo>
                  <a:lnTo>
                    <a:pt x="131" y="3055"/>
                  </a:lnTo>
                  <a:lnTo>
                    <a:pt x="131" y="3173"/>
                  </a:lnTo>
                  <a:lnTo>
                    <a:pt x="107" y="3268"/>
                  </a:lnTo>
                  <a:lnTo>
                    <a:pt x="59" y="3340"/>
                  </a:lnTo>
                  <a:lnTo>
                    <a:pt x="47" y="3387"/>
                  </a:lnTo>
                  <a:lnTo>
                    <a:pt x="71" y="3459"/>
                  </a:lnTo>
                  <a:lnTo>
                    <a:pt x="59" y="3554"/>
                  </a:lnTo>
                  <a:lnTo>
                    <a:pt x="59" y="3577"/>
                  </a:lnTo>
                  <a:lnTo>
                    <a:pt x="154" y="3684"/>
                  </a:lnTo>
                  <a:lnTo>
                    <a:pt x="178" y="3732"/>
                  </a:lnTo>
                  <a:lnTo>
                    <a:pt x="190" y="3791"/>
                  </a:lnTo>
                  <a:lnTo>
                    <a:pt x="178" y="3981"/>
                  </a:lnTo>
                  <a:lnTo>
                    <a:pt x="202" y="4088"/>
                  </a:lnTo>
                  <a:lnTo>
                    <a:pt x="143" y="4267"/>
                  </a:lnTo>
                  <a:lnTo>
                    <a:pt x="119" y="4362"/>
                  </a:lnTo>
                  <a:lnTo>
                    <a:pt x="131" y="4386"/>
                  </a:lnTo>
                  <a:lnTo>
                    <a:pt x="131" y="4397"/>
                  </a:lnTo>
                  <a:lnTo>
                    <a:pt x="178" y="4409"/>
                  </a:lnTo>
                  <a:lnTo>
                    <a:pt x="190" y="4397"/>
                  </a:lnTo>
                  <a:lnTo>
                    <a:pt x="261" y="4409"/>
                  </a:lnTo>
                  <a:lnTo>
                    <a:pt x="368" y="4397"/>
                  </a:lnTo>
                  <a:lnTo>
                    <a:pt x="475" y="4409"/>
                  </a:lnTo>
                  <a:lnTo>
                    <a:pt x="511" y="4397"/>
                  </a:lnTo>
                  <a:lnTo>
                    <a:pt x="867" y="4397"/>
                  </a:lnTo>
                  <a:lnTo>
                    <a:pt x="867" y="4386"/>
                  </a:lnTo>
                  <a:lnTo>
                    <a:pt x="915" y="4397"/>
                  </a:lnTo>
                  <a:lnTo>
                    <a:pt x="986" y="4397"/>
                  </a:lnTo>
                  <a:lnTo>
                    <a:pt x="974" y="4386"/>
                  </a:lnTo>
                  <a:lnTo>
                    <a:pt x="1069" y="4397"/>
                  </a:lnTo>
                  <a:lnTo>
                    <a:pt x="1402" y="4386"/>
                  </a:lnTo>
                  <a:lnTo>
                    <a:pt x="1450" y="4457"/>
                  </a:lnTo>
                  <a:lnTo>
                    <a:pt x="1497" y="4492"/>
                  </a:lnTo>
                  <a:lnTo>
                    <a:pt x="1533" y="4492"/>
                  </a:lnTo>
                  <a:lnTo>
                    <a:pt x="1592" y="4445"/>
                  </a:lnTo>
                  <a:lnTo>
                    <a:pt x="1604" y="4445"/>
                  </a:lnTo>
                  <a:lnTo>
                    <a:pt x="1640" y="4492"/>
                  </a:lnTo>
                  <a:lnTo>
                    <a:pt x="1664" y="4504"/>
                  </a:lnTo>
                  <a:lnTo>
                    <a:pt x="1854" y="4481"/>
                  </a:lnTo>
                  <a:lnTo>
                    <a:pt x="1889" y="4481"/>
                  </a:lnTo>
                  <a:lnTo>
                    <a:pt x="1901" y="4492"/>
                  </a:lnTo>
                  <a:lnTo>
                    <a:pt x="1949" y="4504"/>
                  </a:lnTo>
                  <a:lnTo>
                    <a:pt x="1961" y="4540"/>
                  </a:lnTo>
                  <a:lnTo>
                    <a:pt x="1985" y="4576"/>
                  </a:lnTo>
                  <a:lnTo>
                    <a:pt x="1985" y="4623"/>
                  </a:lnTo>
                  <a:lnTo>
                    <a:pt x="1985" y="4671"/>
                  </a:lnTo>
                  <a:lnTo>
                    <a:pt x="2020" y="4766"/>
                  </a:lnTo>
                  <a:lnTo>
                    <a:pt x="2032" y="4849"/>
                  </a:lnTo>
                  <a:lnTo>
                    <a:pt x="2020" y="4885"/>
                  </a:lnTo>
                  <a:lnTo>
                    <a:pt x="1996" y="4908"/>
                  </a:lnTo>
                  <a:lnTo>
                    <a:pt x="1949" y="4932"/>
                  </a:lnTo>
                  <a:lnTo>
                    <a:pt x="1889" y="4980"/>
                  </a:lnTo>
                  <a:lnTo>
                    <a:pt x="1878" y="5027"/>
                  </a:lnTo>
                  <a:lnTo>
                    <a:pt x="1830" y="5051"/>
                  </a:lnTo>
                  <a:lnTo>
                    <a:pt x="1818" y="5063"/>
                  </a:lnTo>
                  <a:lnTo>
                    <a:pt x="1806" y="5217"/>
                  </a:lnTo>
                  <a:lnTo>
                    <a:pt x="1842" y="5324"/>
                  </a:lnTo>
                  <a:lnTo>
                    <a:pt x="1878" y="5419"/>
                  </a:lnTo>
                  <a:lnTo>
                    <a:pt x="1901" y="5431"/>
                  </a:lnTo>
                  <a:lnTo>
                    <a:pt x="1973" y="5467"/>
                  </a:lnTo>
                  <a:lnTo>
                    <a:pt x="1985" y="5503"/>
                  </a:lnTo>
                  <a:lnTo>
                    <a:pt x="2020" y="5621"/>
                  </a:lnTo>
                  <a:lnTo>
                    <a:pt x="2044" y="5633"/>
                  </a:lnTo>
                  <a:lnTo>
                    <a:pt x="2068" y="5645"/>
                  </a:lnTo>
                  <a:lnTo>
                    <a:pt x="2080" y="5669"/>
                  </a:lnTo>
                  <a:lnTo>
                    <a:pt x="2091" y="5740"/>
                  </a:lnTo>
                  <a:lnTo>
                    <a:pt x="2103" y="5812"/>
                  </a:lnTo>
                  <a:lnTo>
                    <a:pt x="2080" y="5871"/>
                  </a:lnTo>
                  <a:lnTo>
                    <a:pt x="2080" y="5883"/>
                  </a:lnTo>
                  <a:lnTo>
                    <a:pt x="2115" y="5919"/>
                  </a:lnTo>
                  <a:lnTo>
                    <a:pt x="2139" y="5966"/>
                  </a:lnTo>
                  <a:lnTo>
                    <a:pt x="2151" y="6025"/>
                  </a:lnTo>
                  <a:lnTo>
                    <a:pt x="2139" y="6109"/>
                  </a:lnTo>
                  <a:lnTo>
                    <a:pt x="2091" y="6204"/>
                  </a:lnTo>
                  <a:lnTo>
                    <a:pt x="2068" y="6204"/>
                  </a:lnTo>
                  <a:lnTo>
                    <a:pt x="2020" y="6251"/>
                  </a:lnTo>
                  <a:lnTo>
                    <a:pt x="1949" y="6358"/>
                  </a:lnTo>
                  <a:lnTo>
                    <a:pt x="1878" y="6584"/>
                  </a:lnTo>
                  <a:lnTo>
                    <a:pt x="1878" y="6739"/>
                  </a:lnTo>
                  <a:lnTo>
                    <a:pt x="1854" y="6774"/>
                  </a:lnTo>
                  <a:lnTo>
                    <a:pt x="1806" y="6810"/>
                  </a:lnTo>
                  <a:lnTo>
                    <a:pt x="1735" y="6881"/>
                  </a:lnTo>
                  <a:lnTo>
                    <a:pt x="1699" y="6952"/>
                  </a:lnTo>
                  <a:lnTo>
                    <a:pt x="1664" y="7071"/>
                  </a:lnTo>
                  <a:lnTo>
                    <a:pt x="1628" y="7190"/>
                  </a:lnTo>
                  <a:lnTo>
                    <a:pt x="1569" y="7297"/>
                  </a:lnTo>
                  <a:lnTo>
                    <a:pt x="1533" y="7345"/>
                  </a:lnTo>
                  <a:lnTo>
                    <a:pt x="1474" y="7380"/>
                  </a:lnTo>
                  <a:lnTo>
                    <a:pt x="1283" y="7499"/>
                  </a:lnTo>
                  <a:lnTo>
                    <a:pt x="1165" y="7618"/>
                  </a:lnTo>
                  <a:lnTo>
                    <a:pt x="1141" y="765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21" name="Freeform 314"/>
            <p:cNvSpPr>
              <a:spLocks/>
            </p:cNvSpPr>
            <p:nvPr/>
          </p:nvSpPr>
          <p:spPr bwMode="auto">
            <a:xfrm>
              <a:off x="-1743075" y="8966200"/>
              <a:ext cx="12941300" cy="13036550"/>
            </a:xfrm>
            <a:custGeom>
              <a:avLst/>
              <a:gdLst/>
              <a:ahLst/>
              <a:cxnLst>
                <a:cxn ang="0">
                  <a:pos x="356" y="559"/>
                </a:cxn>
                <a:cxn ang="0">
                  <a:pos x="428" y="808"/>
                </a:cxn>
                <a:cxn ang="0">
                  <a:pos x="677" y="1236"/>
                </a:cxn>
                <a:cxn ang="0">
                  <a:pos x="487" y="2235"/>
                </a:cxn>
                <a:cxn ang="0">
                  <a:pos x="142" y="2829"/>
                </a:cxn>
                <a:cxn ang="0">
                  <a:pos x="59" y="3031"/>
                </a:cxn>
                <a:cxn ang="0">
                  <a:pos x="83" y="3566"/>
                </a:cxn>
                <a:cxn ang="0">
                  <a:pos x="71" y="3803"/>
                </a:cxn>
                <a:cxn ang="0">
                  <a:pos x="237" y="4267"/>
                </a:cxn>
                <a:cxn ang="0">
                  <a:pos x="344" y="4433"/>
                </a:cxn>
                <a:cxn ang="0">
                  <a:pos x="368" y="4825"/>
                </a:cxn>
                <a:cxn ang="0">
                  <a:pos x="273" y="5229"/>
                </a:cxn>
                <a:cxn ang="0">
                  <a:pos x="309" y="5693"/>
                </a:cxn>
                <a:cxn ang="0">
                  <a:pos x="499" y="5954"/>
                </a:cxn>
                <a:cxn ang="0">
                  <a:pos x="713" y="6014"/>
                </a:cxn>
                <a:cxn ang="0">
                  <a:pos x="1164" y="6061"/>
                </a:cxn>
                <a:cxn ang="0">
                  <a:pos x="1473" y="6097"/>
                </a:cxn>
                <a:cxn ang="0">
                  <a:pos x="1759" y="6061"/>
                </a:cxn>
                <a:cxn ang="0">
                  <a:pos x="2270" y="6097"/>
                </a:cxn>
                <a:cxn ang="0">
                  <a:pos x="2602" y="6109"/>
                </a:cxn>
                <a:cxn ang="0">
                  <a:pos x="2888" y="6632"/>
                </a:cxn>
                <a:cxn ang="0">
                  <a:pos x="2971" y="7154"/>
                </a:cxn>
                <a:cxn ang="0">
                  <a:pos x="2994" y="7630"/>
                </a:cxn>
                <a:cxn ang="0">
                  <a:pos x="3280" y="8153"/>
                </a:cxn>
                <a:cxn ang="0">
                  <a:pos x="3707" y="8058"/>
                </a:cxn>
                <a:cxn ang="0">
                  <a:pos x="4123" y="7986"/>
                </a:cxn>
                <a:cxn ang="0">
                  <a:pos x="4587" y="7820"/>
                </a:cxn>
                <a:cxn ang="0">
                  <a:pos x="4884" y="7333"/>
                </a:cxn>
                <a:cxn ang="0">
                  <a:pos x="5217" y="6762"/>
                </a:cxn>
                <a:cxn ang="0">
                  <a:pos x="5858" y="6323"/>
                </a:cxn>
                <a:cxn ang="0">
                  <a:pos x="6548" y="5705"/>
                </a:cxn>
                <a:cxn ang="0">
                  <a:pos x="7166" y="4659"/>
                </a:cxn>
                <a:cxn ang="0">
                  <a:pos x="7427" y="4100"/>
                </a:cxn>
                <a:cxn ang="0">
                  <a:pos x="7843" y="3768"/>
                </a:cxn>
                <a:cxn ang="0">
                  <a:pos x="8045" y="3126"/>
                </a:cxn>
                <a:cxn ang="0">
                  <a:pos x="8152" y="2769"/>
                </a:cxn>
                <a:cxn ang="0">
                  <a:pos x="7879" y="2508"/>
                </a:cxn>
                <a:cxn ang="0">
                  <a:pos x="7118" y="2223"/>
                </a:cxn>
                <a:cxn ang="0">
                  <a:pos x="6750" y="2009"/>
                </a:cxn>
                <a:cxn ang="0">
                  <a:pos x="6227" y="1795"/>
                </a:cxn>
                <a:cxn ang="0">
                  <a:pos x="5954" y="1522"/>
                </a:cxn>
                <a:cxn ang="0">
                  <a:pos x="5977" y="1343"/>
                </a:cxn>
                <a:cxn ang="0">
                  <a:pos x="5680" y="1106"/>
                </a:cxn>
                <a:cxn ang="0">
                  <a:pos x="4991" y="951"/>
                </a:cxn>
                <a:cxn ang="0">
                  <a:pos x="5003" y="535"/>
                </a:cxn>
                <a:cxn ang="0">
                  <a:pos x="4825" y="191"/>
                </a:cxn>
                <a:cxn ang="0">
                  <a:pos x="4325" y="547"/>
                </a:cxn>
                <a:cxn ang="0">
                  <a:pos x="3933" y="345"/>
                </a:cxn>
                <a:cxn ang="0">
                  <a:pos x="3410" y="535"/>
                </a:cxn>
                <a:cxn ang="0">
                  <a:pos x="2828" y="202"/>
                </a:cxn>
                <a:cxn ang="0">
                  <a:pos x="2329" y="0"/>
                </a:cxn>
                <a:cxn ang="0">
                  <a:pos x="1818" y="155"/>
                </a:cxn>
                <a:cxn ang="0">
                  <a:pos x="1461" y="262"/>
                </a:cxn>
                <a:cxn ang="0">
                  <a:pos x="1212" y="618"/>
                </a:cxn>
                <a:cxn ang="0">
                  <a:pos x="713" y="892"/>
                </a:cxn>
                <a:cxn ang="0">
                  <a:pos x="499" y="702"/>
                </a:cxn>
                <a:cxn ang="0">
                  <a:pos x="475" y="654"/>
                </a:cxn>
                <a:cxn ang="0">
                  <a:pos x="475" y="595"/>
                </a:cxn>
                <a:cxn ang="0">
                  <a:pos x="451" y="547"/>
                </a:cxn>
                <a:cxn ang="0">
                  <a:pos x="428" y="488"/>
                </a:cxn>
                <a:cxn ang="0">
                  <a:pos x="392" y="511"/>
                </a:cxn>
              </a:cxnLst>
              <a:rect l="0" t="0" r="r" b="b"/>
              <a:pathLst>
                <a:path w="8152" h="8212">
                  <a:moveTo>
                    <a:pt x="344" y="500"/>
                  </a:moveTo>
                  <a:lnTo>
                    <a:pt x="344" y="500"/>
                  </a:lnTo>
                  <a:lnTo>
                    <a:pt x="344" y="511"/>
                  </a:lnTo>
                  <a:lnTo>
                    <a:pt x="356" y="523"/>
                  </a:lnTo>
                  <a:lnTo>
                    <a:pt x="344" y="535"/>
                  </a:lnTo>
                  <a:lnTo>
                    <a:pt x="356" y="535"/>
                  </a:lnTo>
                  <a:lnTo>
                    <a:pt x="344" y="547"/>
                  </a:lnTo>
                  <a:lnTo>
                    <a:pt x="368" y="547"/>
                  </a:lnTo>
                  <a:lnTo>
                    <a:pt x="356" y="559"/>
                  </a:lnTo>
                  <a:lnTo>
                    <a:pt x="356" y="571"/>
                  </a:lnTo>
                  <a:lnTo>
                    <a:pt x="368" y="571"/>
                  </a:lnTo>
                  <a:lnTo>
                    <a:pt x="368" y="571"/>
                  </a:lnTo>
                  <a:lnTo>
                    <a:pt x="368" y="595"/>
                  </a:lnTo>
                  <a:lnTo>
                    <a:pt x="392" y="666"/>
                  </a:lnTo>
                  <a:lnTo>
                    <a:pt x="416" y="702"/>
                  </a:lnTo>
                  <a:lnTo>
                    <a:pt x="428" y="761"/>
                  </a:lnTo>
                  <a:lnTo>
                    <a:pt x="451" y="808"/>
                  </a:lnTo>
                  <a:lnTo>
                    <a:pt x="428" y="808"/>
                  </a:lnTo>
                  <a:lnTo>
                    <a:pt x="416" y="844"/>
                  </a:lnTo>
                  <a:lnTo>
                    <a:pt x="475" y="951"/>
                  </a:lnTo>
                  <a:lnTo>
                    <a:pt x="499" y="1022"/>
                  </a:lnTo>
                  <a:lnTo>
                    <a:pt x="511" y="1011"/>
                  </a:lnTo>
                  <a:lnTo>
                    <a:pt x="535" y="1046"/>
                  </a:lnTo>
                  <a:lnTo>
                    <a:pt x="523" y="1058"/>
                  </a:lnTo>
                  <a:lnTo>
                    <a:pt x="570" y="1117"/>
                  </a:lnTo>
                  <a:lnTo>
                    <a:pt x="594" y="1165"/>
                  </a:lnTo>
                  <a:lnTo>
                    <a:pt x="677" y="1236"/>
                  </a:lnTo>
                  <a:lnTo>
                    <a:pt x="725" y="1272"/>
                  </a:lnTo>
                  <a:lnTo>
                    <a:pt x="725" y="1296"/>
                  </a:lnTo>
                  <a:lnTo>
                    <a:pt x="689" y="1343"/>
                  </a:lnTo>
                  <a:lnTo>
                    <a:pt x="630" y="1355"/>
                  </a:lnTo>
                  <a:lnTo>
                    <a:pt x="606" y="1391"/>
                  </a:lnTo>
                  <a:lnTo>
                    <a:pt x="404" y="2056"/>
                  </a:lnTo>
                  <a:lnTo>
                    <a:pt x="416" y="2092"/>
                  </a:lnTo>
                  <a:lnTo>
                    <a:pt x="451" y="2151"/>
                  </a:lnTo>
                  <a:lnTo>
                    <a:pt x="487" y="2235"/>
                  </a:lnTo>
                  <a:lnTo>
                    <a:pt x="487" y="2246"/>
                  </a:lnTo>
                  <a:lnTo>
                    <a:pt x="487" y="2258"/>
                  </a:lnTo>
                  <a:lnTo>
                    <a:pt x="475" y="2270"/>
                  </a:lnTo>
                  <a:lnTo>
                    <a:pt x="404" y="2282"/>
                  </a:lnTo>
                  <a:lnTo>
                    <a:pt x="368" y="2294"/>
                  </a:lnTo>
                  <a:lnTo>
                    <a:pt x="321" y="2437"/>
                  </a:lnTo>
                  <a:lnTo>
                    <a:pt x="237" y="2591"/>
                  </a:lnTo>
                  <a:lnTo>
                    <a:pt x="178" y="2746"/>
                  </a:lnTo>
                  <a:lnTo>
                    <a:pt x="142" y="2829"/>
                  </a:lnTo>
                  <a:lnTo>
                    <a:pt x="130" y="2864"/>
                  </a:lnTo>
                  <a:lnTo>
                    <a:pt x="107" y="2900"/>
                  </a:lnTo>
                  <a:lnTo>
                    <a:pt x="95" y="2936"/>
                  </a:lnTo>
                  <a:lnTo>
                    <a:pt x="83" y="2959"/>
                  </a:lnTo>
                  <a:lnTo>
                    <a:pt x="71" y="2995"/>
                  </a:lnTo>
                  <a:lnTo>
                    <a:pt x="59" y="2995"/>
                  </a:lnTo>
                  <a:lnTo>
                    <a:pt x="59" y="3019"/>
                  </a:lnTo>
                  <a:lnTo>
                    <a:pt x="59" y="3031"/>
                  </a:lnTo>
                  <a:lnTo>
                    <a:pt x="59" y="3031"/>
                  </a:lnTo>
                  <a:lnTo>
                    <a:pt x="0" y="3138"/>
                  </a:lnTo>
                  <a:lnTo>
                    <a:pt x="35" y="3209"/>
                  </a:lnTo>
                  <a:lnTo>
                    <a:pt x="47" y="3197"/>
                  </a:lnTo>
                  <a:lnTo>
                    <a:pt x="190" y="3316"/>
                  </a:lnTo>
                  <a:lnTo>
                    <a:pt x="273" y="3352"/>
                  </a:lnTo>
                  <a:lnTo>
                    <a:pt x="309" y="3387"/>
                  </a:lnTo>
                  <a:lnTo>
                    <a:pt x="285" y="3447"/>
                  </a:lnTo>
                  <a:lnTo>
                    <a:pt x="202" y="3482"/>
                  </a:lnTo>
                  <a:lnTo>
                    <a:pt x="83" y="3566"/>
                  </a:lnTo>
                  <a:lnTo>
                    <a:pt x="12" y="3601"/>
                  </a:lnTo>
                  <a:lnTo>
                    <a:pt x="0" y="3649"/>
                  </a:lnTo>
                  <a:lnTo>
                    <a:pt x="24" y="3661"/>
                  </a:lnTo>
                  <a:lnTo>
                    <a:pt x="35" y="3684"/>
                  </a:lnTo>
                  <a:lnTo>
                    <a:pt x="0" y="3720"/>
                  </a:lnTo>
                  <a:lnTo>
                    <a:pt x="0" y="3732"/>
                  </a:lnTo>
                  <a:lnTo>
                    <a:pt x="12" y="3756"/>
                  </a:lnTo>
                  <a:lnTo>
                    <a:pt x="47" y="3768"/>
                  </a:lnTo>
                  <a:lnTo>
                    <a:pt x="71" y="3803"/>
                  </a:lnTo>
                  <a:lnTo>
                    <a:pt x="95" y="3886"/>
                  </a:lnTo>
                  <a:lnTo>
                    <a:pt x="166" y="3946"/>
                  </a:lnTo>
                  <a:lnTo>
                    <a:pt x="166" y="3970"/>
                  </a:lnTo>
                  <a:lnTo>
                    <a:pt x="178" y="4029"/>
                  </a:lnTo>
                  <a:lnTo>
                    <a:pt x="202" y="4077"/>
                  </a:lnTo>
                  <a:lnTo>
                    <a:pt x="214" y="4160"/>
                  </a:lnTo>
                  <a:lnTo>
                    <a:pt x="202" y="4243"/>
                  </a:lnTo>
                  <a:lnTo>
                    <a:pt x="214" y="4267"/>
                  </a:lnTo>
                  <a:lnTo>
                    <a:pt x="237" y="4267"/>
                  </a:lnTo>
                  <a:lnTo>
                    <a:pt x="261" y="4243"/>
                  </a:lnTo>
                  <a:lnTo>
                    <a:pt x="273" y="4243"/>
                  </a:lnTo>
                  <a:lnTo>
                    <a:pt x="309" y="4255"/>
                  </a:lnTo>
                  <a:lnTo>
                    <a:pt x="332" y="4302"/>
                  </a:lnTo>
                  <a:lnTo>
                    <a:pt x="321" y="4326"/>
                  </a:lnTo>
                  <a:lnTo>
                    <a:pt x="285" y="4350"/>
                  </a:lnTo>
                  <a:lnTo>
                    <a:pt x="309" y="4386"/>
                  </a:lnTo>
                  <a:lnTo>
                    <a:pt x="332" y="4421"/>
                  </a:lnTo>
                  <a:lnTo>
                    <a:pt x="344" y="4433"/>
                  </a:lnTo>
                  <a:lnTo>
                    <a:pt x="321" y="4469"/>
                  </a:lnTo>
                  <a:lnTo>
                    <a:pt x="297" y="4481"/>
                  </a:lnTo>
                  <a:lnTo>
                    <a:pt x="309" y="4528"/>
                  </a:lnTo>
                  <a:lnTo>
                    <a:pt x="332" y="4540"/>
                  </a:lnTo>
                  <a:lnTo>
                    <a:pt x="380" y="4576"/>
                  </a:lnTo>
                  <a:lnTo>
                    <a:pt x="392" y="4599"/>
                  </a:lnTo>
                  <a:lnTo>
                    <a:pt x="380" y="4730"/>
                  </a:lnTo>
                  <a:lnTo>
                    <a:pt x="368" y="4754"/>
                  </a:lnTo>
                  <a:lnTo>
                    <a:pt x="368" y="4825"/>
                  </a:lnTo>
                  <a:lnTo>
                    <a:pt x="356" y="4908"/>
                  </a:lnTo>
                  <a:lnTo>
                    <a:pt x="309" y="4944"/>
                  </a:lnTo>
                  <a:lnTo>
                    <a:pt x="309" y="4956"/>
                  </a:lnTo>
                  <a:lnTo>
                    <a:pt x="309" y="4980"/>
                  </a:lnTo>
                  <a:lnTo>
                    <a:pt x="356" y="5003"/>
                  </a:lnTo>
                  <a:lnTo>
                    <a:pt x="368" y="5027"/>
                  </a:lnTo>
                  <a:lnTo>
                    <a:pt x="332" y="5087"/>
                  </a:lnTo>
                  <a:lnTo>
                    <a:pt x="285" y="5170"/>
                  </a:lnTo>
                  <a:lnTo>
                    <a:pt x="273" y="5229"/>
                  </a:lnTo>
                  <a:lnTo>
                    <a:pt x="273" y="5265"/>
                  </a:lnTo>
                  <a:lnTo>
                    <a:pt x="309" y="5336"/>
                  </a:lnTo>
                  <a:lnTo>
                    <a:pt x="309" y="5384"/>
                  </a:lnTo>
                  <a:lnTo>
                    <a:pt x="332" y="5431"/>
                  </a:lnTo>
                  <a:lnTo>
                    <a:pt x="321" y="5479"/>
                  </a:lnTo>
                  <a:lnTo>
                    <a:pt x="321" y="5550"/>
                  </a:lnTo>
                  <a:lnTo>
                    <a:pt x="285" y="5645"/>
                  </a:lnTo>
                  <a:lnTo>
                    <a:pt x="285" y="5681"/>
                  </a:lnTo>
                  <a:lnTo>
                    <a:pt x="309" y="5693"/>
                  </a:lnTo>
                  <a:lnTo>
                    <a:pt x="309" y="5717"/>
                  </a:lnTo>
                  <a:lnTo>
                    <a:pt x="261" y="5835"/>
                  </a:lnTo>
                  <a:lnTo>
                    <a:pt x="273" y="5847"/>
                  </a:lnTo>
                  <a:lnTo>
                    <a:pt x="297" y="5835"/>
                  </a:lnTo>
                  <a:lnTo>
                    <a:pt x="309" y="5907"/>
                  </a:lnTo>
                  <a:lnTo>
                    <a:pt x="356" y="5942"/>
                  </a:lnTo>
                  <a:lnTo>
                    <a:pt x="404" y="5930"/>
                  </a:lnTo>
                  <a:lnTo>
                    <a:pt x="439" y="5954"/>
                  </a:lnTo>
                  <a:lnTo>
                    <a:pt x="499" y="5954"/>
                  </a:lnTo>
                  <a:lnTo>
                    <a:pt x="511" y="5954"/>
                  </a:lnTo>
                  <a:lnTo>
                    <a:pt x="523" y="5919"/>
                  </a:lnTo>
                  <a:lnTo>
                    <a:pt x="582" y="5919"/>
                  </a:lnTo>
                  <a:lnTo>
                    <a:pt x="606" y="5930"/>
                  </a:lnTo>
                  <a:lnTo>
                    <a:pt x="641" y="5930"/>
                  </a:lnTo>
                  <a:lnTo>
                    <a:pt x="653" y="5954"/>
                  </a:lnTo>
                  <a:lnTo>
                    <a:pt x="677" y="6002"/>
                  </a:lnTo>
                  <a:lnTo>
                    <a:pt x="689" y="6014"/>
                  </a:lnTo>
                  <a:lnTo>
                    <a:pt x="713" y="6014"/>
                  </a:lnTo>
                  <a:lnTo>
                    <a:pt x="760" y="5990"/>
                  </a:lnTo>
                  <a:lnTo>
                    <a:pt x="808" y="6014"/>
                  </a:lnTo>
                  <a:lnTo>
                    <a:pt x="867" y="6014"/>
                  </a:lnTo>
                  <a:lnTo>
                    <a:pt x="962" y="6073"/>
                  </a:lnTo>
                  <a:lnTo>
                    <a:pt x="1010" y="6061"/>
                  </a:lnTo>
                  <a:lnTo>
                    <a:pt x="1069" y="6073"/>
                  </a:lnTo>
                  <a:lnTo>
                    <a:pt x="1117" y="6037"/>
                  </a:lnTo>
                  <a:lnTo>
                    <a:pt x="1141" y="6037"/>
                  </a:lnTo>
                  <a:lnTo>
                    <a:pt x="1164" y="6061"/>
                  </a:lnTo>
                  <a:lnTo>
                    <a:pt x="1188" y="6061"/>
                  </a:lnTo>
                  <a:lnTo>
                    <a:pt x="1224" y="6085"/>
                  </a:lnTo>
                  <a:lnTo>
                    <a:pt x="1259" y="6085"/>
                  </a:lnTo>
                  <a:lnTo>
                    <a:pt x="1283" y="6061"/>
                  </a:lnTo>
                  <a:lnTo>
                    <a:pt x="1319" y="6073"/>
                  </a:lnTo>
                  <a:lnTo>
                    <a:pt x="1366" y="6049"/>
                  </a:lnTo>
                  <a:lnTo>
                    <a:pt x="1402" y="6073"/>
                  </a:lnTo>
                  <a:lnTo>
                    <a:pt x="1438" y="6073"/>
                  </a:lnTo>
                  <a:lnTo>
                    <a:pt x="1473" y="6097"/>
                  </a:lnTo>
                  <a:lnTo>
                    <a:pt x="1509" y="6132"/>
                  </a:lnTo>
                  <a:lnTo>
                    <a:pt x="1521" y="6132"/>
                  </a:lnTo>
                  <a:lnTo>
                    <a:pt x="1545" y="6109"/>
                  </a:lnTo>
                  <a:lnTo>
                    <a:pt x="1557" y="6073"/>
                  </a:lnTo>
                  <a:lnTo>
                    <a:pt x="1568" y="6061"/>
                  </a:lnTo>
                  <a:lnTo>
                    <a:pt x="1652" y="6073"/>
                  </a:lnTo>
                  <a:lnTo>
                    <a:pt x="1699" y="6037"/>
                  </a:lnTo>
                  <a:lnTo>
                    <a:pt x="1735" y="6061"/>
                  </a:lnTo>
                  <a:lnTo>
                    <a:pt x="1759" y="6061"/>
                  </a:lnTo>
                  <a:lnTo>
                    <a:pt x="1818" y="6002"/>
                  </a:lnTo>
                  <a:lnTo>
                    <a:pt x="1877" y="5883"/>
                  </a:lnTo>
                  <a:lnTo>
                    <a:pt x="1925" y="5871"/>
                  </a:lnTo>
                  <a:lnTo>
                    <a:pt x="1996" y="5883"/>
                  </a:lnTo>
                  <a:lnTo>
                    <a:pt x="2079" y="6002"/>
                  </a:lnTo>
                  <a:lnTo>
                    <a:pt x="2115" y="6025"/>
                  </a:lnTo>
                  <a:lnTo>
                    <a:pt x="2174" y="6037"/>
                  </a:lnTo>
                  <a:lnTo>
                    <a:pt x="2222" y="6085"/>
                  </a:lnTo>
                  <a:lnTo>
                    <a:pt x="2270" y="6097"/>
                  </a:lnTo>
                  <a:lnTo>
                    <a:pt x="2305" y="6085"/>
                  </a:lnTo>
                  <a:lnTo>
                    <a:pt x="2353" y="6109"/>
                  </a:lnTo>
                  <a:lnTo>
                    <a:pt x="2388" y="6085"/>
                  </a:lnTo>
                  <a:lnTo>
                    <a:pt x="2424" y="6097"/>
                  </a:lnTo>
                  <a:lnTo>
                    <a:pt x="2448" y="6085"/>
                  </a:lnTo>
                  <a:lnTo>
                    <a:pt x="2495" y="6097"/>
                  </a:lnTo>
                  <a:lnTo>
                    <a:pt x="2543" y="6073"/>
                  </a:lnTo>
                  <a:lnTo>
                    <a:pt x="2567" y="6085"/>
                  </a:lnTo>
                  <a:lnTo>
                    <a:pt x="2602" y="6109"/>
                  </a:lnTo>
                  <a:lnTo>
                    <a:pt x="2650" y="6156"/>
                  </a:lnTo>
                  <a:lnTo>
                    <a:pt x="2685" y="6216"/>
                  </a:lnTo>
                  <a:lnTo>
                    <a:pt x="2721" y="6299"/>
                  </a:lnTo>
                  <a:lnTo>
                    <a:pt x="2733" y="6370"/>
                  </a:lnTo>
                  <a:lnTo>
                    <a:pt x="2757" y="6441"/>
                  </a:lnTo>
                  <a:lnTo>
                    <a:pt x="2781" y="6477"/>
                  </a:lnTo>
                  <a:lnTo>
                    <a:pt x="2864" y="6548"/>
                  </a:lnTo>
                  <a:lnTo>
                    <a:pt x="2888" y="6572"/>
                  </a:lnTo>
                  <a:lnTo>
                    <a:pt x="2888" y="6632"/>
                  </a:lnTo>
                  <a:lnTo>
                    <a:pt x="2888" y="6667"/>
                  </a:lnTo>
                  <a:lnTo>
                    <a:pt x="2852" y="6739"/>
                  </a:lnTo>
                  <a:lnTo>
                    <a:pt x="2840" y="6798"/>
                  </a:lnTo>
                  <a:lnTo>
                    <a:pt x="2852" y="6845"/>
                  </a:lnTo>
                  <a:lnTo>
                    <a:pt x="2864" y="6988"/>
                  </a:lnTo>
                  <a:lnTo>
                    <a:pt x="2899" y="7047"/>
                  </a:lnTo>
                  <a:lnTo>
                    <a:pt x="2899" y="7095"/>
                  </a:lnTo>
                  <a:lnTo>
                    <a:pt x="2911" y="7107"/>
                  </a:lnTo>
                  <a:lnTo>
                    <a:pt x="2971" y="7154"/>
                  </a:lnTo>
                  <a:lnTo>
                    <a:pt x="2983" y="7178"/>
                  </a:lnTo>
                  <a:lnTo>
                    <a:pt x="2983" y="7226"/>
                  </a:lnTo>
                  <a:lnTo>
                    <a:pt x="2959" y="7333"/>
                  </a:lnTo>
                  <a:lnTo>
                    <a:pt x="2994" y="7368"/>
                  </a:lnTo>
                  <a:lnTo>
                    <a:pt x="3006" y="7392"/>
                  </a:lnTo>
                  <a:lnTo>
                    <a:pt x="2994" y="7463"/>
                  </a:lnTo>
                  <a:lnTo>
                    <a:pt x="2959" y="7535"/>
                  </a:lnTo>
                  <a:lnTo>
                    <a:pt x="2959" y="7570"/>
                  </a:lnTo>
                  <a:lnTo>
                    <a:pt x="2994" y="7630"/>
                  </a:lnTo>
                  <a:lnTo>
                    <a:pt x="2994" y="7689"/>
                  </a:lnTo>
                  <a:lnTo>
                    <a:pt x="3066" y="7772"/>
                  </a:lnTo>
                  <a:lnTo>
                    <a:pt x="3078" y="7844"/>
                  </a:lnTo>
                  <a:lnTo>
                    <a:pt x="3090" y="8046"/>
                  </a:lnTo>
                  <a:lnTo>
                    <a:pt x="3101" y="8093"/>
                  </a:lnTo>
                  <a:lnTo>
                    <a:pt x="3149" y="8117"/>
                  </a:lnTo>
                  <a:lnTo>
                    <a:pt x="3185" y="8129"/>
                  </a:lnTo>
                  <a:lnTo>
                    <a:pt x="3232" y="8117"/>
                  </a:lnTo>
                  <a:lnTo>
                    <a:pt x="3280" y="8153"/>
                  </a:lnTo>
                  <a:lnTo>
                    <a:pt x="3303" y="8165"/>
                  </a:lnTo>
                  <a:lnTo>
                    <a:pt x="3422" y="8129"/>
                  </a:lnTo>
                  <a:lnTo>
                    <a:pt x="3494" y="8129"/>
                  </a:lnTo>
                  <a:lnTo>
                    <a:pt x="3553" y="8141"/>
                  </a:lnTo>
                  <a:lnTo>
                    <a:pt x="3577" y="8141"/>
                  </a:lnTo>
                  <a:lnTo>
                    <a:pt x="3601" y="8129"/>
                  </a:lnTo>
                  <a:lnTo>
                    <a:pt x="3636" y="8093"/>
                  </a:lnTo>
                  <a:lnTo>
                    <a:pt x="3660" y="8069"/>
                  </a:lnTo>
                  <a:lnTo>
                    <a:pt x="3707" y="8058"/>
                  </a:lnTo>
                  <a:lnTo>
                    <a:pt x="3707" y="8034"/>
                  </a:lnTo>
                  <a:lnTo>
                    <a:pt x="3755" y="8010"/>
                  </a:lnTo>
                  <a:lnTo>
                    <a:pt x="3838" y="7986"/>
                  </a:lnTo>
                  <a:lnTo>
                    <a:pt x="3910" y="7974"/>
                  </a:lnTo>
                  <a:lnTo>
                    <a:pt x="3921" y="7963"/>
                  </a:lnTo>
                  <a:lnTo>
                    <a:pt x="3945" y="7927"/>
                  </a:lnTo>
                  <a:lnTo>
                    <a:pt x="4005" y="7927"/>
                  </a:lnTo>
                  <a:lnTo>
                    <a:pt x="4088" y="7986"/>
                  </a:lnTo>
                  <a:lnTo>
                    <a:pt x="4123" y="7986"/>
                  </a:lnTo>
                  <a:lnTo>
                    <a:pt x="4135" y="7986"/>
                  </a:lnTo>
                  <a:lnTo>
                    <a:pt x="4230" y="8069"/>
                  </a:lnTo>
                  <a:lnTo>
                    <a:pt x="4349" y="8212"/>
                  </a:lnTo>
                  <a:lnTo>
                    <a:pt x="4397" y="8200"/>
                  </a:lnTo>
                  <a:lnTo>
                    <a:pt x="4456" y="8117"/>
                  </a:lnTo>
                  <a:lnTo>
                    <a:pt x="4527" y="8034"/>
                  </a:lnTo>
                  <a:lnTo>
                    <a:pt x="4539" y="7986"/>
                  </a:lnTo>
                  <a:lnTo>
                    <a:pt x="4551" y="7891"/>
                  </a:lnTo>
                  <a:lnTo>
                    <a:pt x="4587" y="7820"/>
                  </a:lnTo>
                  <a:lnTo>
                    <a:pt x="4587" y="7725"/>
                  </a:lnTo>
                  <a:lnTo>
                    <a:pt x="4623" y="7654"/>
                  </a:lnTo>
                  <a:lnTo>
                    <a:pt x="4646" y="7582"/>
                  </a:lnTo>
                  <a:lnTo>
                    <a:pt x="4682" y="7523"/>
                  </a:lnTo>
                  <a:lnTo>
                    <a:pt x="4706" y="7487"/>
                  </a:lnTo>
                  <a:lnTo>
                    <a:pt x="4789" y="7380"/>
                  </a:lnTo>
                  <a:lnTo>
                    <a:pt x="4825" y="7356"/>
                  </a:lnTo>
                  <a:lnTo>
                    <a:pt x="4848" y="7345"/>
                  </a:lnTo>
                  <a:lnTo>
                    <a:pt x="4884" y="7333"/>
                  </a:lnTo>
                  <a:lnTo>
                    <a:pt x="4932" y="7297"/>
                  </a:lnTo>
                  <a:lnTo>
                    <a:pt x="4979" y="7250"/>
                  </a:lnTo>
                  <a:lnTo>
                    <a:pt x="5038" y="7143"/>
                  </a:lnTo>
                  <a:lnTo>
                    <a:pt x="5074" y="6964"/>
                  </a:lnTo>
                  <a:lnTo>
                    <a:pt x="5098" y="6929"/>
                  </a:lnTo>
                  <a:lnTo>
                    <a:pt x="5110" y="6857"/>
                  </a:lnTo>
                  <a:lnTo>
                    <a:pt x="5134" y="6834"/>
                  </a:lnTo>
                  <a:lnTo>
                    <a:pt x="5169" y="6810"/>
                  </a:lnTo>
                  <a:lnTo>
                    <a:pt x="5217" y="6762"/>
                  </a:lnTo>
                  <a:lnTo>
                    <a:pt x="5383" y="6679"/>
                  </a:lnTo>
                  <a:lnTo>
                    <a:pt x="5454" y="6655"/>
                  </a:lnTo>
                  <a:lnTo>
                    <a:pt x="5466" y="6643"/>
                  </a:lnTo>
                  <a:lnTo>
                    <a:pt x="5561" y="6608"/>
                  </a:lnTo>
                  <a:lnTo>
                    <a:pt x="5597" y="6584"/>
                  </a:lnTo>
                  <a:lnTo>
                    <a:pt x="5656" y="6489"/>
                  </a:lnTo>
                  <a:lnTo>
                    <a:pt x="5656" y="6465"/>
                  </a:lnTo>
                  <a:lnTo>
                    <a:pt x="5692" y="6430"/>
                  </a:lnTo>
                  <a:lnTo>
                    <a:pt x="5858" y="6323"/>
                  </a:lnTo>
                  <a:lnTo>
                    <a:pt x="5942" y="6299"/>
                  </a:lnTo>
                  <a:lnTo>
                    <a:pt x="6049" y="6204"/>
                  </a:lnTo>
                  <a:lnTo>
                    <a:pt x="6144" y="6132"/>
                  </a:lnTo>
                  <a:lnTo>
                    <a:pt x="6239" y="6085"/>
                  </a:lnTo>
                  <a:lnTo>
                    <a:pt x="6322" y="6037"/>
                  </a:lnTo>
                  <a:lnTo>
                    <a:pt x="6381" y="5966"/>
                  </a:lnTo>
                  <a:lnTo>
                    <a:pt x="6453" y="5930"/>
                  </a:lnTo>
                  <a:lnTo>
                    <a:pt x="6500" y="5859"/>
                  </a:lnTo>
                  <a:lnTo>
                    <a:pt x="6548" y="5705"/>
                  </a:lnTo>
                  <a:lnTo>
                    <a:pt x="6702" y="5526"/>
                  </a:lnTo>
                  <a:lnTo>
                    <a:pt x="6821" y="5443"/>
                  </a:lnTo>
                  <a:lnTo>
                    <a:pt x="6785" y="5229"/>
                  </a:lnTo>
                  <a:lnTo>
                    <a:pt x="6797" y="5194"/>
                  </a:lnTo>
                  <a:lnTo>
                    <a:pt x="6880" y="5194"/>
                  </a:lnTo>
                  <a:lnTo>
                    <a:pt x="6940" y="5170"/>
                  </a:lnTo>
                  <a:lnTo>
                    <a:pt x="7059" y="4992"/>
                  </a:lnTo>
                  <a:lnTo>
                    <a:pt x="7071" y="4766"/>
                  </a:lnTo>
                  <a:lnTo>
                    <a:pt x="7166" y="4659"/>
                  </a:lnTo>
                  <a:lnTo>
                    <a:pt x="7201" y="4576"/>
                  </a:lnTo>
                  <a:lnTo>
                    <a:pt x="7273" y="4540"/>
                  </a:lnTo>
                  <a:lnTo>
                    <a:pt x="7296" y="4516"/>
                  </a:lnTo>
                  <a:lnTo>
                    <a:pt x="7308" y="4469"/>
                  </a:lnTo>
                  <a:lnTo>
                    <a:pt x="7320" y="4314"/>
                  </a:lnTo>
                  <a:lnTo>
                    <a:pt x="7320" y="4243"/>
                  </a:lnTo>
                  <a:lnTo>
                    <a:pt x="7332" y="4207"/>
                  </a:lnTo>
                  <a:lnTo>
                    <a:pt x="7344" y="4183"/>
                  </a:lnTo>
                  <a:lnTo>
                    <a:pt x="7427" y="4100"/>
                  </a:lnTo>
                  <a:lnTo>
                    <a:pt x="7439" y="4088"/>
                  </a:lnTo>
                  <a:lnTo>
                    <a:pt x="7463" y="4077"/>
                  </a:lnTo>
                  <a:lnTo>
                    <a:pt x="7487" y="4005"/>
                  </a:lnTo>
                  <a:lnTo>
                    <a:pt x="7570" y="3970"/>
                  </a:lnTo>
                  <a:lnTo>
                    <a:pt x="7605" y="3898"/>
                  </a:lnTo>
                  <a:lnTo>
                    <a:pt x="7689" y="3803"/>
                  </a:lnTo>
                  <a:lnTo>
                    <a:pt x="7700" y="3791"/>
                  </a:lnTo>
                  <a:lnTo>
                    <a:pt x="7760" y="3779"/>
                  </a:lnTo>
                  <a:lnTo>
                    <a:pt x="7843" y="3768"/>
                  </a:lnTo>
                  <a:lnTo>
                    <a:pt x="7914" y="3732"/>
                  </a:lnTo>
                  <a:lnTo>
                    <a:pt x="7962" y="3672"/>
                  </a:lnTo>
                  <a:lnTo>
                    <a:pt x="7998" y="3601"/>
                  </a:lnTo>
                  <a:lnTo>
                    <a:pt x="8033" y="3518"/>
                  </a:lnTo>
                  <a:lnTo>
                    <a:pt x="8033" y="3506"/>
                  </a:lnTo>
                  <a:lnTo>
                    <a:pt x="8057" y="3364"/>
                  </a:lnTo>
                  <a:lnTo>
                    <a:pt x="8057" y="3221"/>
                  </a:lnTo>
                  <a:lnTo>
                    <a:pt x="8057" y="3197"/>
                  </a:lnTo>
                  <a:lnTo>
                    <a:pt x="8045" y="3126"/>
                  </a:lnTo>
                  <a:lnTo>
                    <a:pt x="8021" y="3090"/>
                  </a:lnTo>
                  <a:lnTo>
                    <a:pt x="8033" y="3031"/>
                  </a:lnTo>
                  <a:lnTo>
                    <a:pt x="8057" y="2983"/>
                  </a:lnTo>
                  <a:lnTo>
                    <a:pt x="8105" y="2912"/>
                  </a:lnTo>
                  <a:lnTo>
                    <a:pt x="8152" y="2888"/>
                  </a:lnTo>
                  <a:lnTo>
                    <a:pt x="8152" y="2876"/>
                  </a:lnTo>
                  <a:lnTo>
                    <a:pt x="8152" y="2841"/>
                  </a:lnTo>
                  <a:lnTo>
                    <a:pt x="8140" y="2805"/>
                  </a:lnTo>
                  <a:lnTo>
                    <a:pt x="8152" y="2769"/>
                  </a:lnTo>
                  <a:lnTo>
                    <a:pt x="8152" y="2769"/>
                  </a:lnTo>
                  <a:lnTo>
                    <a:pt x="8152" y="2757"/>
                  </a:lnTo>
                  <a:lnTo>
                    <a:pt x="8140" y="2757"/>
                  </a:lnTo>
                  <a:lnTo>
                    <a:pt x="8140" y="2734"/>
                  </a:lnTo>
                  <a:lnTo>
                    <a:pt x="8105" y="2710"/>
                  </a:lnTo>
                  <a:lnTo>
                    <a:pt x="8057" y="2674"/>
                  </a:lnTo>
                  <a:lnTo>
                    <a:pt x="8021" y="2603"/>
                  </a:lnTo>
                  <a:lnTo>
                    <a:pt x="7998" y="2567"/>
                  </a:lnTo>
                  <a:lnTo>
                    <a:pt x="7879" y="2508"/>
                  </a:lnTo>
                  <a:lnTo>
                    <a:pt x="7784" y="2508"/>
                  </a:lnTo>
                  <a:lnTo>
                    <a:pt x="7736" y="2460"/>
                  </a:lnTo>
                  <a:lnTo>
                    <a:pt x="7689" y="2448"/>
                  </a:lnTo>
                  <a:lnTo>
                    <a:pt x="7629" y="2401"/>
                  </a:lnTo>
                  <a:lnTo>
                    <a:pt x="7487" y="2365"/>
                  </a:lnTo>
                  <a:lnTo>
                    <a:pt x="7451" y="2342"/>
                  </a:lnTo>
                  <a:lnTo>
                    <a:pt x="7308" y="2330"/>
                  </a:lnTo>
                  <a:lnTo>
                    <a:pt x="7201" y="2258"/>
                  </a:lnTo>
                  <a:lnTo>
                    <a:pt x="7118" y="2223"/>
                  </a:lnTo>
                  <a:lnTo>
                    <a:pt x="7083" y="2163"/>
                  </a:lnTo>
                  <a:lnTo>
                    <a:pt x="7059" y="2151"/>
                  </a:lnTo>
                  <a:lnTo>
                    <a:pt x="7047" y="2139"/>
                  </a:lnTo>
                  <a:lnTo>
                    <a:pt x="6964" y="2139"/>
                  </a:lnTo>
                  <a:lnTo>
                    <a:pt x="6916" y="2116"/>
                  </a:lnTo>
                  <a:lnTo>
                    <a:pt x="6857" y="2116"/>
                  </a:lnTo>
                  <a:lnTo>
                    <a:pt x="6809" y="2068"/>
                  </a:lnTo>
                  <a:lnTo>
                    <a:pt x="6797" y="2044"/>
                  </a:lnTo>
                  <a:lnTo>
                    <a:pt x="6750" y="2009"/>
                  </a:lnTo>
                  <a:lnTo>
                    <a:pt x="6714" y="1985"/>
                  </a:lnTo>
                  <a:lnTo>
                    <a:pt x="6583" y="1961"/>
                  </a:lnTo>
                  <a:lnTo>
                    <a:pt x="6524" y="1937"/>
                  </a:lnTo>
                  <a:lnTo>
                    <a:pt x="6488" y="1890"/>
                  </a:lnTo>
                  <a:lnTo>
                    <a:pt x="6465" y="1819"/>
                  </a:lnTo>
                  <a:lnTo>
                    <a:pt x="6417" y="1783"/>
                  </a:lnTo>
                  <a:lnTo>
                    <a:pt x="6286" y="1759"/>
                  </a:lnTo>
                  <a:lnTo>
                    <a:pt x="6251" y="1795"/>
                  </a:lnTo>
                  <a:lnTo>
                    <a:pt x="6227" y="1795"/>
                  </a:lnTo>
                  <a:lnTo>
                    <a:pt x="6203" y="1771"/>
                  </a:lnTo>
                  <a:lnTo>
                    <a:pt x="6060" y="1783"/>
                  </a:lnTo>
                  <a:lnTo>
                    <a:pt x="5942" y="1735"/>
                  </a:lnTo>
                  <a:lnTo>
                    <a:pt x="5918" y="1700"/>
                  </a:lnTo>
                  <a:lnTo>
                    <a:pt x="5882" y="1652"/>
                  </a:lnTo>
                  <a:lnTo>
                    <a:pt x="5882" y="1628"/>
                  </a:lnTo>
                  <a:lnTo>
                    <a:pt x="5882" y="1569"/>
                  </a:lnTo>
                  <a:lnTo>
                    <a:pt x="5918" y="1533"/>
                  </a:lnTo>
                  <a:lnTo>
                    <a:pt x="5954" y="1522"/>
                  </a:lnTo>
                  <a:lnTo>
                    <a:pt x="5954" y="1510"/>
                  </a:lnTo>
                  <a:lnTo>
                    <a:pt x="6037" y="1498"/>
                  </a:lnTo>
                  <a:lnTo>
                    <a:pt x="6060" y="1474"/>
                  </a:lnTo>
                  <a:lnTo>
                    <a:pt x="6084" y="1426"/>
                  </a:lnTo>
                  <a:lnTo>
                    <a:pt x="6084" y="1391"/>
                  </a:lnTo>
                  <a:lnTo>
                    <a:pt x="6072" y="1367"/>
                  </a:lnTo>
                  <a:lnTo>
                    <a:pt x="6049" y="1343"/>
                  </a:lnTo>
                  <a:lnTo>
                    <a:pt x="6037" y="1343"/>
                  </a:lnTo>
                  <a:lnTo>
                    <a:pt x="5977" y="1343"/>
                  </a:lnTo>
                  <a:lnTo>
                    <a:pt x="5906" y="1308"/>
                  </a:lnTo>
                  <a:lnTo>
                    <a:pt x="5799" y="1367"/>
                  </a:lnTo>
                  <a:lnTo>
                    <a:pt x="5763" y="1379"/>
                  </a:lnTo>
                  <a:lnTo>
                    <a:pt x="5752" y="1367"/>
                  </a:lnTo>
                  <a:lnTo>
                    <a:pt x="5728" y="1343"/>
                  </a:lnTo>
                  <a:lnTo>
                    <a:pt x="5704" y="1308"/>
                  </a:lnTo>
                  <a:lnTo>
                    <a:pt x="5704" y="1272"/>
                  </a:lnTo>
                  <a:lnTo>
                    <a:pt x="5716" y="1177"/>
                  </a:lnTo>
                  <a:lnTo>
                    <a:pt x="5680" y="1106"/>
                  </a:lnTo>
                  <a:lnTo>
                    <a:pt x="5704" y="1022"/>
                  </a:lnTo>
                  <a:lnTo>
                    <a:pt x="5621" y="999"/>
                  </a:lnTo>
                  <a:lnTo>
                    <a:pt x="5514" y="951"/>
                  </a:lnTo>
                  <a:lnTo>
                    <a:pt x="5336" y="939"/>
                  </a:lnTo>
                  <a:lnTo>
                    <a:pt x="5241" y="963"/>
                  </a:lnTo>
                  <a:lnTo>
                    <a:pt x="5145" y="951"/>
                  </a:lnTo>
                  <a:lnTo>
                    <a:pt x="5110" y="963"/>
                  </a:lnTo>
                  <a:lnTo>
                    <a:pt x="5038" y="987"/>
                  </a:lnTo>
                  <a:lnTo>
                    <a:pt x="4991" y="951"/>
                  </a:lnTo>
                  <a:lnTo>
                    <a:pt x="4943" y="904"/>
                  </a:lnTo>
                  <a:lnTo>
                    <a:pt x="4860" y="868"/>
                  </a:lnTo>
                  <a:lnTo>
                    <a:pt x="4801" y="832"/>
                  </a:lnTo>
                  <a:lnTo>
                    <a:pt x="4777" y="785"/>
                  </a:lnTo>
                  <a:lnTo>
                    <a:pt x="4789" y="725"/>
                  </a:lnTo>
                  <a:lnTo>
                    <a:pt x="4836" y="642"/>
                  </a:lnTo>
                  <a:lnTo>
                    <a:pt x="4872" y="606"/>
                  </a:lnTo>
                  <a:lnTo>
                    <a:pt x="4967" y="583"/>
                  </a:lnTo>
                  <a:lnTo>
                    <a:pt x="5003" y="535"/>
                  </a:lnTo>
                  <a:lnTo>
                    <a:pt x="5027" y="404"/>
                  </a:lnTo>
                  <a:lnTo>
                    <a:pt x="5038" y="167"/>
                  </a:lnTo>
                  <a:lnTo>
                    <a:pt x="5027" y="95"/>
                  </a:lnTo>
                  <a:lnTo>
                    <a:pt x="5003" y="48"/>
                  </a:lnTo>
                  <a:lnTo>
                    <a:pt x="4967" y="48"/>
                  </a:lnTo>
                  <a:lnTo>
                    <a:pt x="4932" y="60"/>
                  </a:lnTo>
                  <a:lnTo>
                    <a:pt x="4896" y="95"/>
                  </a:lnTo>
                  <a:lnTo>
                    <a:pt x="4860" y="119"/>
                  </a:lnTo>
                  <a:lnTo>
                    <a:pt x="4825" y="191"/>
                  </a:lnTo>
                  <a:lnTo>
                    <a:pt x="4789" y="214"/>
                  </a:lnTo>
                  <a:lnTo>
                    <a:pt x="4730" y="286"/>
                  </a:lnTo>
                  <a:lnTo>
                    <a:pt x="4682" y="321"/>
                  </a:lnTo>
                  <a:lnTo>
                    <a:pt x="4623" y="345"/>
                  </a:lnTo>
                  <a:lnTo>
                    <a:pt x="4587" y="416"/>
                  </a:lnTo>
                  <a:lnTo>
                    <a:pt x="4563" y="464"/>
                  </a:lnTo>
                  <a:lnTo>
                    <a:pt x="4539" y="488"/>
                  </a:lnTo>
                  <a:lnTo>
                    <a:pt x="4444" y="500"/>
                  </a:lnTo>
                  <a:lnTo>
                    <a:pt x="4325" y="547"/>
                  </a:lnTo>
                  <a:lnTo>
                    <a:pt x="4278" y="559"/>
                  </a:lnTo>
                  <a:lnTo>
                    <a:pt x="4219" y="535"/>
                  </a:lnTo>
                  <a:lnTo>
                    <a:pt x="4207" y="500"/>
                  </a:lnTo>
                  <a:lnTo>
                    <a:pt x="4195" y="464"/>
                  </a:lnTo>
                  <a:lnTo>
                    <a:pt x="4183" y="428"/>
                  </a:lnTo>
                  <a:lnTo>
                    <a:pt x="4123" y="393"/>
                  </a:lnTo>
                  <a:lnTo>
                    <a:pt x="4088" y="345"/>
                  </a:lnTo>
                  <a:lnTo>
                    <a:pt x="3969" y="321"/>
                  </a:lnTo>
                  <a:lnTo>
                    <a:pt x="3933" y="345"/>
                  </a:lnTo>
                  <a:lnTo>
                    <a:pt x="3850" y="357"/>
                  </a:lnTo>
                  <a:lnTo>
                    <a:pt x="3814" y="381"/>
                  </a:lnTo>
                  <a:lnTo>
                    <a:pt x="3779" y="440"/>
                  </a:lnTo>
                  <a:lnTo>
                    <a:pt x="3743" y="452"/>
                  </a:lnTo>
                  <a:lnTo>
                    <a:pt x="3684" y="500"/>
                  </a:lnTo>
                  <a:lnTo>
                    <a:pt x="3648" y="511"/>
                  </a:lnTo>
                  <a:lnTo>
                    <a:pt x="3577" y="500"/>
                  </a:lnTo>
                  <a:lnTo>
                    <a:pt x="3470" y="535"/>
                  </a:lnTo>
                  <a:lnTo>
                    <a:pt x="3410" y="535"/>
                  </a:lnTo>
                  <a:lnTo>
                    <a:pt x="3339" y="559"/>
                  </a:lnTo>
                  <a:lnTo>
                    <a:pt x="3232" y="476"/>
                  </a:lnTo>
                  <a:lnTo>
                    <a:pt x="3196" y="440"/>
                  </a:lnTo>
                  <a:lnTo>
                    <a:pt x="3113" y="416"/>
                  </a:lnTo>
                  <a:lnTo>
                    <a:pt x="3030" y="381"/>
                  </a:lnTo>
                  <a:lnTo>
                    <a:pt x="2994" y="345"/>
                  </a:lnTo>
                  <a:lnTo>
                    <a:pt x="2911" y="309"/>
                  </a:lnTo>
                  <a:lnTo>
                    <a:pt x="2864" y="262"/>
                  </a:lnTo>
                  <a:lnTo>
                    <a:pt x="2828" y="202"/>
                  </a:lnTo>
                  <a:lnTo>
                    <a:pt x="2757" y="179"/>
                  </a:lnTo>
                  <a:lnTo>
                    <a:pt x="2697" y="191"/>
                  </a:lnTo>
                  <a:lnTo>
                    <a:pt x="2650" y="167"/>
                  </a:lnTo>
                  <a:lnTo>
                    <a:pt x="2602" y="155"/>
                  </a:lnTo>
                  <a:lnTo>
                    <a:pt x="2543" y="119"/>
                  </a:lnTo>
                  <a:lnTo>
                    <a:pt x="2507" y="107"/>
                  </a:lnTo>
                  <a:lnTo>
                    <a:pt x="2448" y="72"/>
                  </a:lnTo>
                  <a:lnTo>
                    <a:pt x="2400" y="48"/>
                  </a:lnTo>
                  <a:lnTo>
                    <a:pt x="2329" y="0"/>
                  </a:lnTo>
                  <a:lnTo>
                    <a:pt x="2210" y="0"/>
                  </a:lnTo>
                  <a:lnTo>
                    <a:pt x="2163" y="12"/>
                  </a:lnTo>
                  <a:lnTo>
                    <a:pt x="2044" y="84"/>
                  </a:lnTo>
                  <a:lnTo>
                    <a:pt x="2020" y="119"/>
                  </a:lnTo>
                  <a:lnTo>
                    <a:pt x="1972" y="131"/>
                  </a:lnTo>
                  <a:lnTo>
                    <a:pt x="1937" y="131"/>
                  </a:lnTo>
                  <a:lnTo>
                    <a:pt x="1889" y="179"/>
                  </a:lnTo>
                  <a:lnTo>
                    <a:pt x="1866" y="179"/>
                  </a:lnTo>
                  <a:lnTo>
                    <a:pt x="1818" y="155"/>
                  </a:lnTo>
                  <a:lnTo>
                    <a:pt x="1782" y="155"/>
                  </a:lnTo>
                  <a:lnTo>
                    <a:pt x="1759" y="179"/>
                  </a:lnTo>
                  <a:lnTo>
                    <a:pt x="1735" y="179"/>
                  </a:lnTo>
                  <a:lnTo>
                    <a:pt x="1580" y="179"/>
                  </a:lnTo>
                  <a:lnTo>
                    <a:pt x="1557" y="202"/>
                  </a:lnTo>
                  <a:lnTo>
                    <a:pt x="1533" y="226"/>
                  </a:lnTo>
                  <a:lnTo>
                    <a:pt x="1497" y="226"/>
                  </a:lnTo>
                  <a:lnTo>
                    <a:pt x="1485" y="238"/>
                  </a:lnTo>
                  <a:lnTo>
                    <a:pt x="1461" y="262"/>
                  </a:lnTo>
                  <a:lnTo>
                    <a:pt x="1426" y="274"/>
                  </a:lnTo>
                  <a:lnTo>
                    <a:pt x="1426" y="321"/>
                  </a:lnTo>
                  <a:lnTo>
                    <a:pt x="1390" y="369"/>
                  </a:lnTo>
                  <a:lnTo>
                    <a:pt x="1390" y="428"/>
                  </a:lnTo>
                  <a:lnTo>
                    <a:pt x="1378" y="440"/>
                  </a:lnTo>
                  <a:lnTo>
                    <a:pt x="1343" y="440"/>
                  </a:lnTo>
                  <a:lnTo>
                    <a:pt x="1319" y="452"/>
                  </a:lnTo>
                  <a:lnTo>
                    <a:pt x="1248" y="511"/>
                  </a:lnTo>
                  <a:lnTo>
                    <a:pt x="1212" y="618"/>
                  </a:lnTo>
                  <a:lnTo>
                    <a:pt x="1176" y="642"/>
                  </a:lnTo>
                  <a:lnTo>
                    <a:pt x="1152" y="702"/>
                  </a:lnTo>
                  <a:lnTo>
                    <a:pt x="1081" y="749"/>
                  </a:lnTo>
                  <a:lnTo>
                    <a:pt x="1046" y="737"/>
                  </a:lnTo>
                  <a:lnTo>
                    <a:pt x="974" y="761"/>
                  </a:lnTo>
                  <a:lnTo>
                    <a:pt x="891" y="785"/>
                  </a:lnTo>
                  <a:lnTo>
                    <a:pt x="855" y="797"/>
                  </a:lnTo>
                  <a:lnTo>
                    <a:pt x="808" y="808"/>
                  </a:lnTo>
                  <a:lnTo>
                    <a:pt x="713" y="892"/>
                  </a:lnTo>
                  <a:lnTo>
                    <a:pt x="701" y="880"/>
                  </a:lnTo>
                  <a:lnTo>
                    <a:pt x="689" y="868"/>
                  </a:lnTo>
                  <a:lnTo>
                    <a:pt x="677" y="892"/>
                  </a:lnTo>
                  <a:lnTo>
                    <a:pt x="653" y="880"/>
                  </a:lnTo>
                  <a:lnTo>
                    <a:pt x="606" y="832"/>
                  </a:lnTo>
                  <a:lnTo>
                    <a:pt x="558" y="808"/>
                  </a:lnTo>
                  <a:lnTo>
                    <a:pt x="511" y="713"/>
                  </a:lnTo>
                  <a:lnTo>
                    <a:pt x="511" y="702"/>
                  </a:lnTo>
                  <a:lnTo>
                    <a:pt x="499" y="702"/>
                  </a:lnTo>
                  <a:lnTo>
                    <a:pt x="487" y="702"/>
                  </a:lnTo>
                  <a:lnTo>
                    <a:pt x="487" y="702"/>
                  </a:lnTo>
                  <a:lnTo>
                    <a:pt x="487" y="690"/>
                  </a:lnTo>
                  <a:lnTo>
                    <a:pt x="475" y="690"/>
                  </a:lnTo>
                  <a:lnTo>
                    <a:pt x="463" y="690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666"/>
                  </a:lnTo>
                  <a:lnTo>
                    <a:pt x="475" y="654"/>
                  </a:lnTo>
                  <a:lnTo>
                    <a:pt x="475" y="654"/>
                  </a:lnTo>
                  <a:lnTo>
                    <a:pt x="487" y="654"/>
                  </a:lnTo>
                  <a:lnTo>
                    <a:pt x="475" y="642"/>
                  </a:lnTo>
                  <a:lnTo>
                    <a:pt x="487" y="630"/>
                  </a:lnTo>
                  <a:lnTo>
                    <a:pt x="487" y="630"/>
                  </a:lnTo>
                  <a:lnTo>
                    <a:pt x="475" y="618"/>
                  </a:lnTo>
                  <a:lnTo>
                    <a:pt x="475" y="606"/>
                  </a:lnTo>
                  <a:lnTo>
                    <a:pt x="463" y="606"/>
                  </a:lnTo>
                  <a:lnTo>
                    <a:pt x="475" y="595"/>
                  </a:lnTo>
                  <a:lnTo>
                    <a:pt x="463" y="595"/>
                  </a:lnTo>
                  <a:lnTo>
                    <a:pt x="463" y="595"/>
                  </a:lnTo>
                  <a:lnTo>
                    <a:pt x="463" y="583"/>
                  </a:lnTo>
                  <a:lnTo>
                    <a:pt x="451" y="583"/>
                  </a:lnTo>
                  <a:lnTo>
                    <a:pt x="451" y="583"/>
                  </a:lnTo>
                  <a:lnTo>
                    <a:pt x="451" y="571"/>
                  </a:lnTo>
                  <a:lnTo>
                    <a:pt x="451" y="571"/>
                  </a:lnTo>
                  <a:lnTo>
                    <a:pt x="439" y="559"/>
                  </a:lnTo>
                  <a:lnTo>
                    <a:pt x="451" y="547"/>
                  </a:lnTo>
                  <a:lnTo>
                    <a:pt x="451" y="547"/>
                  </a:lnTo>
                  <a:lnTo>
                    <a:pt x="439" y="535"/>
                  </a:lnTo>
                  <a:lnTo>
                    <a:pt x="451" y="535"/>
                  </a:lnTo>
                  <a:lnTo>
                    <a:pt x="451" y="523"/>
                  </a:lnTo>
                  <a:lnTo>
                    <a:pt x="439" y="523"/>
                  </a:lnTo>
                  <a:lnTo>
                    <a:pt x="439" y="511"/>
                  </a:lnTo>
                  <a:lnTo>
                    <a:pt x="439" y="500"/>
                  </a:lnTo>
                  <a:lnTo>
                    <a:pt x="439" y="500"/>
                  </a:lnTo>
                  <a:lnTo>
                    <a:pt x="428" y="488"/>
                  </a:lnTo>
                  <a:lnTo>
                    <a:pt x="439" y="488"/>
                  </a:lnTo>
                  <a:lnTo>
                    <a:pt x="428" y="476"/>
                  </a:lnTo>
                  <a:lnTo>
                    <a:pt x="428" y="476"/>
                  </a:lnTo>
                  <a:lnTo>
                    <a:pt x="416" y="464"/>
                  </a:lnTo>
                  <a:lnTo>
                    <a:pt x="416" y="464"/>
                  </a:lnTo>
                  <a:lnTo>
                    <a:pt x="404" y="476"/>
                  </a:lnTo>
                  <a:lnTo>
                    <a:pt x="392" y="488"/>
                  </a:lnTo>
                  <a:lnTo>
                    <a:pt x="392" y="488"/>
                  </a:lnTo>
                  <a:lnTo>
                    <a:pt x="392" y="511"/>
                  </a:lnTo>
                  <a:lnTo>
                    <a:pt x="344" y="50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grpSp>
          <p:nvGrpSpPr>
            <p:cNvPr id="22" name="Group 681"/>
            <p:cNvGrpSpPr/>
            <p:nvPr/>
          </p:nvGrpSpPr>
          <p:grpSpPr>
            <a:xfrm>
              <a:off x="19518313" y="-6992938"/>
              <a:ext cx="17243425" cy="19186525"/>
              <a:chOff x="19518313" y="-6992938"/>
              <a:chExt cx="17243425" cy="19186525"/>
            </a:xfrm>
            <a:grpFill/>
          </p:grpSpPr>
          <p:sp>
            <p:nvSpPr>
              <p:cNvPr id="126" name="Freeform 316"/>
              <p:cNvSpPr>
                <a:spLocks/>
              </p:cNvSpPr>
              <p:nvPr/>
            </p:nvSpPr>
            <p:spPr bwMode="auto">
              <a:xfrm>
                <a:off x="19518313" y="-6992938"/>
                <a:ext cx="17243425" cy="19186525"/>
              </a:xfrm>
              <a:custGeom>
                <a:avLst/>
                <a:gdLst/>
                <a:ahLst/>
                <a:cxnLst>
                  <a:cxn ang="0">
                    <a:pos x="10588" y="4100"/>
                  </a:cxn>
                  <a:cxn ang="0">
                    <a:pos x="10113" y="5027"/>
                  </a:cxn>
                  <a:cxn ang="0">
                    <a:pos x="9364" y="5668"/>
                  </a:cxn>
                  <a:cxn ang="0">
                    <a:pos x="9293" y="5312"/>
                  </a:cxn>
                  <a:cxn ang="0">
                    <a:pos x="8996" y="5276"/>
                  </a:cxn>
                  <a:cxn ang="0">
                    <a:pos x="9032" y="5431"/>
                  </a:cxn>
                  <a:cxn ang="0">
                    <a:pos x="8901" y="5740"/>
                  </a:cxn>
                  <a:cxn ang="0">
                    <a:pos x="8794" y="6310"/>
                  </a:cxn>
                  <a:cxn ang="0">
                    <a:pos x="8687" y="6476"/>
                  </a:cxn>
                  <a:cxn ang="0">
                    <a:pos x="8663" y="6762"/>
                  </a:cxn>
                  <a:cxn ang="0">
                    <a:pos x="8711" y="6952"/>
                  </a:cxn>
                  <a:cxn ang="0">
                    <a:pos x="8604" y="7653"/>
                  </a:cxn>
                  <a:cxn ang="0">
                    <a:pos x="8687" y="9067"/>
                  </a:cxn>
                  <a:cxn ang="0">
                    <a:pos x="8390" y="10077"/>
                  </a:cxn>
                  <a:cxn ang="0">
                    <a:pos x="8235" y="11194"/>
                  </a:cxn>
                  <a:cxn ang="0">
                    <a:pos x="7332" y="11848"/>
                  </a:cxn>
                  <a:cxn ang="0">
                    <a:pos x="6833" y="11087"/>
                  </a:cxn>
                  <a:cxn ang="0">
                    <a:pos x="6619" y="10850"/>
                  </a:cxn>
                  <a:cxn ang="0">
                    <a:pos x="7071" y="10255"/>
                  </a:cxn>
                  <a:cxn ang="0">
                    <a:pos x="7415" y="9649"/>
                  </a:cxn>
                  <a:cxn ang="0">
                    <a:pos x="7190" y="8948"/>
                  </a:cxn>
                  <a:cxn ang="0">
                    <a:pos x="6572" y="8817"/>
                  </a:cxn>
                  <a:cxn ang="0">
                    <a:pos x="6084" y="8829"/>
                  </a:cxn>
                  <a:cxn ang="0">
                    <a:pos x="5074" y="8009"/>
                  </a:cxn>
                  <a:cxn ang="0">
                    <a:pos x="4266" y="7510"/>
                  </a:cxn>
                  <a:cxn ang="0">
                    <a:pos x="3553" y="7427"/>
                  </a:cxn>
                  <a:cxn ang="0">
                    <a:pos x="2971" y="6845"/>
                  </a:cxn>
                  <a:cxn ang="0">
                    <a:pos x="1913" y="7166"/>
                  </a:cxn>
                  <a:cxn ang="0">
                    <a:pos x="618" y="7807"/>
                  </a:cxn>
                  <a:cxn ang="0">
                    <a:pos x="570" y="6975"/>
                  </a:cxn>
                  <a:cxn ang="0">
                    <a:pos x="404" y="5942"/>
                  </a:cxn>
                  <a:cxn ang="0">
                    <a:pos x="416" y="5609"/>
                  </a:cxn>
                  <a:cxn ang="0">
                    <a:pos x="523" y="5157"/>
                  </a:cxn>
                  <a:cxn ang="0">
                    <a:pos x="273" y="4409"/>
                  </a:cxn>
                  <a:cxn ang="0">
                    <a:pos x="273" y="3791"/>
                  </a:cxn>
                  <a:cxn ang="0">
                    <a:pos x="451" y="3494"/>
                  </a:cxn>
                  <a:cxn ang="0">
                    <a:pos x="95" y="2899"/>
                  </a:cxn>
                  <a:cxn ang="0">
                    <a:pos x="570" y="2376"/>
                  </a:cxn>
                  <a:cxn ang="0">
                    <a:pos x="1093" y="1854"/>
                  </a:cxn>
                  <a:cxn ang="0">
                    <a:pos x="1533" y="2448"/>
                  </a:cxn>
                  <a:cxn ang="0">
                    <a:pos x="2317" y="2483"/>
                  </a:cxn>
                  <a:cxn ang="0">
                    <a:pos x="2947" y="2376"/>
                  </a:cxn>
                  <a:cxn ang="0">
                    <a:pos x="3351" y="1865"/>
                  </a:cxn>
                  <a:cxn ang="0">
                    <a:pos x="3292" y="1188"/>
                  </a:cxn>
                  <a:cxn ang="0">
                    <a:pos x="3921" y="939"/>
                  </a:cxn>
                  <a:cxn ang="0">
                    <a:pos x="4504" y="1212"/>
                  </a:cxn>
                  <a:cxn ang="0">
                    <a:pos x="5169" y="843"/>
                  </a:cxn>
                  <a:cxn ang="0">
                    <a:pos x="6120" y="392"/>
                  </a:cxn>
                  <a:cxn ang="0">
                    <a:pos x="6643" y="309"/>
                  </a:cxn>
                  <a:cxn ang="0">
                    <a:pos x="6964" y="808"/>
                  </a:cxn>
                  <a:cxn ang="0">
                    <a:pos x="7249" y="1069"/>
                  </a:cxn>
                  <a:cxn ang="0">
                    <a:pos x="7867" y="641"/>
                  </a:cxn>
                  <a:cxn ang="0">
                    <a:pos x="8414" y="107"/>
                  </a:cxn>
                  <a:cxn ang="0">
                    <a:pos x="9079" y="356"/>
                  </a:cxn>
                  <a:cxn ang="0">
                    <a:pos x="9638" y="428"/>
                  </a:cxn>
                  <a:cxn ang="0">
                    <a:pos x="9875" y="986"/>
                  </a:cxn>
                  <a:cxn ang="0">
                    <a:pos x="10149" y="1319"/>
                  </a:cxn>
                  <a:cxn ang="0">
                    <a:pos x="10458" y="2127"/>
                  </a:cxn>
                  <a:cxn ang="0">
                    <a:pos x="10208" y="2864"/>
                  </a:cxn>
                  <a:cxn ang="0">
                    <a:pos x="10054" y="3375"/>
                  </a:cxn>
                  <a:cxn ang="0">
                    <a:pos x="10553" y="3826"/>
                  </a:cxn>
                </a:cxnLst>
                <a:rect l="0" t="0" r="r" b="b"/>
                <a:pathLst>
                  <a:path w="10862" h="12086">
                    <a:moveTo>
                      <a:pt x="10648" y="3850"/>
                    </a:moveTo>
                    <a:lnTo>
                      <a:pt x="10672" y="3862"/>
                    </a:lnTo>
                    <a:lnTo>
                      <a:pt x="10683" y="3862"/>
                    </a:lnTo>
                    <a:lnTo>
                      <a:pt x="10719" y="3850"/>
                    </a:lnTo>
                    <a:lnTo>
                      <a:pt x="10838" y="3767"/>
                    </a:lnTo>
                    <a:lnTo>
                      <a:pt x="10850" y="3779"/>
                    </a:lnTo>
                    <a:lnTo>
                      <a:pt x="10862" y="3791"/>
                    </a:lnTo>
                    <a:lnTo>
                      <a:pt x="10767" y="3909"/>
                    </a:lnTo>
                    <a:lnTo>
                      <a:pt x="10719" y="3933"/>
                    </a:lnTo>
                    <a:lnTo>
                      <a:pt x="10660" y="4040"/>
                    </a:lnTo>
                    <a:lnTo>
                      <a:pt x="10624" y="4064"/>
                    </a:lnTo>
                    <a:lnTo>
                      <a:pt x="10588" y="4076"/>
                    </a:lnTo>
                    <a:lnTo>
                      <a:pt x="10588" y="4088"/>
                    </a:lnTo>
                    <a:lnTo>
                      <a:pt x="10588" y="4100"/>
                    </a:lnTo>
                    <a:lnTo>
                      <a:pt x="10636" y="4088"/>
                    </a:lnTo>
                    <a:lnTo>
                      <a:pt x="10648" y="4111"/>
                    </a:lnTo>
                    <a:lnTo>
                      <a:pt x="10588" y="4242"/>
                    </a:lnTo>
                    <a:lnTo>
                      <a:pt x="10517" y="4278"/>
                    </a:lnTo>
                    <a:lnTo>
                      <a:pt x="10517" y="4302"/>
                    </a:lnTo>
                    <a:lnTo>
                      <a:pt x="10565" y="4302"/>
                    </a:lnTo>
                    <a:lnTo>
                      <a:pt x="10576" y="4337"/>
                    </a:lnTo>
                    <a:lnTo>
                      <a:pt x="10517" y="4504"/>
                    </a:lnTo>
                    <a:lnTo>
                      <a:pt x="10398" y="4694"/>
                    </a:lnTo>
                    <a:lnTo>
                      <a:pt x="10386" y="4718"/>
                    </a:lnTo>
                    <a:lnTo>
                      <a:pt x="10351" y="4741"/>
                    </a:lnTo>
                    <a:lnTo>
                      <a:pt x="10244" y="4872"/>
                    </a:lnTo>
                    <a:lnTo>
                      <a:pt x="10184" y="4943"/>
                    </a:lnTo>
                    <a:lnTo>
                      <a:pt x="10113" y="5027"/>
                    </a:lnTo>
                    <a:lnTo>
                      <a:pt x="10089" y="5086"/>
                    </a:lnTo>
                    <a:lnTo>
                      <a:pt x="10065" y="5134"/>
                    </a:lnTo>
                    <a:lnTo>
                      <a:pt x="10018" y="5181"/>
                    </a:lnTo>
                    <a:lnTo>
                      <a:pt x="10006" y="5181"/>
                    </a:lnTo>
                    <a:lnTo>
                      <a:pt x="10006" y="5181"/>
                    </a:lnTo>
                    <a:lnTo>
                      <a:pt x="9935" y="5252"/>
                    </a:lnTo>
                    <a:lnTo>
                      <a:pt x="9911" y="5300"/>
                    </a:lnTo>
                    <a:lnTo>
                      <a:pt x="9887" y="5336"/>
                    </a:lnTo>
                    <a:lnTo>
                      <a:pt x="9840" y="5371"/>
                    </a:lnTo>
                    <a:lnTo>
                      <a:pt x="9745" y="5466"/>
                    </a:lnTo>
                    <a:lnTo>
                      <a:pt x="9709" y="5502"/>
                    </a:lnTo>
                    <a:lnTo>
                      <a:pt x="9578" y="5597"/>
                    </a:lnTo>
                    <a:lnTo>
                      <a:pt x="9424" y="5668"/>
                    </a:lnTo>
                    <a:lnTo>
                      <a:pt x="9364" y="5668"/>
                    </a:lnTo>
                    <a:lnTo>
                      <a:pt x="9352" y="5656"/>
                    </a:lnTo>
                    <a:lnTo>
                      <a:pt x="9364" y="5633"/>
                    </a:lnTo>
                    <a:lnTo>
                      <a:pt x="9388" y="5597"/>
                    </a:lnTo>
                    <a:lnTo>
                      <a:pt x="9400" y="5538"/>
                    </a:lnTo>
                    <a:lnTo>
                      <a:pt x="9436" y="5514"/>
                    </a:lnTo>
                    <a:lnTo>
                      <a:pt x="9436" y="5490"/>
                    </a:lnTo>
                    <a:lnTo>
                      <a:pt x="9459" y="5419"/>
                    </a:lnTo>
                    <a:lnTo>
                      <a:pt x="9471" y="5383"/>
                    </a:lnTo>
                    <a:lnTo>
                      <a:pt x="9459" y="5359"/>
                    </a:lnTo>
                    <a:lnTo>
                      <a:pt x="9436" y="5336"/>
                    </a:lnTo>
                    <a:lnTo>
                      <a:pt x="9376" y="5312"/>
                    </a:lnTo>
                    <a:lnTo>
                      <a:pt x="9329" y="5324"/>
                    </a:lnTo>
                    <a:lnTo>
                      <a:pt x="9305" y="5324"/>
                    </a:lnTo>
                    <a:lnTo>
                      <a:pt x="9293" y="5312"/>
                    </a:lnTo>
                    <a:lnTo>
                      <a:pt x="9293" y="5276"/>
                    </a:lnTo>
                    <a:lnTo>
                      <a:pt x="9269" y="5240"/>
                    </a:lnTo>
                    <a:lnTo>
                      <a:pt x="9269" y="5205"/>
                    </a:lnTo>
                    <a:lnTo>
                      <a:pt x="9234" y="5169"/>
                    </a:lnTo>
                    <a:lnTo>
                      <a:pt x="9198" y="5169"/>
                    </a:lnTo>
                    <a:lnTo>
                      <a:pt x="9186" y="5193"/>
                    </a:lnTo>
                    <a:lnTo>
                      <a:pt x="9162" y="5217"/>
                    </a:lnTo>
                    <a:lnTo>
                      <a:pt x="9174" y="5240"/>
                    </a:lnTo>
                    <a:lnTo>
                      <a:pt x="9127" y="5371"/>
                    </a:lnTo>
                    <a:lnTo>
                      <a:pt x="9103" y="5407"/>
                    </a:lnTo>
                    <a:lnTo>
                      <a:pt x="9067" y="5419"/>
                    </a:lnTo>
                    <a:lnTo>
                      <a:pt x="9008" y="5359"/>
                    </a:lnTo>
                    <a:lnTo>
                      <a:pt x="8996" y="5324"/>
                    </a:lnTo>
                    <a:lnTo>
                      <a:pt x="8996" y="5276"/>
                    </a:lnTo>
                    <a:lnTo>
                      <a:pt x="9032" y="5217"/>
                    </a:lnTo>
                    <a:lnTo>
                      <a:pt x="9020" y="5205"/>
                    </a:lnTo>
                    <a:lnTo>
                      <a:pt x="8996" y="5205"/>
                    </a:lnTo>
                    <a:lnTo>
                      <a:pt x="8960" y="5264"/>
                    </a:lnTo>
                    <a:lnTo>
                      <a:pt x="8913" y="5264"/>
                    </a:lnTo>
                    <a:lnTo>
                      <a:pt x="8913" y="5276"/>
                    </a:lnTo>
                    <a:lnTo>
                      <a:pt x="8948" y="5336"/>
                    </a:lnTo>
                    <a:lnTo>
                      <a:pt x="8936" y="5419"/>
                    </a:lnTo>
                    <a:lnTo>
                      <a:pt x="8936" y="5419"/>
                    </a:lnTo>
                    <a:lnTo>
                      <a:pt x="8960" y="5419"/>
                    </a:lnTo>
                    <a:lnTo>
                      <a:pt x="8984" y="5383"/>
                    </a:lnTo>
                    <a:lnTo>
                      <a:pt x="9008" y="5371"/>
                    </a:lnTo>
                    <a:lnTo>
                      <a:pt x="9020" y="5383"/>
                    </a:lnTo>
                    <a:lnTo>
                      <a:pt x="9032" y="5431"/>
                    </a:lnTo>
                    <a:lnTo>
                      <a:pt x="9055" y="5454"/>
                    </a:lnTo>
                    <a:lnTo>
                      <a:pt x="9079" y="5466"/>
                    </a:lnTo>
                    <a:lnTo>
                      <a:pt x="9103" y="5454"/>
                    </a:lnTo>
                    <a:lnTo>
                      <a:pt x="9150" y="5466"/>
                    </a:lnTo>
                    <a:lnTo>
                      <a:pt x="9162" y="5490"/>
                    </a:lnTo>
                    <a:lnTo>
                      <a:pt x="9127" y="5526"/>
                    </a:lnTo>
                    <a:lnTo>
                      <a:pt x="9115" y="5573"/>
                    </a:lnTo>
                    <a:lnTo>
                      <a:pt x="9079" y="5609"/>
                    </a:lnTo>
                    <a:lnTo>
                      <a:pt x="9055" y="5668"/>
                    </a:lnTo>
                    <a:lnTo>
                      <a:pt x="8984" y="5692"/>
                    </a:lnTo>
                    <a:lnTo>
                      <a:pt x="8948" y="5716"/>
                    </a:lnTo>
                    <a:lnTo>
                      <a:pt x="8901" y="5704"/>
                    </a:lnTo>
                    <a:lnTo>
                      <a:pt x="8901" y="5716"/>
                    </a:lnTo>
                    <a:lnTo>
                      <a:pt x="8901" y="5740"/>
                    </a:lnTo>
                    <a:lnTo>
                      <a:pt x="9020" y="5775"/>
                    </a:lnTo>
                    <a:lnTo>
                      <a:pt x="9032" y="5799"/>
                    </a:lnTo>
                    <a:lnTo>
                      <a:pt x="8913" y="5870"/>
                    </a:lnTo>
                    <a:lnTo>
                      <a:pt x="8877" y="5918"/>
                    </a:lnTo>
                    <a:lnTo>
                      <a:pt x="8853" y="6025"/>
                    </a:lnTo>
                    <a:lnTo>
                      <a:pt x="8830" y="6037"/>
                    </a:lnTo>
                    <a:lnTo>
                      <a:pt x="8782" y="6049"/>
                    </a:lnTo>
                    <a:lnTo>
                      <a:pt x="8770" y="6037"/>
                    </a:lnTo>
                    <a:lnTo>
                      <a:pt x="8758" y="6013"/>
                    </a:lnTo>
                    <a:lnTo>
                      <a:pt x="8734" y="6025"/>
                    </a:lnTo>
                    <a:lnTo>
                      <a:pt x="8687" y="6251"/>
                    </a:lnTo>
                    <a:lnTo>
                      <a:pt x="8699" y="6298"/>
                    </a:lnTo>
                    <a:lnTo>
                      <a:pt x="8758" y="6298"/>
                    </a:lnTo>
                    <a:lnTo>
                      <a:pt x="8794" y="6310"/>
                    </a:lnTo>
                    <a:lnTo>
                      <a:pt x="8794" y="6334"/>
                    </a:lnTo>
                    <a:lnTo>
                      <a:pt x="8806" y="6369"/>
                    </a:lnTo>
                    <a:lnTo>
                      <a:pt x="8818" y="6417"/>
                    </a:lnTo>
                    <a:lnTo>
                      <a:pt x="8794" y="6488"/>
                    </a:lnTo>
                    <a:lnTo>
                      <a:pt x="8806" y="6595"/>
                    </a:lnTo>
                    <a:lnTo>
                      <a:pt x="8794" y="6607"/>
                    </a:lnTo>
                    <a:lnTo>
                      <a:pt x="8770" y="6607"/>
                    </a:lnTo>
                    <a:lnTo>
                      <a:pt x="8758" y="6571"/>
                    </a:lnTo>
                    <a:lnTo>
                      <a:pt x="8734" y="6560"/>
                    </a:lnTo>
                    <a:lnTo>
                      <a:pt x="8734" y="6464"/>
                    </a:lnTo>
                    <a:lnTo>
                      <a:pt x="8723" y="6441"/>
                    </a:lnTo>
                    <a:lnTo>
                      <a:pt x="8711" y="6453"/>
                    </a:lnTo>
                    <a:lnTo>
                      <a:pt x="8699" y="6476"/>
                    </a:lnTo>
                    <a:lnTo>
                      <a:pt x="8687" y="6476"/>
                    </a:lnTo>
                    <a:lnTo>
                      <a:pt x="8663" y="6441"/>
                    </a:lnTo>
                    <a:lnTo>
                      <a:pt x="8639" y="6453"/>
                    </a:lnTo>
                    <a:lnTo>
                      <a:pt x="8627" y="6464"/>
                    </a:lnTo>
                    <a:lnTo>
                      <a:pt x="8639" y="6488"/>
                    </a:lnTo>
                    <a:lnTo>
                      <a:pt x="8699" y="6524"/>
                    </a:lnTo>
                    <a:lnTo>
                      <a:pt x="8711" y="6583"/>
                    </a:lnTo>
                    <a:lnTo>
                      <a:pt x="8746" y="6631"/>
                    </a:lnTo>
                    <a:lnTo>
                      <a:pt x="8746" y="6655"/>
                    </a:lnTo>
                    <a:lnTo>
                      <a:pt x="8746" y="6667"/>
                    </a:lnTo>
                    <a:lnTo>
                      <a:pt x="8711" y="6643"/>
                    </a:lnTo>
                    <a:lnTo>
                      <a:pt x="8639" y="6655"/>
                    </a:lnTo>
                    <a:lnTo>
                      <a:pt x="8639" y="6690"/>
                    </a:lnTo>
                    <a:lnTo>
                      <a:pt x="8663" y="6714"/>
                    </a:lnTo>
                    <a:lnTo>
                      <a:pt x="8663" y="6762"/>
                    </a:lnTo>
                    <a:lnTo>
                      <a:pt x="8687" y="6762"/>
                    </a:lnTo>
                    <a:lnTo>
                      <a:pt x="8699" y="6738"/>
                    </a:lnTo>
                    <a:lnTo>
                      <a:pt x="8723" y="6738"/>
                    </a:lnTo>
                    <a:lnTo>
                      <a:pt x="8746" y="6750"/>
                    </a:lnTo>
                    <a:lnTo>
                      <a:pt x="8758" y="6762"/>
                    </a:lnTo>
                    <a:lnTo>
                      <a:pt x="8746" y="6821"/>
                    </a:lnTo>
                    <a:lnTo>
                      <a:pt x="8758" y="6833"/>
                    </a:lnTo>
                    <a:lnTo>
                      <a:pt x="8758" y="6869"/>
                    </a:lnTo>
                    <a:lnTo>
                      <a:pt x="8699" y="6880"/>
                    </a:lnTo>
                    <a:lnTo>
                      <a:pt x="8675" y="6916"/>
                    </a:lnTo>
                    <a:lnTo>
                      <a:pt x="8675" y="6952"/>
                    </a:lnTo>
                    <a:lnTo>
                      <a:pt x="8687" y="6975"/>
                    </a:lnTo>
                    <a:lnTo>
                      <a:pt x="8711" y="6987"/>
                    </a:lnTo>
                    <a:lnTo>
                      <a:pt x="8711" y="6952"/>
                    </a:lnTo>
                    <a:lnTo>
                      <a:pt x="8770" y="6904"/>
                    </a:lnTo>
                    <a:lnTo>
                      <a:pt x="8818" y="6726"/>
                    </a:lnTo>
                    <a:lnTo>
                      <a:pt x="8818" y="6702"/>
                    </a:lnTo>
                    <a:lnTo>
                      <a:pt x="8841" y="6678"/>
                    </a:lnTo>
                    <a:lnTo>
                      <a:pt x="8853" y="6702"/>
                    </a:lnTo>
                    <a:lnTo>
                      <a:pt x="8841" y="6726"/>
                    </a:lnTo>
                    <a:lnTo>
                      <a:pt x="8794" y="6928"/>
                    </a:lnTo>
                    <a:lnTo>
                      <a:pt x="8758" y="7082"/>
                    </a:lnTo>
                    <a:lnTo>
                      <a:pt x="8746" y="7118"/>
                    </a:lnTo>
                    <a:lnTo>
                      <a:pt x="8746" y="7189"/>
                    </a:lnTo>
                    <a:lnTo>
                      <a:pt x="8723" y="7273"/>
                    </a:lnTo>
                    <a:lnTo>
                      <a:pt x="8663" y="7403"/>
                    </a:lnTo>
                    <a:lnTo>
                      <a:pt x="8616" y="7593"/>
                    </a:lnTo>
                    <a:lnTo>
                      <a:pt x="8604" y="7653"/>
                    </a:lnTo>
                    <a:lnTo>
                      <a:pt x="8604" y="7700"/>
                    </a:lnTo>
                    <a:lnTo>
                      <a:pt x="8627" y="7772"/>
                    </a:lnTo>
                    <a:lnTo>
                      <a:pt x="8627" y="7795"/>
                    </a:lnTo>
                    <a:lnTo>
                      <a:pt x="8627" y="7855"/>
                    </a:lnTo>
                    <a:lnTo>
                      <a:pt x="8627" y="7902"/>
                    </a:lnTo>
                    <a:lnTo>
                      <a:pt x="8627" y="8045"/>
                    </a:lnTo>
                    <a:lnTo>
                      <a:pt x="8616" y="8247"/>
                    </a:lnTo>
                    <a:lnTo>
                      <a:pt x="8616" y="8413"/>
                    </a:lnTo>
                    <a:lnTo>
                      <a:pt x="8651" y="8675"/>
                    </a:lnTo>
                    <a:lnTo>
                      <a:pt x="8639" y="8853"/>
                    </a:lnTo>
                    <a:lnTo>
                      <a:pt x="8651" y="8889"/>
                    </a:lnTo>
                    <a:lnTo>
                      <a:pt x="8675" y="8924"/>
                    </a:lnTo>
                    <a:lnTo>
                      <a:pt x="8687" y="8960"/>
                    </a:lnTo>
                    <a:lnTo>
                      <a:pt x="8687" y="9067"/>
                    </a:lnTo>
                    <a:lnTo>
                      <a:pt x="8675" y="9091"/>
                    </a:lnTo>
                    <a:lnTo>
                      <a:pt x="8616" y="9079"/>
                    </a:lnTo>
                    <a:lnTo>
                      <a:pt x="8604" y="9079"/>
                    </a:lnTo>
                    <a:lnTo>
                      <a:pt x="8663" y="9126"/>
                    </a:lnTo>
                    <a:lnTo>
                      <a:pt x="8687" y="9126"/>
                    </a:lnTo>
                    <a:lnTo>
                      <a:pt x="8687" y="9150"/>
                    </a:lnTo>
                    <a:lnTo>
                      <a:pt x="8639" y="9257"/>
                    </a:lnTo>
                    <a:lnTo>
                      <a:pt x="8604" y="9459"/>
                    </a:lnTo>
                    <a:lnTo>
                      <a:pt x="8532" y="9566"/>
                    </a:lnTo>
                    <a:lnTo>
                      <a:pt x="8521" y="9614"/>
                    </a:lnTo>
                    <a:lnTo>
                      <a:pt x="8521" y="9697"/>
                    </a:lnTo>
                    <a:lnTo>
                      <a:pt x="8473" y="9768"/>
                    </a:lnTo>
                    <a:lnTo>
                      <a:pt x="8402" y="9982"/>
                    </a:lnTo>
                    <a:lnTo>
                      <a:pt x="8390" y="10077"/>
                    </a:lnTo>
                    <a:lnTo>
                      <a:pt x="8378" y="10125"/>
                    </a:lnTo>
                    <a:lnTo>
                      <a:pt x="8342" y="10148"/>
                    </a:lnTo>
                    <a:lnTo>
                      <a:pt x="8330" y="10184"/>
                    </a:lnTo>
                    <a:lnTo>
                      <a:pt x="8319" y="10291"/>
                    </a:lnTo>
                    <a:lnTo>
                      <a:pt x="8330" y="10327"/>
                    </a:lnTo>
                    <a:lnTo>
                      <a:pt x="8342" y="10350"/>
                    </a:lnTo>
                    <a:lnTo>
                      <a:pt x="8342" y="10374"/>
                    </a:lnTo>
                    <a:lnTo>
                      <a:pt x="8307" y="10434"/>
                    </a:lnTo>
                    <a:lnTo>
                      <a:pt x="8283" y="10469"/>
                    </a:lnTo>
                    <a:lnTo>
                      <a:pt x="8200" y="10743"/>
                    </a:lnTo>
                    <a:lnTo>
                      <a:pt x="8188" y="10873"/>
                    </a:lnTo>
                    <a:lnTo>
                      <a:pt x="8235" y="10992"/>
                    </a:lnTo>
                    <a:lnTo>
                      <a:pt x="8235" y="11135"/>
                    </a:lnTo>
                    <a:lnTo>
                      <a:pt x="8235" y="11194"/>
                    </a:lnTo>
                    <a:lnTo>
                      <a:pt x="8259" y="11289"/>
                    </a:lnTo>
                    <a:lnTo>
                      <a:pt x="8212" y="11337"/>
                    </a:lnTo>
                    <a:lnTo>
                      <a:pt x="8093" y="11456"/>
                    </a:lnTo>
                    <a:lnTo>
                      <a:pt x="8057" y="11491"/>
                    </a:lnTo>
                    <a:lnTo>
                      <a:pt x="8010" y="11503"/>
                    </a:lnTo>
                    <a:lnTo>
                      <a:pt x="7914" y="11527"/>
                    </a:lnTo>
                    <a:lnTo>
                      <a:pt x="7855" y="11610"/>
                    </a:lnTo>
                    <a:lnTo>
                      <a:pt x="7855" y="11610"/>
                    </a:lnTo>
                    <a:lnTo>
                      <a:pt x="7772" y="11717"/>
                    </a:lnTo>
                    <a:lnTo>
                      <a:pt x="7748" y="11800"/>
                    </a:lnTo>
                    <a:lnTo>
                      <a:pt x="7653" y="11955"/>
                    </a:lnTo>
                    <a:lnTo>
                      <a:pt x="7594" y="12086"/>
                    </a:lnTo>
                    <a:lnTo>
                      <a:pt x="7332" y="11848"/>
                    </a:lnTo>
                    <a:lnTo>
                      <a:pt x="7332" y="11848"/>
                    </a:lnTo>
                    <a:lnTo>
                      <a:pt x="7308" y="11812"/>
                    </a:lnTo>
                    <a:lnTo>
                      <a:pt x="7011" y="11539"/>
                    </a:lnTo>
                    <a:lnTo>
                      <a:pt x="7023" y="11503"/>
                    </a:lnTo>
                    <a:lnTo>
                      <a:pt x="7071" y="11444"/>
                    </a:lnTo>
                    <a:lnTo>
                      <a:pt x="7071" y="11396"/>
                    </a:lnTo>
                    <a:lnTo>
                      <a:pt x="7059" y="11372"/>
                    </a:lnTo>
                    <a:lnTo>
                      <a:pt x="7047" y="11349"/>
                    </a:lnTo>
                    <a:lnTo>
                      <a:pt x="6999" y="11301"/>
                    </a:lnTo>
                    <a:lnTo>
                      <a:pt x="6988" y="11289"/>
                    </a:lnTo>
                    <a:lnTo>
                      <a:pt x="6964" y="11266"/>
                    </a:lnTo>
                    <a:lnTo>
                      <a:pt x="6952" y="11242"/>
                    </a:lnTo>
                    <a:lnTo>
                      <a:pt x="6904" y="11182"/>
                    </a:lnTo>
                    <a:lnTo>
                      <a:pt x="6881" y="11099"/>
                    </a:lnTo>
                    <a:lnTo>
                      <a:pt x="6833" y="11087"/>
                    </a:lnTo>
                    <a:lnTo>
                      <a:pt x="6797" y="11075"/>
                    </a:lnTo>
                    <a:lnTo>
                      <a:pt x="6762" y="11052"/>
                    </a:lnTo>
                    <a:lnTo>
                      <a:pt x="6762" y="10992"/>
                    </a:lnTo>
                    <a:lnTo>
                      <a:pt x="6785" y="10897"/>
                    </a:lnTo>
                    <a:lnTo>
                      <a:pt x="6774" y="10897"/>
                    </a:lnTo>
                    <a:lnTo>
                      <a:pt x="6750" y="10909"/>
                    </a:lnTo>
                    <a:lnTo>
                      <a:pt x="6714" y="10897"/>
                    </a:lnTo>
                    <a:lnTo>
                      <a:pt x="6702" y="10861"/>
                    </a:lnTo>
                    <a:lnTo>
                      <a:pt x="6726" y="10814"/>
                    </a:lnTo>
                    <a:lnTo>
                      <a:pt x="6714" y="10802"/>
                    </a:lnTo>
                    <a:lnTo>
                      <a:pt x="6702" y="10814"/>
                    </a:lnTo>
                    <a:lnTo>
                      <a:pt x="6667" y="10850"/>
                    </a:lnTo>
                    <a:lnTo>
                      <a:pt x="6643" y="10873"/>
                    </a:lnTo>
                    <a:lnTo>
                      <a:pt x="6619" y="10850"/>
                    </a:lnTo>
                    <a:lnTo>
                      <a:pt x="6607" y="10826"/>
                    </a:lnTo>
                    <a:lnTo>
                      <a:pt x="6631" y="10790"/>
                    </a:lnTo>
                    <a:lnTo>
                      <a:pt x="6667" y="10766"/>
                    </a:lnTo>
                    <a:lnTo>
                      <a:pt x="6679" y="10743"/>
                    </a:lnTo>
                    <a:lnTo>
                      <a:pt x="6667" y="10695"/>
                    </a:lnTo>
                    <a:lnTo>
                      <a:pt x="6690" y="10659"/>
                    </a:lnTo>
                    <a:lnTo>
                      <a:pt x="6690" y="10576"/>
                    </a:lnTo>
                    <a:lnTo>
                      <a:pt x="6702" y="10446"/>
                    </a:lnTo>
                    <a:lnTo>
                      <a:pt x="6750" y="10327"/>
                    </a:lnTo>
                    <a:lnTo>
                      <a:pt x="6785" y="10279"/>
                    </a:lnTo>
                    <a:lnTo>
                      <a:pt x="6809" y="10267"/>
                    </a:lnTo>
                    <a:lnTo>
                      <a:pt x="6892" y="10267"/>
                    </a:lnTo>
                    <a:lnTo>
                      <a:pt x="6999" y="10267"/>
                    </a:lnTo>
                    <a:lnTo>
                      <a:pt x="7071" y="10255"/>
                    </a:lnTo>
                    <a:lnTo>
                      <a:pt x="7106" y="10220"/>
                    </a:lnTo>
                    <a:lnTo>
                      <a:pt x="7106" y="10184"/>
                    </a:lnTo>
                    <a:lnTo>
                      <a:pt x="7071" y="10101"/>
                    </a:lnTo>
                    <a:lnTo>
                      <a:pt x="7071" y="10018"/>
                    </a:lnTo>
                    <a:lnTo>
                      <a:pt x="7083" y="9958"/>
                    </a:lnTo>
                    <a:lnTo>
                      <a:pt x="7118" y="9887"/>
                    </a:lnTo>
                    <a:lnTo>
                      <a:pt x="7154" y="9839"/>
                    </a:lnTo>
                    <a:lnTo>
                      <a:pt x="7190" y="9839"/>
                    </a:lnTo>
                    <a:lnTo>
                      <a:pt x="7261" y="9863"/>
                    </a:lnTo>
                    <a:lnTo>
                      <a:pt x="7273" y="9839"/>
                    </a:lnTo>
                    <a:lnTo>
                      <a:pt x="7285" y="9756"/>
                    </a:lnTo>
                    <a:lnTo>
                      <a:pt x="7308" y="9733"/>
                    </a:lnTo>
                    <a:lnTo>
                      <a:pt x="7344" y="9685"/>
                    </a:lnTo>
                    <a:lnTo>
                      <a:pt x="7415" y="9649"/>
                    </a:lnTo>
                    <a:lnTo>
                      <a:pt x="7451" y="9637"/>
                    </a:lnTo>
                    <a:lnTo>
                      <a:pt x="7475" y="9614"/>
                    </a:lnTo>
                    <a:lnTo>
                      <a:pt x="7594" y="9435"/>
                    </a:lnTo>
                    <a:lnTo>
                      <a:pt x="7594" y="9352"/>
                    </a:lnTo>
                    <a:lnTo>
                      <a:pt x="7558" y="9293"/>
                    </a:lnTo>
                    <a:lnTo>
                      <a:pt x="7546" y="9245"/>
                    </a:lnTo>
                    <a:lnTo>
                      <a:pt x="7487" y="9210"/>
                    </a:lnTo>
                    <a:lnTo>
                      <a:pt x="7487" y="9186"/>
                    </a:lnTo>
                    <a:lnTo>
                      <a:pt x="7415" y="9162"/>
                    </a:lnTo>
                    <a:lnTo>
                      <a:pt x="7380" y="9103"/>
                    </a:lnTo>
                    <a:lnTo>
                      <a:pt x="7368" y="9091"/>
                    </a:lnTo>
                    <a:lnTo>
                      <a:pt x="7368" y="9079"/>
                    </a:lnTo>
                    <a:lnTo>
                      <a:pt x="7261" y="9020"/>
                    </a:lnTo>
                    <a:lnTo>
                      <a:pt x="7190" y="8948"/>
                    </a:lnTo>
                    <a:lnTo>
                      <a:pt x="7071" y="8936"/>
                    </a:lnTo>
                    <a:lnTo>
                      <a:pt x="6999" y="8913"/>
                    </a:lnTo>
                    <a:lnTo>
                      <a:pt x="6976" y="8901"/>
                    </a:lnTo>
                    <a:lnTo>
                      <a:pt x="6952" y="8889"/>
                    </a:lnTo>
                    <a:lnTo>
                      <a:pt x="6928" y="8853"/>
                    </a:lnTo>
                    <a:lnTo>
                      <a:pt x="6892" y="8865"/>
                    </a:lnTo>
                    <a:lnTo>
                      <a:pt x="6833" y="8889"/>
                    </a:lnTo>
                    <a:lnTo>
                      <a:pt x="6785" y="8889"/>
                    </a:lnTo>
                    <a:lnTo>
                      <a:pt x="6750" y="8806"/>
                    </a:lnTo>
                    <a:lnTo>
                      <a:pt x="6714" y="8794"/>
                    </a:lnTo>
                    <a:lnTo>
                      <a:pt x="6667" y="8794"/>
                    </a:lnTo>
                    <a:lnTo>
                      <a:pt x="6619" y="8817"/>
                    </a:lnTo>
                    <a:lnTo>
                      <a:pt x="6607" y="8817"/>
                    </a:lnTo>
                    <a:lnTo>
                      <a:pt x="6572" y="8817"/>
                    </a:lnTo>
                    <a:lnTo>
                      <a:pt x="6548" y="8794"/>
                    </a:lnTo>
                    <a:lnTo>
                      <a:pt x="6524" y="8734"/>
                    </a:lnTo>
                    <a:lnTo>
                      <a:pt x="6500" y="8734"/>
                    </a:lnTo>
                    <a:lnTo>
                      <a:pt x="6477" y="8746"/>
                    </a:lnTo>
                    <a:lnTo>
                      <a:pt x="6453" y="8770"/>
                    </a:lnTo>
                    <a:lnTo>
                      <a:pt x="6429" y="8770"/>
                    </a:lnTo>
                    <a:lnTo>
                      <a:pt x="6393" y="8746"/>
                    </a:lnTo>
                    <a:lnTo>
                      <a:pt x="6358" y="8699"/>
                    </a:lnTo>
                    <a:lnTo>
                      <a:pt x="6334" y="8699"/>
                    </a:lnTo>
                    <a:lnTo>
                      <a:pt x="6298" y="8722"/>
                    </a:lnTo>
                    <a:lnTo>
                      <a:pt x="6263" y="8782"/>
                    </a:lnTo>
                    <a:lnTo>
                      <a:pt x="6156" y="8806"/>
                    </a:lnTo>
                    <a:lnTo>
                      <a:pt x="6096" y="8829"/>
                    </a:lnTo>
                    <a:lnTo>
                      <a:pt x="6084" y="8829"/>
                    </a:lnTo>
                    <a:lnTo>
                      <a:pt x="6001" y="8782"/>
                    </a:lnTo>
                    <a:lnTo>
                      <a:pt x="5942" y="8770"/>
                    </a:lnTo>
                    <a:lnTo>
                      <a:pt x="5906" y="8734"/>
                    </a:lnTo>
                    <a:lnTo>
                      <a:pt x="5918" y="8580"/>
                    </a:lnTo>
                    <a:lnTo>
                      <a:pt x="5918" y="8520"/>
                    </a:lnTo>
                    <a:lnTo>
                      <a:pt x="5894" y="8473"/>
                    </a:lnTo>
                    <a:lnTo>
                      <a:pt x="5859" y="8425"/>
                    </a:lnTo>
                    <a:lnTo>
                      <a:pt x="5847" y="8413"/>
                    </a:lnTo>
                    <a:lnTo>
                      <a:pt x="5454" y="7974"/>
                    </a:lnTo>
                    <a:lnTo>
                      <a:pt x="5371" y="7974"/>
                    </a:lnTo>
                    <a:lnTo>
                      <a:pt x="5324" y="8033"/>
                    </a:lnTo>
                    <a:lnTo>
                      <a:pt x="5241" y="8045"/>
                    </a:lnTo>
                    <a:lnTo>
                      <a:pt x="5193" y="8021"/>
                    </a:lnTo>
                    <a:lnTo>
                      <a:pt x="5074" y="8009"/>
                    </a:lnTo>
                    <a:lnTo>
                      <a:pt x="5015" y="7986"/>
                    </a:lnTo>
                    <a:lnTo>
                      <a:pt x="4967" y="7938"/>
                    </a:lnTo>
                    <a:lnTo>
                      <a:pt x="4932" y="7926"/>
                    </a:lnTo>
                    <a:lnTo>
                      <a:pt x="4896" y="7950"/>
                    </a:lnTo>
                    <a:lnTo>
                      <a:pt x="4860" y="7950"/>
                    </a:lnTo>
                    <a:lnTo>
                      <a:pt x="4694" y="7843"/>
                    </a:lnTo>
                    <a:lnTo>
                      <a:pt x="4646" y="7819"/>
                    </a:lnTo>
                    <a:lnTo>
                      <a:pt x="4611" y="7795"/>
                    </a:lnTo>
                    <a:lnTo>
                      <a:pt x="4599" y="7795"/>
                    </a:lnTo>
                    <a:lnTo>
                      <a:pt x="4575" y="7760"/>
                    </a:lnTo>
                    <a:lnTo>
                      <a:pt x="4444" y="7700"/>
                    </a:lnTo>
                    <a:lnTo>
                      <a:pt x="4314" y="7617"/>
                    </a:lnTo>
                    <a:lnTo>
                      <a:pt x="4302" y="7546"/>
                    </a:lnTo>
                    <a:lnTo>
                      <a:pt x="4266" y="7510"/>
                    </a:lnTo>
                    <a:lnTo>
                      <a:pt x="4135" y="7415"/>
                    </a:lnTo>
                    <a:lnTo>
                      <a:pt x="4112" y="7415"/>
                    </a:lnTo>
                    <a:lnTo>
                      <a:pt x="4076" y="7391"/>
                    </a:lnTo>
                    <a:lnTo>
                      <a:pt x="3945" y="7368"/>
                    </a:lnTo>
                    <a:lnTo>
                      <a:pt x="3921" y="7356"/>
                    </a:lnTo>
                    <a:lnTo>
                      <a:pt x="3862" y="7320"/>
                    </a:lnTo>
                    <a:lnTo>
                      <a:pt x="3803" y="7320"/>
                    </a:lnTo>
                    <a:lnTo>
                      <a:pt x="3743" y="7332"/>
                    </a:lnTo>
                    <a:lnTo>
                      <a:pt x="3708" y="7368"/>
                    </a:lnTo>
                    <a:lnTo>
                      <a:pt x="3672" y="7368"/>
                    </a:lnTo>
                    <a:lnTo>
                      <a:pt x="3636" y="7380"/>
                    </a:lnTo>
                    <a:lnTo>
                      <a:pt x="3601" y="7391"/>
                    </a:lnTo>
                    <a:lnTo>
                      <a:pt x="3577" y="7415"/>
                    </a:lnTo>
                    <a:lnTo>
                      <a:pt x="3553" y="7427"/>
                    </a:lnTo>
                    <a:lnTo>
                      <a:pt x="3517" y="7486"/>
                    </a:lnTo>
                    <a:lnTo>
                      <a:pt x="3482" y="7498"/>
                    </a:lnTo>
                    <a:lnTo>
                      <a:pt x="3446" y="7498"/>
                    </a:lnTo>
                    <a:lnTo>
                      <a:pt x="3410" y="7439"/>
                    </a:lnTo>
                    <a:lnTo>
                      <a:pt x="3304" y="7403"/>
                    </a:lnTo>
                    <a:lnTo>
                      <a:pt x="3208" y="7332"/>
                    </a:lnTo>
                    <a:lnTo>
                      <a:pt x="3113" y="7308"/>
                    </a:lnTo>
                    <a:lnTo>
                      <a:pt x="3090" y="7284"/>
                    </a:lnTo>
                    <a:lnTo>
                      <a:pt x="3066" y="7189"/>
                    </a:lnTo>
                    <a:lnTo>
                      <a:pt x="3078" y="7106"/>
                    </a:lnTo>
                    <a:lnTo>
                      <a:pt x="3161" y="6892"/>
                    </a:lnTo>
                    <a:lnTo>
                      <a:pt x="3125" y="6904"/>
                    </a:lnTo>
                    <a:lnTo>
                      <a:pt x="3078" y="6892"/>
                    </a:lnTo>
                    <a:lnTo>
                      <a:pt x="2971" y="6845"/>
                    </a:lnTo>
                    <a:lnTo>
                      <a:pt x="2828" y="6833"/>
                    </a:lnTo>
                    <a:lnTo>
                      <a:pt x="2674" y="6785"/>
                    </a:lnTo>
                    <a:lnTo>
                      <a:pt x="2614" y="6797"/>
                    </a:lnTo>
                    <a:lnTo>
                      <a:pt x="2579" y="6797"/>
                    </a:lnTo>
                    <a:lnTo>
                      <a:pt x="2519" y="6797"/>
                    </a:lnTo>
                    <a:lnTo>
                      <a:pt x="2460" y="6821"/>
                    </a:lnTo>
                    <a:lnTo>
                      <a:pt x="2377" y="6857"/>
                    </a:lnTo>
                    <a:lnTo>
                      <a:pt x="2246" y="6916"/>
                    </a:lnTo>
                    <a:lnTo>
                      <a:pt x="2175" y="6975"/>
                    </a:lnTo>
                    <a:lnTo>
                      <a:pt x="2115" y="6987"/>
                    </a:lnTo>
                    <a:lnTo>
                      <a:pt x="2056" y="7047"/>
                    </a:lnTo>
                    <a:lnTo>
                      <a:pt x="2008" y="7059"/>
                    </a:lnTo>
                    <a:lnTo>
                      <a:pt x="1961" y="7118"/>
                    </a:lnTo>
                    <a:lnTo>
                      <a:pt x="1913" y="7166"/>
                    </a:lnTo>
                    <a:lnTo>
                      <a:pt x="1735" y="7261"/>
                    </a:lnTo>
                    <a:lnTo>
                      <a:pt x="1664" y="7344"/>
                    </a:lnTo>
                    <a:lnTo>
                      <a:pt x="1545" y="7356"/>
                    </a:lnTo>
                    <a:lnTo>
                      <a:pt x="1438" y="7403"/>
                    </a:lnTo>
                    <a:lnTo>
                      <a:pt x="1390" y="7439"/>
                    </a:lnTo>
                    <a:lnTo>
                      <a:pt x="1319" y="7534"/>
                    </a:lnTo>
                    <a:lnTo>
                      <a:pt x="1283" y="7558"/>
                    </a:lnTo>
                    <a:lnTo>
                      <a:pt x="1200" y="7605"/>
                    </a:lnTo>
                    <a:lnTo>
                      <a:pt x="1057" y="7617"/>
                    </a:lnTo>
                    <a:lnTo>
                      <a:pt x="951" y="7724"/>
                    </a:lnTo>
                    <a:lnTo>
                      <a:pt x="879" y="7772"/>
                    </a:lnTo>
                    <a:lnTo>
                      <a:pt x="760" y="7795"/>
                    </a:lnTo>
                    <a:lnTo>
                      <a:pt x="701" y="7819"/>
                    </a:lnTo>
                    <a:lnTo>
                      <a:pt x="618" y="7807"/>
                    </a:lnTo>
                    <a:lnTo>
                      <a:pt x="558" y="7867"/>
                    </a:lnTo>
                    <a:lnTo>
                      <a:pt x="535" y="7879"/>
                    </a:lnTo>
                    <a:lnTo>
                      <a:pt x="487" y="7855"/>
                    </a:lnTo>
                    <a:lnTo>
                      <a:pt x="535" y="7784"/>
                    </a:lnTo>
                    <a:lnTo>
                      <a:pt x="558" y="7736"/>
                    </a:lnTo>
                    <a:lnTo>
                      <a:pt x="606" y="7689"/>
                    </a:lnTo>
                    <a:lnTo>
                      <a:pt x="606" y="7617"/>
                    </a:lnTo>
                    <a:lnTo>
                      <a:pt x="606" y="7534"/>
                    </a:lnTo>
                    <a:lnTo>
                      <a:pt x="570" y="7475"/>
                    </a:lnTo>
                    <a:lnTo>
                      <a:pt x="582" y="7427"/>
                    </a:lnTo>
                    <a:lnTo>
                      <a:pt x="570" y="7320"/>
                    </a:lnTo>
                    <a:lnTo>
                      <a:pt x="570" y="7261"/>
                    </a:lnTo>
                    <a:lnTo>
                      <a:pt x="606" y="7082"/>
                    </a:lnTo>
                    <a:lnTo>
                      <a:pt x="570" y="6975"/>
                    </a:lnTo>
                    <a:lnTo>
                      <a:pt x="594" y="6952"/>
                    </a:lnTo>
                    <a:lnTo>
                      <a:pt x="665" y="6916"/>
                    </a:lnTo>
                    <a:lnTo>
                      <a:pt x="677" y="6857"/>
                    </a:lnTo>
                    <a:lnTo>
                      <a:pt x="618" y="6750"/>
                    </a:lnTo>
                    <a:lnTo>
                      <a:pt x="535" y="6702"/>
                    </a:lnTo>
                    <a:lnTo>
                      <a:pt x="475" y="6631"/>
                    </a:lnTo>
                    <a:lnTo>
                      <a:pt x="404" y="6607"/>
                    </a:lnTo>
                    <a:lnTo>
                      <a:pt x="368" y="6560"/>
                    </a:lnTo>
                    <a:lnTo>
                      <a:pt x="344" y="6464"/>
                    </a:lnTo>
                    <a:lnTo>
                      <a:pt x="333" y="6381"/>
                    </a:lnTo>
                    <a:lnTo>
                      <a:pt x="321" y="6298"/>
                    </a:lnTo>
                    <a:lnTo>
                      <a:pt x="321" y="6191"/>
                    </a:lnTo>
                    <a:lnTo>
                      <a:pt x="356" y="6037"/>
                    </a:lnTo>
                    <a:lnTo>
                      <a:pt x="404" y="5942"/>
                    </a:lnTo>
                    <a:lnTo>
                      <a:pt x="416" y="5906"/>
                    </a:lnTo>
                    <a:lnTo>
                      <a:pt x="404" y="5882"/>
                    </a:lnTo>
                    <a:lnTo>
                      <a:pt x="368" y="5870"/>
                    </a:lnTo>
                    <a:lnTo>
                      <a:pt x="356" y="5835"/>
                    </a:lnTo>
                    <a:lnTo>
                      <a:pt x="368" y="5763"/>
                    </a:lnTo>
                    <a:lnTo>
                      <a:pt x="392" y="5728"/>
                    </a:lnTo>
                    <a:lnTo>
                      <a:pt x="440" y="5680"/>
                    </a:lnTo>
                    <a:lnTo>
                      <a:pt x="546" y="5621"/>
                    </a:lnTo>
                    <a:lnTo>
                      <a:pt x="582" y="5573"/>
                    </a:lnTo>
                    <a:lnTo>
                      <a:pt x="582" y="5549"/>
                    </a:lnTo>
                    <a:lnTo>
                      <a:pt x="558" y="5549"/>
                    </a:lnTo>
                    <a:lnTo>
                      <a:pt x="499" y="5561"/>
                    </a:lnTo>
                    <a:lnTo>
                      <a:pt x="463" y="5597"/>
                    </a:lnTo>
                    <a:lnTo>
                      <a:pt x="416" y="5609"/>
                    </a:lnTo>
                    <a:lnTo>
                      <a:pt x="416" y="5621"/>
                    </a:lnTo>
                    <a:lnTo>
                      <a:pt x="380" y="5621"/>
                    </a:lnTo>
                    <a:lnTo>
                      <a:pt x="333" y="5633"/>
                    </a:lnTo>
                    <a:lnTo>
                      <a:pt x="321" y="5621"/>
                    </a:lnTo>
                    <a:lnTo>
                      <a:pt x="309" y="5609"/>
                    </a:lnTo>
                    <a:lnTo>
                      <a:pt x="285" y="5549"/>
                    </a:lnTo>
                    <a:lnTo>
                      <a:pt x="273" y="5419"/>
                    </a:lnTo>
                    <a:lnTo>
                      <a:pt x="297" y="5371"/>
                    </a:lnTo>
                    <a:lnTo>
                      <a:pt x="297" y="5336"/>
                    </a:lnTo>
                    <a:lnTo>
                      <a:pt x="309" y="5288"/>
                    </a:lnTo>
                    <a:lnTo>
                      <a:pt x="356" y="5252"/>
                    </a:lnTo>
                    <a:lnTo>
                      <a:pt x="392" y="5229"/>
                    </a:lnTo>
                    <a:lnTo>
                      <a:pt x="451" y="5205"/>
                    </a:lnTo>
                    <a:lnTo>
                      <a:pt x="523" y="5157"/>
                    </a:lnTo>
                    <a:lnTo>
                      <a:pt x="523" y="5145"/>
                    </a:lnTo>
                    <a:lnTo>
                      <a:pt x="523" y="5122"/>
                    </a:lnTo>
                    <a:lnTo>
                      <a:pt x="511" y="5110"/>
                    </a:lnTo>
                    <a:lnTo>
                      <a:pt x="487" y="5110"/>
                    </a:lnTo>
                    <a:lnTo>
                      <a:pt x="404" y="5157"/>
                    </a:lnTo>
                    <a:lnTo>
                      <a:pt x="344" y="5145"/>
                    </a:lnTo>
                    <a:lnTo>
                      <a:pt x="321" y="5110"/>
                    </a:lnTo>
                    <a:lnTo>
                      <a:pt x="321" y="5038"/>
                    </a:lnTo>
                    <a:lnTo>
                      <a:pt x="321" y="4825"/>
                    </a:lnTo>
                    <a:lnTo>
                      <a:pt x="333" y="4741"/>
                    </a:lnTo>
                    <a:lnTo>
                      <a:pt x="404" y="4587"/>
                    </a:lnTo>
                    <a:lnTo>
                      <a:pt x="392" y="4539"/>
                    </a:lnTo>
                    <a:lnTo>
                      <a:pt x="297" y="4456"/>
                    </a:lnTo>
                    <a:lnTo>
                      <a:pt x="273" y="4409"/>
                    </a:lnTo>
                    <a:lnTo>
                      <a:pt x="261" y="4361"/>
                    </a:lnTo>
                    <a:lnTo>
                      <a:pt x="237" y="4171"/>
                    </a:lnTo>
                    <a:lnTo>
                      <a:pt x="226" y="4135"/>
                    </a:lnTo>
                    <a:lnTo>
                      <a:pt x="214" y="4111"/>
                    </a:lnTo>
                    <a:lnTo>
                      <a:pt x="237" y="4052"/>
                    </a:lnTo>
                    <a:lnTo>
                      <a:pt x="273" y="3993"/>
                    </a:lnTo>
                    <a:lnTo>
                      <a:pt x="344" y="3969"/>
                    </a:lnTo>
                    <a:lnTo>
                      <a:pt x="451" y="3957"/>
                    </a:lnTo>
                    <a:lnTo>
                      <a:pt x="487" y="3933"/>
                    </a:lnTo>
                    <a:lnTo>
                      <a:pt x="499" y="3921"/>
                    </a:lnTo>
                    <a:lnTo>
                      <a:pt x="463" y="3886"/>
                    </a:lnTo>
                    <a:lnTo>
                      <a:pt x="309" y="3886"/>
                    </a:lnTo>
                    <a:lnTo>
                      <a:pt x="273" y="3862"/>
                    </a:lnTo>
                    <a:lnTo>
                      <a:pt x="273" y="3791"/>
                    </a:lnTo>
                    <a:lnTo>
                      <a:pt x="297" y="3731"/>
                    </a:lnTo>
                    <a:lnTo>
                      <a:pt x="368" y="3636"/>
                    </a:lnTo>
                    <a:lnTo>
                      <a:pt x="356" y="3636"/>
                    </a:lnTo>
                    <a:lnTo>
                      <a:pt x="356" y="3589"/>
                    </a:lnTo>
                    <a:lnTo>
                      <a:pt x="356" y="3565"/>
                    </a:lnTo>
                    <a:lnTo>
                      <a:pt x="392" y="3565"/>
                    </a:lnTo>
                    <a:lnTo>
                      <a:pt x="416" y="3589"/>
                    </a:lnTo>
                    <a:lnTo>
                      <a:pt x="451" y="3612"/>
                    </a:lnTo>
                    <a:lnTo>
                      <a:pt x="487" y="3600"/>
                    </a:lnTo>
                    <a:lnTo>
                      <a:pt x="523" y="3589"/>
                    </a:lnTo>
                    <a:lnTo>
                      <a:pt x="546" y="3565"/>
                    </a:lnTo>
                    <a:lnTo>
                      <a:pt x="546" y="3541"/>
                    </a:lnTo>
                    <a:lnTo>
                      <a:pt x="523" y="3517"/>
                    </a:lnTo>
                    <a:lnTo>
                      <a:pt x="451" y="3494"/>
                    </a:lnTo>
                    <a:lnTo>
                      <a:pt x="333" y="3446"/>
                    </a:lnTo>
                    <a:lnTo>
                      <a:pt x="226" y="3434"/>
                    </a:lnTo>
                    <a:lnTo>
                      <a:pt x="166" y="3410"/>
                    </a:lnTo>
                    <a:lnTo>
                      <a:pt x="142" y="3375"/>
                    </a:lnTo>
                    <a:lnTo>
                      <a:pt x="119" y="3303"/>
                    </a:lnTo>
                    <a:lnTo>
                      <a:pt x="71" y="3280"/>
                    </a:lnTo>
                    <a:lnTo>
                      <a:pt x="12" y="3232"/>
                    </a:lnTo>
                    <a:lnTo>
                      <a:pt x="0" y="3185"/>
                    </a:lnTo>
                    <a:lnTo>
                      <a:pt x="0" y="3137"/>
                    </a:lnTo>
                    <a:lnTo>
                      <a:pt x="0" y="3113"/>
                    </a:lnTo>
                    <a:lnTo>
                      <a:pt x="24" y="3054"/>
                    </a:lnTo>
                    <a:lnTo>
                      <a:pt x="95" y="3006"/>
                    </a:lnTo>
                    <a:lnTo>
                      <a:pt x="131" y="2959"/>
                    </a:lnTo>
                    <a:lnTo>
                      <a:pt x="95" y="2899"/>
                    </a:lnTo>
                    <a:lnTo>
                      <a:pt x="95" y="2876"/>
                    </a:lnTo>
                    <a:lnTo>
                      <a:pt x="119" y="2840"/>
                    </a:lnTo>
                    <a:lnTo>
                      <a:pt x="214" y="2804"/>
                    </a:lnTo>
                    <a:lnTo>
                      <a:pt x="261" y="2757"/>
                    </a:lnTo>
                    <a:lnTo>
                      <a:pt x="333" y="2733"/>
                    </a:lnTo>
                    <a:lnTo>
                      <a:pt x="368" y="2697"/>
                    </a:lnTo>
                    <a:lnTo>
                      <a:pt x="380" y="2602"/>
                    </a:lnTo>
                    <a:lnTo>
                      <a:pt x="392" y="2590"/>
                    </a:lnTo>
                    <a:lnTo>
                      <a:pt x="392" y="2578"/>
                    </a:lnTo>
                    <a:lnTo>
                      <a:pt x="487" y="2460"/>
                    </a:lnTo>
                    <a:lnTo>
                      <a:pt x="499" y="2448"/>
                    </a:lnTo>
                    <a:lnTo>
                      <a:pt x="535" y="2412"/>
                    </a:lnTo>
                    <a:lnTo>
                      <a:pt x="570" y="2388"/>
                    </a:lnTo>
                    <a:lnTo>
                      <a:pt x="570" y="2376"/>
                    </a:lnTo>
                    <a:lnTo>
                      <a:pt x="582" y="2376"/>
                    </a:lnTo>
                    <a:lnTo>
                      <a:pt x="701" y="2317"/>
                    </a:lnTo>
                    <a:lnTo>
                      <a:pt x="749" y="2305"/>
                    </a:lnTo>
                    <a:lnTo>
                      <a:pt x="820" y="2234"/>
                    </a:lnTo>
                    <a:lnTo>
                      <a:pt x="867" y="2210"/>
                    </a:lnTo>
                    <a:lnTo>
                      <a:pt x="915" y="2198"/>
                    </a:lnTo>
                    <a:lnTo>
                      <a:pt x="927" y="2174"/>
                    </a:lnTo>
                    <a:lnTo>
                      <a:pt x="951" y="2079"/>
                    </a:lnTo>
                    <a:lnTo>
                      <a:pt x="962" y="2067"/>
                    </a:lnTo>
                    <a:lnTo>
                      <a:pt x="1057" y="2032"/>
                    </a:lnTo>
                    <a:lnTo>
                      <a:pt x="1093" y="1984"/>
                    </a:lnTo>
                    <a:lnTo>
                      <a:pt x="1105" y="1901"/>
                    </a:lnTo>
                    <a:lnTo>
                      <a:pt x="1093" y="1854"/>
                    </a:lnTo>
                    <a:lnTo>
                      <a:pt x="1093" y="1854"/>
                    </a:lnTo>
                    <a:lnTo>
                      <a:pt x="1117" y="1830"/>
                    </a:lnTo>
                    <a:lnTo>
                      <a:pt x="1153" y="1794"/>
                    </a:lnTo>
                    <a:lnTo>
                      <a:pt x="1212" y="1770"/>
                    </a:lnTo>
                    <a:lnTo>
                      <a:pt x="1260" y="1782"/>
                    </a:lnTo>
                    <a:lnTo>
                      <a:pt x="1283" y="1806"/>
                    </a:lnTo>
                    <a:lnTo>
                      <a:pt x="1295" y="1925"/>
                    </a:lnTo>
                    <a:lnTo>
                      <a:pt x="1331" y="1984"/>
                    </a:lnTo>
                    <a:lnTo>
                      <a:pt x="1331" y="2056"/>
                    </a:lnTo>
                    <a:lnTo>
                      <a:pt x="1343" y="2127"/>
                    </a:lnTo>
                    <a:lnTo>
                      <a:pt x="1378" y="2222"/>
                    </a:lnTo>
                    <a:lnTo>
                      <a:pt x="1390" y="2317"/>
                    </a:lnTo>
                    <a:lnTo>
                      <a:pt x="1414" y="2365"/>
                    </a:lnTo>
                    <a:lnTo>
                      <a:pt x="1497" y="2412"/>
                    </a:lnTo>
                    <a:lnTo>
                      <a:pt x="1533" y="2448"/>
                    </a:lnTo>
                    <a:lnTo>
                      <a:pt x="1545" y="2507"/>
                    </a:lnTo>
                    <a:lnTo>
                      <a:pt x="1568" y="2567"/>
                    </a:lnTo>
                    <a:lnTo>
                      <a:pt x="1604" y="2590"/>
                    </a:lnTo>
                    <a:lnTo>
                      <a:pt x="1735" y="2650"/>
                    </a:lnTo>
                    <a:lnTo>
                      <a:pt x="1866" y="2674"/>
                    </a:lnTo>
                    <a:lnTo>
                      <a:pt x="1949" y="2733"/>
                    </a:lnTo>
                    <a:lnTo>
                      <a:pt x="2008" y="2745"/>
                    </a:lnTo>
                    <a:lnTo>
                      <a:pt x="2079" y="2721"/>
                    </a:lnTo>
                    <a:lnTo>
                      <a:pt x="2127" y="2685"/>
                    </a:lnTo>
                    <a:lnTo>
                      <a:pt x="2186" y="2602"/>
                    </a:lnTo>
                    <a:lnTo>
                      <a:pt x="2282" y="2578"/>
                    </a:lnTo>
                    <a:lnTo>
                      <a:pt x="2293" y="2555"/>
                    </a:lnTo>
                    <a:lnTo>
                      <a:pt x="2305" y="2495"/>
                    </a:lnTo>
                    <a:lnTo>
                      <a:pt x="2317" y="2483"/>
                    </a:lnTo>
                    <a:lnTo>
                      <a:pt x="2365" y="2436"/>
                    </a:lnTo>
                    <a:lnTo>
                      <a:pt x="2412" y="2424"/>
                    </a:lnTo>
                    <a:lnTo>
                      <a:pt x="2412" y="2412"/>
                    </a:lnTo>
                    <a:lnTo>
                      <a:pt x="2448" y="2400"/>
                    </a:lnTo>
                    <a:lnTo>
                      <a:pt x="2484" y="2400"/>
                    </a:lnTo>
                    <a:lnTo>
                      <a:pt x="2519" y="2424"/>
                    </a:lnTo>
                    <a:lnTo>
                      <a:pt x="2555" y="2424"/>
                    </a:lnTo>
                    <a:lnTo>
                      <a:pt x="2614" y="2388"/>
                    </a:lnTo>
                    <a:lnTo>
                      <a:pt x="2662" y="2353"/>
                    </a:lnTo>
                    <a:lnTo>
                      <a:pt x="2674" y="2341"/>
                    </a:lnTo>
                    <a:lnTo>
                      <a:pt x="2769" y="2400"/>
                    </a:lnTo>
                    <a:lnTo>
                      <a:pt x="2804" y="2424"/>
                    </a:lnTo>
                    <a:lnTo>
                      <a:pt x="2876" y="2412"/>
                    </a:lnTo>
                    <a:lnTo>
                      <a:pt x="2947" y="2376"/>
                    </a:lnTo>
                    <a:lnTo>
                      <a:pt x="2995" y="2341"/>
                    </a:lnTo>
                    <a:lnTo>
                      <a:pt x="3018" y="2305"/>
                    </a:lnTo>
                    <a:lnTo>
                      <a:pt x="3042" y="2234"/>
                    </a:lnTo>
                    <a:lnTo>
                      <a:pt x="3054" y="2151"/>
                    </a:lnTo>
                    <a:lnTo>
                      <a:pt x="3101" y="2151"/>
                    </a:lnTo>
                    <a:lnTo>
                      <a:pt x="3113" y="2163"/>
                    </a:lnTo>
                    <a:lnTo>
                      <a:pt x="3161" y="2174"/>
                    </a:lnTo>
                    <a:lnTo>
                      <a:pt x="3197" y="2151"/>
                    </a:lnTo>
                    <a:lnTo>
                      <a:pt x="3220" y="2103"/>
                    </a:lnTo>
                    <a:lnTo>
                      <a:pt x="3268" y="2067"/>
                    </a:lnTo>
                    <a:lnTo>
                      <a:pt x="3315" y="1961"/>
                    </a:lnTo>
                    <a:lnTo>
                      <a:pt x="3315" y="1949"/>
                    </a:lnTo>
                    <a:lnTo>
                      <a:pt x="3351" y="1901"/>
                    </a:lnTo>
                    <a:lnTo>
                      <a:pt x="3351" y="1865"/>
                    </a:lnTo>
                    <a:lnTo>
                      <a:pt x="3375" y="1818"/>
                    </a:lnTo>
                    <a:lnTo>
                      <a:pt x="3410" y="1782"/>
                    </a:lnTo>
                    <a:lnTo>
                      <a:pt x="3458" y="1759"/>
                    </a:lnTo>
                    <a:lnTo>
                      <a:pt x="3494" y="1711"/>
                    </a:lnTo>
                    <a:lnTo>
                      <a:pt x="3506" y="1699"/>
                    </a:lnTo>
                    <a:lnTo>
                      <a:pt x="3470" y="1652"/>
                    </a:lnTo>
                    <a:lnTo>
                      <a:pt x="3482" y="1640"/>
                    </a:lnTo>
                    <a:lnTo>
                      <a:pt x="3482" y="1580"/>
                    </a:lnTo>
                    <a:lnTo>
                      <a:pt x="3506" y="1497"/>
                    </a:lnTo>
                    <a:lnTo>
                      <a:pt x="3470" y="1450"/>
                    </a:lnTo>
                    <a:lnTo>
                      <a:pt x="3410" y="1402"/>
                    </a:lnTo>
                    <a:lnTo>
                      <a:pt x="3375" y="1366"/>
                    </a:lnTo>
                    <a:lnTo>
                      <a:pt x="3375" y="1366"/>
                    </a:lnTo>
                    <a:lnTo>
                      <a:pt x="3292" y="1188"/>
                    </a:lnTo>
                    <a:lnTo>
                      <a:pt x="3292" y="1117"/>
                    </a:lnTo>
                    <a:lnTo>
                      <a:pt x="3315" y="1069"/>
                    </a:lnTo>
                    <a:lnTo>
                      <a:pt x="3375" y="1010"/>
                    </a:lnTo>
                    <a:lnTo>
                      <a:pt x="3470" y="962"/>
                    </a:lnTo>
                    <a:lnTo>
                      <a:pt x="3565" y="867"/>
                    </a:lnTo>
                    <a:lnTo>
                      <a:pt x="3660" y="832"/>
                    </a:lnTo>
                    <a:lnTo>
                      <a:pt x="3696" y="808"/>
                    </a:lnTo>
                    <a:lnTo>
                      <a:pt x="3719" y="784"/>
                    </a:lnTo>
                    <a:lnTo>
                      <a:pt x="3743" y="772"/>
                    </a:lnTo>
                    <a:lnTo>
                      <a:pt x="3767" y="784"/>
                    </a:lnTo>
                    <a:lnTo>
                      <a:pt x="3803" y="808"/>
                    </a:lnTo>
                    <a:lnTo>
                      <a:pt x="3862" y="915"/>
                    </a:lnTo>
                    <a:lnTo>
                      <a:pt x="3874" y="903"/>
                    </a:lnTo>
                    <a:lnTo>
                      <a:pt x="3921" y="939"/>
                    </a:lnTo>
                    <a:lnTo>
                      <a:pt x="3981" y="962"/>
                    </a:lnTo>
                    <a:lnTo>
                      <a:pt x="4040" y="974"/>
                    </a:lnTo>
                    <a:lnTo>
                      <a:pt x="4100" y="974"/>
                    </a:lnTo>
                    <a:lnTo>
                      <a:pt x="4171" y="950"/>
                    </a:lnTo>
                    <a:lnTo>
                      <a:pt x="4242" y="950"/>
                    </a:lnTo>
                    <a:lnTo>
                      <a:pt x="4290" y="974"/>
                    </a:lnTo>
                    <a:lnTo>
                      <a:pt x="4337" y="1022"/>
                    </a:lnTo>
                    <a:lnTo>
                      <a:pt x="4373" y="1081"/>
                    </a:lnTo>
                    <a:lnTo>
                      <a:pt x="4397" y="1081"/>
                    </a:lnTo>
                    <a:lnTo>
                      <a:pt x="4432" y="1069"/>
                    </a:lnTo>
                    <a:lnTo>
                      <a:pt x="4456" y="1081"/>
                    </a:lnTo>
                    <a:lnTo>
                      <a:pt x="4468" y="1093"/>
                    </a:lnTo>
                    <a:lnTo>
                      <a:pt x="4480" y="1164"/>
                    </a:lnTo>
                    <a:lnTo>
                      <a:pt x="4504" y="1212"/>
                    </a:lnTo>
                    <a:lnTo>
                      <a:pt x="4528" y="1212"/>
                    </a:lnTo>
                    <a:lnTo>
                      <a:pt x="4575" y="1188"/>
                    </a:lnTo>
                    <a:lnTo>
                      <a:pt x="4611" y="1152"/>
                    </a:lnTo>
                    <a:lnTo>
                      <a:pt x="4611" y="1141"/>
                    </a:lnTo>
                    <a:lnTo>
                      <a:pt x="4670" y="1117"/>
                    </a:lnTo>
                    <a:lnTo>
                      <a:pt x="4718" y="1117"/>
                    </a:lnTo>
                    <a:lnTo>
                      <a:pt x="4741" y="1117"/>
                    </a:lnTo>
                    <a:lnTo>
                      <a:pt x="4789" y="1081"/>
                    </a:lnTo>
                    <a:lnTo>
                      <a:pt x="4860" y="1069"/>
                    </a:lnTo>
                    <a:lnTo>
                      <a:pt x="4932" y="1010"/>
                    </a:lnTo>
                    <a:lnTo>
                      <a:pt x="4991" y="998"/>
                    </a:lnTo>
                    <a:lnTo>
                      <a:pt x="5027" y="950"/>
                    </a:lnTo>
                    <a:lnTo>
                      <a:pt x="5122" y="855"/>
                    </a:lnTo>
                    <a:lnTo>
                      <a:pt x="5169" y="843"/>
                    </a:lnTo>
                    <a:lnTo>
                      <a:pt x="5229" y="843"/>
                    </a:lnTo>
                    <a:lnTo>
                      <a:pt x="5348" y="820"/>
                    </a:lnTo>
                    <a:lnTo>
                      <a:pt x="5502" y="772"/>
                    </a:lnTo>
                    <a:lnTo>
                      <a:pt x="5561" y="784"/>
                    </a:lnTo>
                    <a:lnTo>
                      <a:pt x="5597" y="784"/>
                    </a:lnTo>
                    <a:lnTo>
                      <a:pt x="5657" y="760"/>
                    </a:lnTo>
                    <a:lnTo>
                      <a:pt x="5740" y="725"/>
                    </a:lnTo>
                    <a:lnTo>
                      <a:pt x="5835" y="641"/>
                    </a:lnTo>
                    <a:lnTo>
                      <a:pt x="5859" y="618"/>
                    </a:lnTo>
                    <a:lnTo>
                      <a:pt x="5882" y="534"/>
                    </a:lnTo>
                    <a:lnTo>
                      <a:pt x="5894" y="523"/>
                    </a:lnTo>
                    <a:lnTo>
                      <a:pt x="6025" y="463"/>
                    </a:lnTo>
                    <a:lnTo>
                      <a:pt x="6072" y="439"/>
                    </a:lnTo>
                    <a:lnTo>
                      <a:pt x="6120" y="392"/>
                    </a:lnTo>
                    <a:lnTo>
                      <a:pt x="6156" y="321"/>
                    </a:lnTo>
                    <a:lnTo>
                      <a:pt x="6191" y="285"/>
                    </a:lnTo>
                    <a:lnTo>
                      <a:pt x="6310" y="202"/>
                    </a:lnTo>
                    <a:lnTo>
                      <a:pt x="6310" y="202"/>
                    </a:lnTo>
                    <a:lnTo>
                      <a:pt x="6405" y="142"/>
                    </a:lnTo>
                    <a:lnTo>
                      <a:pt x="6310" y="202"/>
                    </a:lnTo>
                    <a:lnTo>
                      <a:pt x="6322" y="214"/>
                    </a:lnTo>
                    <a:lnTo>
                      <a:pt x="6370" y="237"/>
                    </a:lnTo>
                    <a:lnTo>
                      <a:pt x="6477" y="214"/>
                    </a:lnTo>
                    <a:lnTo>
                      <a:pt x="6536" y="214"/>
                    </a:lnTo>
                    <a:lnTo>
                      <a:pt x="6572" y="225"/>
                    </a:lnTo>
                    <a:lnTo>
                      <a:pt x="6583" y="285"/>
                    </a:lnTo>
                    <a:lnTo>
                      <a:pt x="6595" y="297"/>
                    </a:lnTo>
                    <a:lnTo>
                      <a:pt x="6643" y="309"/>
                    </a:lnTo>
                    <a:lnTo>
                      <a:pt x="6667" y="321"/>
                    </a:lnTo>
                    <a:lnTo>
                      <a:pt x="6667" y="380"/>
                    </a:lnTo>
                    <a:lnTo>
                      <a:pt x="6690" y="392"/>
                    </a:lnTo>
                    <a:lnTo>
                      <a:pt x="6762" y="380"/>
                    </a:lnTo>
                    <a:lnTo>
                      <a:pt x="6797" y="404"/>
                    </a:lnTo>
                    <a:lnTo>
                      <a:pt x="6845" y="475"/>
                    </a:lnTo>
                    <a:lnTo>
                      <a:pt x="6857" y="546"/>
                    </a:lnTo>
                    <a:lnTo>
                      <a:pt x="6892" y="594"/>
                    </a:lnTo>
                    <a:lnTo>
                      <a:pt x="6857" y="641"/>
                    </a:lnTo>
                    <a:lnTo>
                      <a:pt x="6857" y="689"/>
                    </a:lnTo>
                    <a:lnTo>
                      <a:pt x="6857" y="713"/>
                    </a:lnTo>
                    <a:lnTo>
                      <a:pt x="6892" y="760"/>
                    </a:lnTo>
                    <a:lnTo>
                      <a:pt x="6916" y="784"/>
                    </a:lnTo>
                    <a:lnTo>
                      <a:pt x="6964" y="808"/>
                    </a:lnTo>
                    <a:lnTo>
                      <a:pt x="6999" y="820"/>
                    </a:lnTo>
                    <a:lnTo>
                      <a:pt x="6999" y="808"/>
                    </a:lnTo>
                    <a:lnTo>
                      <a:pt x="7035" y="808"/>
                    </a:lnTo>
                    <a:lnTo>
                      <a:pt x="7047" y="832"/>
                    </a:lnTo>
                    <a:lnTo>
                      <a:pt x="7047" y="879"/>
                    </a:lnTo>
                    <a:lnTo>
                      <a:pt x="7023" y="1010"/>
                    </a:lnTo>
                    <a:lnTo>
                      <a:pt x="6999" y="1069"/>
                    </a:lnTo>
                    <a:lnTo>
                      <a:pt x="6976" y="1093"/>
                    </a:lnTo>
                    <a:lnTo>
                      <a:pt x="6952" y="1093"/>
                    </a:lnTo>
                    <a:lnTo>
                      <a:pt x="6952" y="1117"/>
                    </a:lnTo>
                    <a:lnTo>
                      <a:pt x="7118" y="1117"/>
                    </a:lnTo>
                    <a:lnTo>
                      <a:pt x="7201" y="1105"/>
                    </a:lnTo>
                    <a:lnTo>
                      <a:pt x="7213" y="1105"/>
                    </a:lnTo>
                    <a:lnTo>
                      <a:pt x="7249" y="1069"/>
                    </a:lnTo>
                    <a:lnTo>
                      <a:pt x="7332" y="986"/>
                    </a:lnTo>
                    <a:lnTo>
                      <a:pt x="7427" y="974"/>
                    </a:lnTo>
                    <a:lnTo>
                      <a:pt x="7475" y="903"/>
                    </a:lnTo>
                    <a:lnTo>
                      <a:pt x="7510" y="796"/>
                    </a:lnTo>
                    <a:lnTo>
                      <a:pt x="7510" y="748"/>
                    </a:lnTo>
                    <a:lnTo>
                      <a:pt x="7534" y="689"/>
                    </a:lnTo>
                    <a:lnTo>
                      <a:pt x="7546" y="665"/>
                    </a:lnTo>
                    <a:lnTo>
                      <a:pt x="7570" y="641"/>
                    </a:lnTo>
                    <a:lnTo>
                      <a:pt x="7617" y="630"/>
                    </a:lnTo>
                    <a:lnTo>
                      <a:pt x="7629" y="630"/>
                    </a:lnTo>
                    <a:lnTo>
                      <a:pt x="7665" y="665"/>
                    </a:lnTo>
                    <a:lnTo>
                      <a:pt x="7724" y="665"/>
                    </a:lnTo>
                    <a:lnTo>
                      <a:pt x="7807" y="641"/>
                    </a:lnTo>
                    <a:lnTo>
                      <a:pt x="7867" y="641"/>
                    </a:lnTo>
                    <a:lnTo>
                      <a:pt x="7926" y="618"/>
                    </a:lnTo>
                    <a:lnTo>
                      <a:pt x="7950" y="606"/>
                    </a:lnTo>
                    <a:lnTo>
                      <a:pt x="7974" y="558"/>
                    </a:lnTo>
                    <a:lnTo>
                      <a:pt x="7998" y="499"/>
                    </a:lnTo>
                    <a:lnTo>
                      <a:pt x="8010" y="404"/>
                    </a:lnTo>
                    <a:lnTo>
                      <a:pt x="8021" y="368"/>
                    </a:lnTo>
                    <a:lnTo>
                      <a:pt x="8128" y="332"/>
                    </a:lnTo>
                    <a:lnTo>
                      <a:pt x="8164" y="297"/>
                    </a:lnTo>
                    <a:lnTo>
                      <a:pt x="8212" y="285"/>
                    </a:lnTo>
                    <a:lnTo>
                      <a:pt x="8235" y="249"/>
                    </a:lnTo>
                    <a:lnTo>
                      <a:pt x="8235" y="214"/>
                    </a:lnTo>
                    <a:lnTo>
                      <a:pt x="8247" y="190"/>
                    </a:lnTo>
                    <a:lnTo>
                      <a:pt x="8330" y="166"/>
                    </a:lnTo>
                    <a:lnTo>
                      <a:pt x="8414" y="107"/>
                    </a:lnTo>
                    <a:lnTo>
                      <a:pt x="8509" y="83"/>
                    </a:lnTo>
                    <a:lnTo>
                      <a:pt x="8532" y="71"/>
                    </a:lnTo>
                    <a:lnTo>
                      <a:pt x="8556" y="23"/>
                    </a:lnTo>
                    <a:lnTo>
                      <a:pt x="8568" y="12"/>
                    </a:lnTo>
                    <a:lnTo>
                      <a:pt x="8651" y="0"/>
                    </a:lnTo>
                    <a:lnTo>
                      <a:pt x="8711" y="35"/>
                    </a:lnTo>
                    <a:lnTo>
                      <a:pt x="8758" y="142"/>
                    </a:lnTo>
                    <a:lnTo>
                      <a:pt x="8830" y="214"/>
                    </a:lnTo>
                    <a:lnTo>
                      <a:pt x="8841" y="237"/>
                    </a:lnTo>
                    <a:lnTo>
                      <a:pt x="8901" y="261"/>
                    </a:lnTo>
                    <a:lnTo>
                      <a:pt x="8972" y="261"/>
                    </a:lnTo>
                    <a:lnTo>
                      <a:pt x="8996" y="261"/>
                    </a:lnTo>
                    <a:lnTo>
                      <a:pt x="9032" y="273"/>
                    </a:lnTo>
                    <a:lnTo>
                      <a:pt x="9079" y="356"/>
                    </a:lnTo>
                    <a:lnTo>
                      <a:pt x="9091" y="368"/>
                    </a:lnTo>
                    <a:lnTo>
                      <a:pt x="9138" y="380"/>
                    </a:lnTo>
                    <a:lnTo>
                      <a:pt x="9222" y="356"/>
                    </a:lnTo>
                    <a:lnTo>
                      <a:pt x="9257" y="368"/>
                    </a:lnTo>
                    <a:lnTo>
                      <a:pt x="9364" y="428"/>
                    </a:lnTo>
                    <a:lnTo>
                      <a:pt x="9388" y="439"/>
                    </a:lnTo>
                    <a:lnTo>
                      <a:pt x="9436" y="558"/>
                    </a:lnTo>
                    <a:lnTo>
                      <a:pt x="9471" y="570"/>
                    </a:lnTo>
                    <a:lnTo>
                      <a:pt x="9483" y="570"/>
                    </a:lnTo>
                    <a:lnTo>
                      <a:pt x="9495" y="546"/>
                    </a:lnTo>
                    <a:lnTo>
                      <a:pt x="9519" y="463"/>
                    </a:lnTo>
                    <a:lnTo>
                      <a:pt x="9543" y="439"/>
                    </a:lnTo>
                    <a:lnTo>
                      <a:pt x="9578" y="428"/>
                    </a:lnTo>
                    <a:lnTo>
                      <a:pt x="9638" y="428"/>
                    </a:lnTo>
                    <a:lnTo>
                      <a:pt x="9649" y="439"/>
                    </a:lnTo>
                    <a:lnTo>
                      <a:pt x="9661" y="463"/>
                    </a:lnTo>
                    <a:lnTo>
                      <a:pt x="9661" y="499"/>
                    </a:lnTo>
                    <a:lnTo>
                      <a:pt x="9602" y="582"/>
                    </a:lnTo>
                    <a:lnTo>
                      <a:pt x="9626" y="630"/>
                    </a:lnTo>
                    <a:lnTo>
                      <a:pt x="9661" y="665"/>
                    </a:lnTo>
                    <a:lnTo>
                      <a:pt x="9709" y="689"/>
                    </a:lnTo>
                    <a:lnTo>
                      <a:pt x="9780" y="653"/>
                    </a:lnTo>
                    <a:lnTo>
                      <a:pt x="9828" y="677"/>
                    </a:lnTo>
                    <a:lnTo>
                      <a:pt x="9828" y="701"/>
                    </a:lnTo>
                    <a:lnTo>
                      <a:pt x="9828" y="772"/>
                    </a:lnTo>
                    <a:lnTo>
                      <a:pt x="9852" y="843"/>
                    </a:lnTo>
                    <a:lnTo>
                      <a:pt x="9852" y="903"/>
                    </a:lnTo>
                    <a:lnTo>
                      <a:pt x="9875" y="986"/>
                    </a:lnTo>
                    <a:lnTo>
                      <a:pt x="9875" y="1022"/>
                    </a:lnTo>
                    <a:lnTo>
                      <a:pt x="9899" y="1093"/>
                    </a:lnTo>
                    <a:lnTo>
                      <a:pt x="9911" y="1117"/>
                    </a:lnTo>
                    <a:lnTo>
                      <a:pt x="9923" y="1141"/>
                    </a:lnTo>
                    <a:lnTo>
                      <a:pt x="9923" y="1141"/>
                    </a:lnTo>
                    <a:lnTo>
                      <a:pt x="9947" y="1164"/>
                    </a:lnTo>
                    <a:lnTo>
                      <a:pt x="9970" y="1188"/>
                    </a:lnTo>
                    <a:lnTo>
                      <a:pt x="9982" y="1212"/>
                    </a:lnTo>
                    <a:lnTo>
                      <a:pt x="10006" y="1224"/>
                    </a:lnTo>
                    <a:lnTo>
                      <a:pt x="10030" y="1247"/>
                    </a:lnTo>
                    <a:lnTo>
                      <a:pt x="10054" y="1271"/>
                    </a:lnTo>
                    <a:lnTo>
                      <a:pt x="10101" y="1295"/>
                    </a:lnTo>
                    <a:lnTo>
                      <a:pt x="10149" y="1319"/>
                    </a:lnTo>
                    <a:lnTo>
                      <a:pt x="10149" y="1319"/>
                    </a:lnTo>
                    <a:lnTo>
                      <a:pt x="10125" y="1414"/>
                    </a:lnTo>
                    <a:lnTo>
                      <a:pt x="10196" y="1485"/>
                    </a:lnTo>
                    <a:lnTo>
                      <a:pt x="10172" y="1568"/>
                    </a:lnTo>
                    <a:lnTo>
                      <a:pt x="10172" y="1628"/>
                    </a:lnTo>
                    <a:lnTo>
                      <a:pt x="10196" y="1687"/>
                    </a:lnTo>
                    <a:lnTo>
                      <a:pt x="10244" y="1747"/>
                    </a:lnTo>
                    <a:lnTo>
                      <a:pt x="10244" y="1842"/>
                    </a:lnTo>
                    <a:lnTo>
                      <a:pt x="10267" y="1901"/>
                    </a:lnTo>
                    <a:lnTo>
                      <a:pt x="10279" y="1913"/>
                    </a:lnTo>
                    <a:lnTo>
                      <a:pt x="10351" y="1937"/>
                    </a:lnTo>
                    <a:lnTo>
                      <a:pt x="10386" y="1961"/>
                    </a:lnTo>
                    <a:lnTo>
                      <a:pt x="10410" y="1984"/>
                    </a:lnTo>
                    <a:lnTo>
                      <a:pt x="10398" y="1996"/>
                    </a:lnTo>
                    <a:lnTo>
                      <a:pt x="10458" y="2127"/>
                    </a:lnTo>
                    <a:lnTo>
                      <a:pt x="10469" y="2174"/>
                    </a:lnTo>
                    <a:lnTo>
                      <a:pt x="10469" y="2246"/>
                    </a:lnTo>
                    <a:lnTo>
                      <a:pt x="10458" y="2317"/>
                    </a:lnTo>
                    <a:lnTo>
                      <a:pt x="10422" y="2365"/>
                    </a:lnTo>
                    <a:lnTo>
                      <a:pt x="10386" y="2388"/>
                    </a:lnTo>
                    <a:lnTo>
                      <a:pt x="10374" y="2424"/>
                    </a:lnTo>
                    <a:lnTo>
                      <a:pt x="10398" y="2590"/>
                    </a:lnTo>
                    <a:lnTo>
                      <a:pt x="10386" y="2650"/>
                    </a:lnTo>
                    <a:lnTo>
                      <a:pt x="10398" y="2709"/>
                    </a:lnTo>
                    <a:lnTo>
                      <a:pt x="10398" y="2757"/>
                    </a:lnTo>
                    <a:lnTo>
                      <a:pt x="10351" y="2792"/>
                    </a:lnTo>
                    <a:lnTo>
                      <a:pt x="10327" y="2804"/>
                    </a:lnTo>
                    <a:lnTo>
                      <a:pt x="10256" y="2828"/>
                    </a:lnTo>
                    <a:lnTo>
                      <a:pt x="10208" y="2864"/>
                    </a:lnTo>
                    <a:lnTo>
                      <a:pt x="10149" y="2864"/>
                    </a:lnTo>
                    <a:lnTo>
                      <a:pt x="10101" y="2840"/>
                    </a:lnTo>
                    <a:lnTo>
                      <a:pt x="10065" y="2816"/>
                    </a:lnTo>
                    <a:lnTo>
                      <a:pt x="10030" y="2828"/>
                    </a:lnTo>
                    <a:lnTo>
                      <a:pt x="10006" y="2840"/>
                    </a:lnTo>
                    <a:lnTo>
                      <a:pt x="9947" y="2840"/>
                    </a:lnTo>
                    <a:lnTo>
                      <a:pt x="9911" y="2852"/>
                    </a:lnTo>
                    <a:lnTo>
                      <a:pt x="9863" y="2971"/>
                    </a:lnTo>
                    <a:lnTo>
                      <a:pt x="9887" y="3078"/>
                    </a:lnTo>
                    <a:lnTo>
                      <a:pt x="9911" y="3113"/>
                    </a:lnTo>
                    <a:lnTo>
                      <a:pt x="9994" y="3220"/>
                    </a:lnTo>
                    <a:lnTo>
                      <a:pt x="10006" y="3256"/>
                    </a:lnTo>
                    <a:lnTo>
                      <a:pt x="10018" y="3351"/>
                    </a:lnTo>
                    <a:lnTo>
                      <a:pt x="10054" y="3375"/>
                    </a:lnTo>
                    <a:lnTo>
                      <a:pt x="10125" y="3398"/>
                    </a:lnTo>
                    <a:lnTo>
                      <a:pt x="10137" y="3422"/>
                    </a:lnTo>
                    <a:lnTo>
                      <a:pt x="10137" y="3446"/>
                    </a:lnTo>
                    <a:lnTo>
                      <a:pt x="10125" y="3565"/>
                    </a:lnTo>
                    <a:lnTo>
                      <a:pt x="10137" y="3612"/>
                    </a:lnTo>
                    <a:lnTo>
                      <a:pt x="10172" y="3636"/>
                    </a:lnTo>
                    <a:lnTo>
                      <a:pt x="10244" y="3672"/>
                    </a:lnTo>
                    <a:lnTo>
                      <a:pt x="10267" y="3731"/>
                    </a:lnTo>
                    <a:lnTo>
                      <a:pt x="10303" y="3755"/>
                    </a:lnTo>
                    <a:lnTo>
                      <a:pt x="10339" y="3803"/>
                    </a:lnTo>
                    <a:lnTo>
                      <a:pt x="10446" y="3850"/>
                    </a:lnTo>
                    <a:lnTo>
                      <a:pt x="10493" y="3850"/>
                    </a:lnTo>
                    <a:lnTo>
                      <a:pt x="10529" y="3826"/>
                    </a:lnTo>
                    <a:lnTo>
                      <a:pt x="10553" y="3826"/>
                    </a:lnTo>
                    <a:lnTo>
                      <a:pt x="10624" y="3850"/>
                    </a:lnTo>
                    <a:lnTo>
                      <a:pt x="10648" y="3850"/>
                    </a:lnTo>
                    <a:lnTo>
                      <a:pt x="10648" y="3850"/>
                    </a:lnTo>
                    <a:close/>
                  </a:path>
                </a:pathLst>
              </a:custGeom>
              <a:solidFill>
                <a:srgbClr val="EAEAEA"/>
              </a:solidFill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27" name="Freeform 318"/>
              <p:cNvSpPr>
                <a:spLocks/>
              </p:cNvSpPr>
              <p:nvPr/>
            </p:nvSpPr>
            <p:spPr bwMode="auto">
              <a:xfrm>
                <a:off x="33912175" y="1760538"/>
                <a:ext cx="358775" cy="395288"/>
              </a:xfrm>
              <a:custGeom>
                <a:avLst/>
                <a:gdLst/>
                <a:ahLst/>
                <a:cxnLst>
                  <a:cxn ang="0">
                    <a:pos x="155" y="0"/>
                  </a:cxn>
                  <a:cxn ang="0">
                    <a:pos x="178" y="0"/>
                  </a:cxn>
                  <a:cxn ang="0">
                    <a:pos x="214" y="59"/>
                  </a:cxn>
                  <a:cxn ang="0">
                    <a:pos x="226" y="83"/>
                  </a:cxn>
                  <a:cxn ang="0">
                    <a:pos x="214" y="119"/>
                  </a:cxn>
                  <a:cxn ang="0">
                    <a:pos x="190" y="131"/>
                  </a:cxn>
                  <a:cxn ang="0">
                    <a:pos x="119" y="166"/>
                  </a:cxn>
                  <a:cxn ang="0">
                    <a:pos x="48" y="249"/>
                  </a:cxn>
                  <a:cxn ang="0">
                    <a:pos x="0" y="249"/>
                  </a:cxn>
                  <a:cxn ang="0">
                    <a:pos x="0" y="226"/>
                  </a:cxn>
                  <a:cxn ang="0">
                    <a:pos x="24" y="178"/>
                  </a:cxn>
                  <a:cxn ang="0">
                    <a:pos x="71" y="154"/>
                  </a:cxn>
                  <a:cxn ang="0">
                    <a:pos x="95" y="131"/>
                  </a:cxn>
                  <a:cxn ang="0">
                    <a:pos x="131" y="71"/>
                  </a:cxn>
                  <a:cxn ang="0">
                    <a:pos x="143" y="12"/>
                  </a:cxn>
                  <a:cxn ang="0">
                    <a:pos x="155" y="0"/>
                  </a:cxn>
                </a:cxnLst>
                <a:rect l="0" t="0" r="r" b="b"/>
                <a:pathLst>
                  <a:path w="226" h="249">
                    <a:moveTo>
                      <a:pt x="155" y="0"/>
                    </a:moveTo>
                    <a:lnTo>
                      <a:pt x="178" y="0"/>
                    </a:lnTo>
                    <a:lnTo>
                      <a:pt x="214" y="59"/>
                    </a:lnTo>
                    <a:lnTo>
                      <a:pt x="226" y="83"/>
                    </a:lnTo>
                    <a:lnTo>
                      <a:pt x="214" y="119"/>
                    </a:lnTo>
                    <a:lnTo>
                      <a:pt x="190" y="131"/>
                    </a:lnTo>
                    <a:lnTo>
                      <a:pt x="119" y="166"/>
                    </a:lnTo>
                    <a:lnTo>
                      <a:pt x="48" y="249"/>
                    </a:lnTo>
                    <a:lnTo>
                      <a:pt x="0" y="249"/>
                    </a:lnTo>
                    <a:lnTo>
                      <a:pt x="0" y="226"/>
                    </a:lnTo>
                    <a:lnTo>
                      <a:pt x="24" y="178"/>
                    </a:lnTo>
                    <a:lnTo>
                      <a:pt x="71" y="154"/>
                    </a:lnTo>
                    <a:lnTo>
                      <a:pt x="95" y="131"/>
                    </a:lnTo>
                    <a:lnTo>
                      <a:pt x="131" y="71"/>
                    </a:lnTo>
                    <a:lnTo>
                      <a:pt x="143" y="12"/>
                    </a:lnTo>
                    <a:lnTo>
                      <a:pt x="155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28" name="Freeform 320"/>
              <p:cNvSpPr>
                <a:spLocks/>
              </p:cNvSpPr>
              <p:nvPr/>
            </p:nvSpPr>
            <p:spPr bwMode="auto">
              <a:xfrm>
                <a:off x="33818513" y="2062163"/>
                <a:ext cx="74613" cy="74613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47" y="0"/>
                  </a:cxn>
                  <a:cxn ang="0">
                    <a:pos x="35" y="47"/>
                  </a:cxn>
                  <a:cxn ang="0">
                    <a:pos x="0" y="24"/>
                  </a:cxn>
                  <a:cxn ang="0">
                    <a:pos x="0" y="12"/>
                  </a:cxn>
                  <a:cxn ang="0">
                    <a:pos x="24" y="0"/>
                  </a:cxn>
                  <a:cxn ang="0">
                    <a:pos x="35" y="0"/>
                  </a:cxn>
                </a:cxnLst>
                <a:rect l="0" t="0" r="r" b="b"/>
                <a:pathLst>
                  <a:path w="47" h="47">
                    <a:moveTo>
                      <a:pt x="35" y="0"/>
                    </a:moveTo>
                    <a:lnTo>
                      <a:pt x="47" y="0"/>
                    </a:lnTo>
                    <a:lnTo>
                      <a:pt x="35" y="47"/>
                    </a:lnTo>
                    <a:lnTo>
                      <a:pt x="0" y="24"/>
                    </a:lnTo>
                    <a:lnTo>
                      <a:pt x="0" y="12"/>
                    </a:lnTo>
                    <a:lnTo>
                      <a:pt x="24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29" name="Freeform 322"/>
              <p:cNvSpPr>
                <a:spLocks/>
              </p:cNvSpPr>
              <p:nvPr/>
            </p:nvSpPr>
            <p:spPr bwMode="auto">
              <a:xfrm>
                <a:off x="33440688" y="2627313"/>
                <a:ext cx="227013" cy="320675"/>
              </a:xfrm>
              <a:custGeom>
                <a:avLst/>
                <a:gdLst/>
                <a:ahLst/>
                <a:cxnLst>
                  <a:cxn ang="0">
                    <a:pos x="131" y="0"/>
                  </a:cxn>
                  <a:cxn ang="0">
                    <a:pos x="143" y="96"/>
                  </a:cxn>
                  <a:cxn ang="0">
                    <a:pos x="95" y="202"/>
                  </a:cxn>
                  <a:cxn ang="0">
                    <a:pos x="71" y="202"/>
                  </a:cxn>
                  <a:cxn ang="0">
                    <a:pos x="48" y="155"/>
                  </a:cxn>
                  <a:cxn ang="0">
                    <a:pos x="24" y="131"/>
                  </a:cxn>
                  <a:cxn ang="0">
                    <a:pos x="0" y="107"/>
                  </a:cxn>
                  <a:cxn ang="0">
                    <a:pos x="12" y="72"/>
                  </a:cxn>
                  <a:cxn ang="0">
                    <a:pos x="0" y="48"/>
                  </a:cxn>
                  <a:cxn ang="0">
                    <a:pos x="12" y="36"/>
                  </a:cxn>
                  <a:cxn ang="0">
                    <a:pos x="83" y="12"/>
                  </a:cxn>
                  <a:cxn ang="0">
                    <a:pos x="119" y="0"/>
                  </a:cxn>
                  <a:cxn ang="0">
                    <a:pos x="131" y="0"/>
                  </a:cxn>
                </a:cxnLst>
                <a:rect l="0" t="0" r="r" b="b"/>
                <a:pathLst>
                  <a:path w="143" h="202">
                    <a:moveTo>
                      <a:pt x="131" y="0"/>
                    </a:moveTo>
                    <a:lnTo>
                      <a:pt x="143" y="96"/>
                    </a:lnTo>
                    <a:lnTo>
                      <a:pt x="95" y="202"/>
                    </a:lnTo>
                    <a:lnTo>
                      <a:pt x="71" y="202"/>
                    </a:lnTo>
                    <a:lnTo>
                      <a:pt x="48" y="155"/>
                    </a:lnTo>
                    <a:lnTo>
                      <a:pt x="24" y="131"/>
                    </a:lnTo>
                    <a:lnTo>
                      <a:pt x="0" y="107"/>
                    </a:lnTo>
                    <a:lnTo>
                      <a:pt x="12" y="72"/>
                    </a:lnTo>
                    <a:lnTo>
                      <a:pt x="0" y="48"/>
                    </a:lnTo>
                    <a:lnTo>
                      <a:pt x="12" y="36"/>
                    </a:lnTo>
                    <a:lnTo>
                      <a:pt x="83" y="12"/>
                    </a:lnTo>
                    <a:lnTo>
                      <a:pt x="119" y="0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30" name="Freeform 324"/>
              <p:cNvSpPr>
                <a:spLocks/>
              </p:cNvSpPr>
              <p:nvPr/>
            </p:nvSpPr>
            <p:spPr bwMode="auto">
              <a:xfrm>
                <a:off x="33366075" y="2854325"/>
                <a:ext cx="131763" cy="112713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47" y="12"/>
                  </a:cxn>
                  <a:cxn ang="0">
                    <a:pos x="71" y="24"/>
                  </a:cxn>
                  <a:cxn ang="0">
                    <a:pos x="83" y="36"/>
                  </a:cxn>
                  <a:cxn ang="0">
                    <a:pos x="71" y="59"/>
                  </a:cxn>
                  <a:cxn ang="0">
                    <a:pos x="35" y="71"/>
                  </a:cxn>
                  <a:cxn ang="0">
                    <a:pos x="11" y="59"/>
                  </a:cxn>
                  <a:cxn ang="0">
                    <a:pos x="0" y="36"/>
                  </a:cxn>
                  <a:cxn ang="0">
                    <a:pos x="11" y="0"/>
                  </a:cxn>
                  <a:cxn ang="0">
                    <a:pos x="23" y="0"/>
                  </a:cxn>
                </a:cxnLst>
                <a:rect l="0" t="0" r="r" b="b"/>
                <a:pathLst>
                  <a:path w="83" h="71">
                    <a:moveTo>
                      <a:pt x="23" y="0"/>
                    </a:moveTo>
                    <a:lnTo>
                      <a:pt x="47" y="12"/>
                    </a:lnTo>
                    <a:lnTo>
                      <a:pt x="71" y="24"/>
                    </a:lnTo>
                    <a:lnTo>
                      <a:pt x="83" y="36"/>
                    </a:lnTo>
                    <a:lnTo>
                      <a:pt x="71" y="59"/>
                    </a:lnTo>
                    <a:lnTo>
                      <a:pt x="35" y="71"/>
                    </a:lnTo>
                    <a:lnTo>
                      <a:pt x="11" y="59"/>
                    </a:lnTo>
                    <a:lnTo>
                      <a:pt x="0" y="36"/>
                    </a:lnTo>
                    <a:lnTo>
                      <a:pt x="11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31" name="Freeform 326"/>
              <p:cNvSpPr>
                <a:spLocks/>
              </p:cNvSpPr>
              <p:nvPr/>
            </p:nvSpPr>
            <p:spPr bwMode="auto">
              <a:xfrm>
                <a:off x="33553400" y="3005138"/>
                <a:ext cx="114300" cy="1698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" y="12"/>
                  </a:cxn>
                  <a:cxn ang="0">
                    <a:pos x="60" y="48"/>
                  </a:cxn>
                  <a:cxn ang="0">
                    <a:pos x="72" y="95"/>
                  </a:cxn>
                  <a:cxn ang="0">
                    <a:pos x="48" y="107"/>
                  </a:cxn>
                  <a:cxn ang="0">
                    <a:pos x="24" y="107"/>
                  </a:cxn>
                  <a:cxn ang="0">
                    <a:pos x="0" y="71"/>
                  </a:cxn>
                  <a:cxn ang="0">
                    <a:pos x="0" y="48"/>
                  </a:cxn>
                  <a:cxn ang="0">
                    <a:pos x="0" y="0"/>
                  </a:cxn>
                </a:cxnLst>
                <a:rect l="0" t="0" r="r" b="b"/>
                <a:pathLst>
                  <a:path w="72" h="107">
                    <a:moveTo>
                      <a:pt x="0" y="0"/>
                    </a:moveTo>
                    <a:lnTo>
                      <a:pt x="24" y="12"/>
                    </a:lnTo>
                    <a:lnTo>
                      <a:pt x="60" y="48"/>
                    </a:lnTo>
                    <a:lnTo>
                      <a:pt x="72" y="95"/>
                    </a:lnTo>
                    <a:lnTo>
                      <a:pt x="48" y="107"/>
                    </a:lnTo>
                    <a:lnTo>
                      <a:pt x="24" y="107"/>
                    </a:lnTo>
                    <a:lnTo>
                      <a:pt x="0" y="71"/>
                    </a:ln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</p:grpSp>
        <p:sp>
          <p:nvSpPr>
            <p:cNvPr id="23" name="Freeform 328"/>
            <p:cNvSpPr>
              <a:spLocks/>
            </p:cNvSpPr>
            <p:nvPr/>
          </p:nvSpPr>
          <p:spPr bwMode="auto">
            <a:xfrm>
              <a:off x="11255375" y="-13709650"/>
              <a:ext cx="10036175" cy="15752763"/>
            </a:xfrm>
            <a:custGeom>
              <a:avLst/>
              <a:gdLst/>
              <a:ahLst/>
              <a:cxnLst>
                <a:cxn ang="0">
                  <a:pos x="784" y="8770"/>
                </a:cxn>
                <a:cxn ang="0">
                  <a:pos x="820" y="9079"/>
                </a:cxn>
                <a:cxn ang="0">
                  <a:pos x="1366" y="9388"/>
                </a:cxn>
                <a:cxn ang="0">
                  <a:pos x="2115" y="9222"/>
                </a:cxn>
                <a:cxn ang="0">
                  <a:pos x="2472" y="9258"/>
                </a:cxn>
                <a:cxn ang="0">
                  <a:pos x="2697" y="9341"/>
                </a:cxn>
                <a:cxn ang="0">
                  <a:pos x="2876" y="9685"/>
                </a:cxn>
                <a:cxn ang="0">
                  <a:pos x="3030" y="9697"/>
                </a:cxn>
                <a:cxn ang="0">
                  <a:pos x="3446" y="9697"/>
                </a:cxn>
                <a:cxn ang="0">
                  <a:pos x="3945" y="9887"/>
                </a:cxn>
                <a:cxn ang="0">
                  <a:pos x="3969" y="9626"/>
                </a:cxn>
                <a:cxn ang="0">
                  <a:pos x="4195" y="9697"/>
                </a:cxn>
                <a:cxn ang="0">
                  <a:pos x="4563" y="9626"/>
                </a:cxn>
                <a:cxn ang="0">
                  <a:pos x="5086" y="9353"/>
                </a:cxn>
                <a:cxn ang="0">
                  <a:pos x="5454" y="9269"/>
                </a:cxn>
                <a:cxn ang="0">
                  <a:pos x="5466" y="8592"/>
                </a:cxn>
                <a:cxn ang="0">
                  <a:pos x="5704" y="8152"/>
                </a:cxn>
                <a:cxn ang="0">
                  <a:pos x="5561" y="7796"/>
                </a:cxn>
                <a:cxn ang="0">
                  <a:pos x="5656" y="7725"/>
                </a:cxn>
                <a:cxn ang="0">
                  <a:pos x="5205" y="7368"/>
                </a:cxn>
                <a:cxn ang="0">
                  <a:pos x="5466" y="6988"/>
                </a:cxn>
                <a:cxn ang="0">
                  <a:pos x="5775" y="6619"/>
                </a:cxn>
                <a:cxn ang="0">
                  <a:pos x="6156" y="6310"/>
                </a:cxn>
                <a:cxn ang="0">
                  <a:pos x="6239" y="6156"/>
                </a:cxn>
                <a:cxn ang="0">
                  <a:pos x="5918" y="6144"/>
                </a:cxn>
                <a:cxn ang="0">
                  <a:pos x="5490" y="5966"/>
                </a:cxn>
                <a:cxn ang="0">
                  <a:pos x="5526" y="5645"/>
                </a:cxn>
                <a:cxn ang="0">
                  <a:pos x="5205" y="5455"/>
                </a:cxn>
                <a:cxn ang="0">
                  <a:pos x="5062" y="5063"/>
                </a:cxn>
                <a:cxn ang="0">
                  <a:pos x="4765" y="4623"/>
                </a:cxn>
                <a:cxn ang="0">
                  <a:pos x="5086" y="3910"/>
                </a:cxn>
                <a:cxn ang="0">
                  <a:pos x="5442" y="3518"/>
                </a:cxn>
                <a:cxn ang="0">
                  <a:pos x="5134" y="3351"/>
                </a:cxn>
                <a:cxn ang="0">
                  <a:pos x="4706" y="3423"/>
                </a:cxn>
                <a:cxn ang="0">
                  <a:pos x="4409" y="2995"/>
                </a:cxn>
                <a:cxn ang="0">
                  <a:pos x="4171" y="2733"/>
                </a:cxn>
                <a:cxn ang="0">
                  <a:pos x="4076" y="2531"/>
                </a:cxn>
                <a:cxn ang="0">
                  <a:pos x="4242" y="1949"/>
                </a:cxn>
                <a:cxn ang="0">
                  <a:pos x="4349" y="844"/>
                </a:cxn>
                <a:cxn ang="0">
                  <a:pos x="3862" y="238"/>
                </a:cxn>
                <a:cxn ang="0">
                  <a:pos x="3268" y="0"/>
                </a:cxn>
                <a:cxn ang="0">
                  <a:pos x="2840" y="214"/>
                </a:cxn>
                <a:cxn ang="0">
                  <a:pos x="3327" y="404"/>
                </a:cxn>
                <a:cxn ang="0">
                  <a:pos x="3398" y="856"/>
                </a:cxn>
                <a:cxn ang="0">
                  <a:pos x="3292" y="1117"/>
                </a:cxn>
                <a:cxn ang="0">
                  <a:pos x="3042" y="1402"/>
                </a:cxn>
                <a:cxn ang="0">
                  <a:pos x="2626" y="1830"/>
                </a:cxn>
                <a:cxn ang="0">
                  <a:pos x="2234" y="2234"/>
                </a:cxn>
                <a:cxn ang="0">
                  <a:pos x="2079" y="2959"/>
                </a:cxn>
                <a:cxn ang="0">
                  <a:pos x="2246" y="3339"/>
                </a:cxn>
                <a:cxn ang="0">
                  <a:pos x="1984" y="3934"/>
                </a:cxn>
                <a:cxn ang="0">
                  <a:pos x="1461" y="4575"/>
                </a:cxn>
                <a:cxn ang="0">
                  <a:pos x="1129" y="5086"/>
                </a:cxn>
                <a:cxn ang="0">
                  <a:pos x="0" y="5514"/>
                </a:cxn>
                <a:cxn ang="0">
                  <a:pos x="725" y="6108"/>
                </a:cxn>
                <a:cxn ang="0">
                  <a:pos x="487" y="6560"/>
                </a:cxn>
                <a:cxn ang="0">
                  <a:pos x="344" y="7297"/>
                </a:cxn>
                <a:cxn ang="0">
                  <a:pos x="416" y="7986"/>
                </a:cxn>
                <a:cxn ang="0">
                  <a:pos x="392" y="8402"/>
                </a:cxn>
                <a:cxn ang="0">
                  <a:pos x="356" y="8818"/>
                </a:cxn>
                <a:cxn ang="0">
                  <a:pos x="404" y="9091"/>
                </a:cxn>
              </a:cxnLst>
              <a:rect l="0" t="0" r="r" b="b"/>
              <a:pathLst>
                <a:path w="6322" h="9923">
                  <a:moveTo>
                    <a:pt x="534" y="9186"/>
                  </a:moveTo>
                  <a:lnTo>
                    <a:pt x="534" y="9186"/>
                  </a:lnTo>
                  <a:lnTo>
                    <a:pt x="570" y="9056"/>
                  </a:lnTo>
                  <a:lnTo>
                    <a:pt x="606" y="8996"/>
                  </a:lnTo>
                  <a:lnTo>
                    <a:pt x="618" y="8949"/>
                  </a:lnTo>
                  <a:lnTo>
                    <a:pt x="665" y="8901"/>
                  </a:lnTo>
                  <a:lnTo>
                    <a:pt x="689" y="8842"/>
                  </a:lnTo>
                  <a:lnTo>
                    <a:pt x="725" y="8794"/>
                  </a:lnTo>
                  <a:lnTo>
                    <a:pt x="784" y="8770"/>
                  </a:lnTo>
                  <a:lnTo>
                    <a:pt x="939" y="8616"/>
                  </a:lnTo>
                  <a:lnTo>
                    <a:pt x="962" y="8616"/>
                  </a:lnTo>
                  <a:lnTo>
                    <a:pt x="939" y="8687"/>
                  </a:lnTo>
                  <a:lnTo>
                    <a:pt x="903" y="8758"/>
                  </a:lnTo>
                  <a:lnTo>
                    <a:pt x="903" y="8842"/>
                  </a:lnTo>
                  <a:lnTo>
                    <a:pt x="879" y="8889"/>
                  </a:lnTo>
                  <a:lnTo>
                    <a:pt x="867" y="8960"/>
                  </a:lnTo>
                  <a:lnTo>
                    <a:pt x="843" y="8984"/>
                  </a:lnTo>
                  <a:lnTo>
                    <a:pt x="820" y="9079"/>
                  </a:lnTo>
                  <a:lnTo>
                    <a:pt x="832" y="9115"/>
                  </a:lnTo>
                  <a:lnTo>
                    <a:pt x="867" y="9162"/>
                  </a:lnTo>
                  <a:lnTo>
                    <a:pt x="950" y="9174"/>
                  </a:lnTo>
                  <a:lnTo>
                    <a:pt x="1022" y="9222"/>
                  </a:lnTo>
                  <a:lnTo>
                    <a:pt x="1081" y="9222"/>
                  </a:lnTo>
                  <a:lnTo>
                    <a:pt x="1164" y="9258"/>
                  </a:lnTo>
                  <a:lnTo>
                    <a:pt x="1224" y="9269"/>
                  </a:lnTo>
                  <a:lnTo>
                    <a:pt x="1331" y="9353"/>
                  </a:lnTo>
                  <a:lnTo>
                    <a:pt x="1366" y="9388"/>
                  </a:lnTo>
                  <a:lnTo>
                    <a:pt x="1438" y="9400"/>
                  </a:lnTo>
                  <a:lnTo>
                    <a:pt x="1580" y="9495"/>
                  </a:lnTo>
                  <a:lnTo>
                    <a:pt x="1675" y="9531"/>
                  </a:lnTo>
                  <a:lnTo>
                    <a:pt x="1747" y="9590"/>
                  </a:lnTo>
                  <a:lnTo>
                    <a:pt x="1925" y="9673"/>
                  </a:lnTo>
                  <a:lnTo>
                    <a:pt x="1925" y="9507"/>
                  </a:lnTo>
                  <a:lnTo>
                    <a:pt x="2008" y="9317"/>
                  </a:lnTo>
                  <a:lnTo>
                    <a:pt x="2044" y="9210"/>
                  </a:lnTo>
                  <a:lnTo>
                    <a:pt x="2115" y="9222"/>
                  </a:lnTo>
                  <a:lnTo>
                    <a:pt x="2174" y="9186"/>
                  </a:lnTo>
                  <a:lnTo>
                    <a:pt x="2198" y="9174"/>
                  </a:lnTo>
                  <a:lnTo>
                    <a:pt x="2258" y="9198"/>
                  </a:lnTo>
                  <a:lnTo>
                    <a:pt x="2281" y="9234"/>
                  </a:lnTo>
                  <a:lnTo>
                    <a:pt x="2329" y="9281"/>
                  </a:lnTo>
                  <a:lnTo>
                    <a:pt x="2376" y="9305"/>
                  </a:lnTo>
                  <a:lnTo>
                    <a:pt x="2388" y="9305"/>
                  </a:lnTo>
                  <a:lnTo>
                    <a:pt x="2448" y="9281"/>
                  </a:lnTo>
                  <a:lnTo>
                    <a:pt x="2472" y="9258"/>
                  </a:lnTo>
                  <a:lnTo>
                    <a:pt x="2472" y="9210"/>
                  </a:lnTo>
                  <a:lnTo>
                    <a:pt x="2495" y="9162"/>
                  </a:lnTo>
                  <a:lnTo>
                    <a:pt x="2495" y="9162"/>
                  </a:lnTo>
                  <a:lnTo>
                    <a:pt x="2519" y="9103"/>
                  </a:lnTo>
                  <a:lnTo>
                    <a:pt x="2531" y="9091"/>
                  </a:lnTo>
                  <a:lnTo>
                    <a:pt x="2543" y="9162"/>
                  </a:lnTo>
                  <a:lnTo>
                    <a:pt x="2578" y="9222"/>
                  </a:lnTo>
                  <a:lnTo>
                    <a:pt x="2650" y="9269"/>
                  </a:lnTo>
                  <a:lnTo>
                    <a:pt x="2697" y="9341"/>
                  </a:lnTo>
                  <a:lnTo>
                    <a:pt x="2781" y="9388"/>
                  </a:lnTo>
                  <a:lnTo>
                    <a:pt x="2816" y="9436"/>
                  </a:lnTo>
                  <a:lnTo>
                    <a:pt x="2828" y="9483"/>
                  </a:lnTo>
                  <a:lnTo>
                    <a:pt x="2804" y="9578"/>
                  </a:lnTo>
                  <a:lnTo>
                    <a:pt x="2804" y="9685"/>
                  </a:lnTo>
                  <a:lnTo>
                    <a:pt x="2816" y="9721"/>
                  </a:lnTo>
                  <a:lnTo>
                    <a:pt x="2816" y="9745"/>
                  </a:lnTo>
                  <a:lnTo>
                    <a:pt x="2852" y="9745"/>
                  </a:lnTo>
                  <a:lnTo>
                    <a:pt x="2876" y="9685"/>
                  </a:lnTo>
                  <a:lnTo>
                    <a:pt x="2876" y="9638"/>
                  </a:lnTo>
                  <a:lnTo>
                    <a:pt x="2923" y="9555"/>
                  </a:lnTo>
                  <a:lnTo>
                    <a:pt x="2947" y="9555"/>
                  </a:lnTo>
                  <a:lnTo>
                    <a:pt x="2959" y="9567"/>
                  </a:lnTo>
                  <a:lnTo>
                    <a:pt x="2971" y="9578"/>
                  </a:lnTo>
                  <a:lnTo>
                    <a:pt x="2959" y="9673"/>
                  </a:lnTo>
                  <a:lnTo>
                    <a:pt x="2971" y="9697"/>
                  </a:lnTo>
                  <a:lnTo>
                    <a:pt x="3006" y="9697"/>
                  </a:lnTo>
                  <a:lnTo>
                    <a:pt x="3030" y="9697"/>
                  </a:lnTo>
                  <a:lnTo>
                    <a:pt x="3078" y="9662"/>
                  </a:lnTo>
                  <a:lnTo>
                    <a:pt x="3161" y="9650"/>
                  </a:lnTo>
                  <a:lnTo>
                    <a:pt x="3232" y="9578"/>
                  </a:lnTo>
                  <a:lnTo>
                    <a:pt x="3339" y="9531"/>
                  </a:lnTo>
                  <a:lnTo>
                    <a:pt x="3315" y="9626"/>
                  </a:lnTo>
                  <a:lnTo>
                    <a:pt x="3315" y="9721"/>
                  </a:lnTo>
                  <a:lnTo>
                    <a:pt x="3339" y="9733"/>
                  </a:lnTo>
                  <a:lnTo>
                    <a:pt x="3375" y="9733"/>
                  </a:lnTo>
                  <a:lnTo>
                    <a:pt x="3446" y="9697"/>
                  </a:lnTo>
                  <a:lnTo>
                    <a:pt x="3482" y="9697"/>
                  </a:lnTo>
                  <a:lnTo>
                    <a:pt x="3553" y="9733"/>
                  </a:lnTo>
                  <a:lnTo>
                    <a:pt x="3636" y="9745"/>
                  </a:lnTo>
                  <a:lnTo>
                    <a:pt x="3696" y="9780"/>
                  </a:lnTo>
                  <a:lnTo>
                    <a:pt x="3767" y="9792"/>
                  </a:lnTo>
                  <a:lnTo>
                    <a:pt x="3779" y="9804"/>
                  </a:lnTo>
                  <a:lnTo>
                    <a:pt x="3838" y="9804"/>
                  </a:lnTo>
                  <a:lnTo>
                    <a:pt x="3921" y="9864"/>
                  </a:lnTo>
                  <a:lnTo>
                    <a:pt x="3945" y="9887"/>
                  </a:lnTo>
                  <a:lnTo>
                    <a:pt x="3981" y="9923"/>
                  </a:lnTo>
                  <a:lnTo>
                    <a:pt x="3993" y="9923"/>
                  </a:lnTo>
                  <a:lnTo>
                    <a:pt x="4005" y="9887"/>
                  </a:lnTo>
                  <a:lnTo>
                    <a:pt x="4005" y="9852"/>
                  </a:lnTo>
                  <a:lnTo>
                    <a:pt x="3993" y="9769"/>
                  </a:lnTo>
                  <a:lnTo>
                    <a:pt x="3993" y="9757"/>
                  </a:lnTo>
                  <a:lnTo>
                    <a:pt x="3993" y="9745"/>
                  </a:lnTo>
                  <a:lnTo>
                    <a:pt x="4016" y="9709"/>
                  </a:lnTo>
                  <a:lnTo>
                    <a:pt x="3969" y="9626"/>
                  </a:lnTo>
                  <a:lnTo>
                    <a:pt x="3981" y="9567"/>
                  </a:lnTo>
                  <a:lnTo>
                    <a:pt x="3969" y="9519"/>
                  </a:lnTo>
                  <a:lnTo>
                    <a:pt x="4040" y="9543"/>
                  </a:lnTo>
                  <a:lnTo>
                    <a:pt x="4052" y="9555"/>
                  </a:lnTo>
                  <a:lnTo>
                    <a:pt x="4052" y="9590"/>
                  </a:lnTo>
                  <a:lnTo>
                    <a:pt x="4064" y="9614"/>
                  </a:lnTo>
                  <a:lnTo>
                    <a:pt x="4135" y="9626"/>
                  </a:lnTo>
                  <a:lnTo>
                    <a:pt x="4159" y="9650"/>
                  </a:lnTo>
                  <a:lnTo>
                    <a:pt x="4195" y="9697"/>
                  </a:lnTo>
                  <a:lnTo>
                    <a:pt x="4207" y="9721"/>
                  </a:lnTo>
                  <a:lnTo>
                    <a:pt x="4242" y="9721"/>
                  </a:lnTo>
                  <a:lnTo>
                    <a:pt x="4278" y="9697"/>
                  </a:lnTo>
                  <a:lnTo>
                    <a:pt x="4325" y="9662"/>
                  </a:lnTo>
                  <a:lnTo>
                    <a:pt x="4444" y="9650"/>
                  </a:lnTo>
                  <a:lnTo>
                    <a:pt x="4504" y="9602"/>
                  </a:lnTo>
                  <a:lnTo>
                    <a:pt x="4527" y="9602"/>
                  </a:lnTo>
                  <a:lnTo>
                    <a:pt x="4539" y="9626"/>
                  </a:lnTo>
                  <a:lnTo>
                    <a:pt x="4563" y="9626"/>
                  </a:lnTo>
                  <a:lnTo>
                    <a:pt x="4611" y="9567"/>
                  </a:lnTo>
                  <a:lnTo>
                    <a:pt x="4765" y="9519"/>
                  </a:lnTo>
                  <a:lnTo>
                    <a:pt x="4836" y="9460"/>
                  </a:lnTo>
                  <a:lnTo>
                    <a:pt x="4872" y="9436"/>
                  </a:lnTo>
                  <a:lnTo>
                    <a:pt x="4896" y="9448"/>
                  </a:lnTo>
                  <a:lnTo>
                    <a:pt x="4920" y="9448"/>
                  </a:lnTo>
                  <a:lnTo>
                    <a:pt x="4967" y="9448"/>
                  </a:lnTo>
                  <a:lnTo>
                    <a:pt x="5003" y="9412"/>
                  </a:lnTo>
                  <a:lnTo>
                    <a:pt x="5086" y="9353"/>
                  </a:lnTo>
                  <a:lnTo>
                    <a:pt x="5157" y="9341"/>
                  </a:lnTo>
                  <a:lnTo>
                    <a:pt x="5205" y="9353"/>
                  </a:lnTo>
                  <a:lnTo>
                    <a:pt x="5217" y="9353"/>
                  </a:lnTo>
                  <a:lnTo>
                    <a:pt x="5264" y="9376"/>
                  </a:lnTo>
                  <a:lnTo>
                    <a:pt x="5324" y="9376"/>
                  </a:lnTo>
                  <a:lnTo>
                    <a:pt x="5359" y="9365"/>
                  </a:lnTo>
                  <a:lnTo>
                    <a:pt x="5407" y="9293"/>
                  </a:lnTo>
                  <a:lnTo>
                    <a:pt x="5419" y="9281"/>
                  </a:lnTo>
                  <a:lnTo>
                    <a:pt x="5454" y="9269"/>
                  </a:lnTo>
                  <a:lnTo>
                    <a:pt x="5526" y="9269"/>
                  </a:lnTo>
                  <a:lnTo>
                    <a:pt x="5526" y="9269"/>
                  </a:lnTo>
                  <a:lnTo>
                    <a:pt x="5526" y="9056"/>
                  </a:lnTo>
                  <a:lnTo>
                    <a:pt x="5538" y="8972"/>
                  </a:lnTo>
                  <a:lnTo>
                    <a:pt x="5609" y="8818"/>
                  </a:lnTo>
                  <a:lnTo>
                    <a:pt x="5597" y="8770"/>
                  </a:lnTo>
                  <a:lnTo>
                    <a:pt x="5502" y="8687"/>
                  </a:lnTo>
                  <a:lnTo>
                    <a:pt x="5478" y="8640"/>
                  </a:lnTo>
                  <a:lnTo>
                    <a:pt x="5466" y="8592"/>
                  </a:lnTo>
                  <a:lnTo>
                    <a:pt x="5442" y="8402"/>
                  </a:lnTo>
                  <a:lnTo>
                    <a:pt x="5431" y="8366"/>
                  </a:lnTo>
                  <a:lnTo>
                    <a:pt x="5419" y="8342"/>
                  </a:lnTo>
                  <a:lnTo>
                    <a:pt x="5442" y="8283"/>
                  </a:lnTo>
                  <a:lnTo>
                    <a:pt x="5478" y="8224"/>
                  </a:lnTo>
                  <a:lnTo>
                    <a:pt x="5549" y="8200"/>
                  </a:lnTo>
                  <a:lnTo>
                    <a:pt x="5656" y="8188"/>
                  </a:lnTo>
                  <a:lnTo>
                    <a:pt x="5692" y="8164"/>
                  </a:lnTo>
                  <a:lnTo>
                    <a:pt x="5704" y="8152"/>
                  </a:lnTo>
                  <a:lnTo>
                    <a:pt x="5668" y="8117"/>
                  </a:lnTo>
                  <a:lnTo>
                    <a:pt x="5514" y="8117"/>
                  </a:lnTo>
                  <a:lnTo>
                    <a:pt x="5478" y="8093"/>
                  </a:lnTo>
                  <a:lnTo>
                    <a:pt x="5478" y="8022"/>
                  </a:lnTo>
                  <a:lnTo>
                    <a:pt x="5502" y="7962"/>
                  </a:lnTo>
                  <a:lnTo>
                    <a:pt x="5573" y="7867"/>
                  </a:lnTo>
                  <a:lnTo>
                    <a:pt x="5561" y="7867"/>
                  </a:lnTo>
                  <a:lnTo>
                    <a:pt x="5561" y="7820"/>
                  </a:lnTo>
                  <a:lnTo>
                    <a:pt x="5561" y="7796"/>
                  </a:lnTo>
                  <a:lnTo>
                    <a:pt x="5597" y="7796"/>
                  </a:lnTo>
                  <a:lnTo>
                    <a:pt x="5621" y="7820"/>
                  </a:lnTo>
                  <a:lnTo>
                    <a:pt x="5656" y="7843"/>
                  </a:lnTo>
                  <a:lnTo>
                    <a:pt x="5692" y="7831"/>
                  </a:lnTo>
                  <a:lnTo>
                    <a:pt x="5728" y="7820"/>
                  </a:lnTo>
                  <a:lnTo>
                    <a:pt x="5751" y="7796"/>
                  </a:lnTo>
                  <a:lnTo>
                    <a:pt x="5751" y="7772"/>
                  </a:lnTo>
                  <a:lnTo>
                    <a:pt x="5728" y="7748"/>
                  </a:lnTo>
                  <a:lnTo>
                    <a:pt x="5656" y="7725"/>
                  </a:lnTo>
                  <a:lnTo>
                    <a:pt x="5538" y="7677"/>
                  </a:lnTo>
                  <a:lnTo>
                    <a:pt x="5431" y="7665"/>
                  </a:lnTo>
                  <a:lnTo>
                    <a:pt x="5371" y="7641"/>
                  </a:lnTo>
                  <a:lnTo>
                    <a:pt x="5347" y="7606"/>
                  </a:lnTo>
                  <a:lnTo>
                    <a:pt x="5324" y="7534"/>
                  </a:lnTo>
                  <a:lnTo>
                    <a:pt x="5276" y="7511"/>
                  </a:lnTo>
                  <a:lnTo>
                    <a:pt x="5217" y="7463"/>
                  </a:lnTo>
                  <a:lnTo>
                    <a:pt x="5205" y="7416"/>
                  </a:lnTo>
                  <a:lnTo>
                    <a:pt x="5205" y="7368"/>
                  </a:lnTo>
                  <a:lnTo>
                    <a:pt x="5205" y="7344"/>
                  </a:lnTo>
                  <a:lnTo>
                    <a:pt x="5229" y="7285"/>
                  </a:lnTo>
                  <a:lnTo>
                    <a:pt x="5300" y="7237"/>
                  </a:lnTo>
                  <a:lnTo>
                    <a:pt x="5336" y="7190"/>
                  </a:lnTo>
                  <a:lnTo>
                    <a:pt x="5300" y="7130"/>
                  </a:lnTo>
                  <a:lnTo>
                    <a:pt x="5300" y="7107"/>
                  </a:lnTo>
                  <a:lnTo>
                    <a:pt x="5324" y="7071"/>
                  </a:lnTo>
                  <a:lnTo>
                    <a:pt x="5419" y="7035"/>
                  </a:lnTo>
                  <a:lnTo>
                    <a:pt x="5466" y="6988"/>
                  </a:lnTo>
                  <a:lnTo>
                    <a:pt x="5538" y="6964"/>
                  </a:lnTo>
                  <a:lnTo>
                    <a:pt x="5573" y="6928"/>
                  </a:lnTo>
                  <a:lnTo>
                    <a:pt x="5585" y="6833"/>
                  </a:lnTo>
                  <a:lnTo>
                    <a:pt x="5597" y="6821"/>
                  </a:lnTo>
                  <a:lnTo>
                    <a:pt x="5597" y="6809"/>
                  </a:lnTo>
                  <a:lnTo>
                    <a:pt x="5692" y="6691"/>
                  </a:lnTo>
                  <a:lnTo>
                    <a:pt x="5704" y="6679"/>
                  </a:lnTo>
                  <a:lnTo>
                    <a:pt x="5740" y="6643"/>
                  </a:lnTo>
                  <a:lnTo>
                    <a:pt x="5775" y="6619"/>
                  </a:lnTo>
                  <a:lnTo>
                    <a:pt x="5775" y="6607"/>
                  </a:lnTo>
                  <a:lnTo>
                    <a:pt x="5787" y="6607"/>
                  </a:lnTo>
                  <a:lnTo>
                    <a:pt x="5906" y="6548"/>
                  </a:lnTo>
                  <a:lnTo>
                    <a:pt x="5954" y="6536"/>
                  </a:lnTo>
                  <a:lnTo>
                    <a:pt x="6025" y="6465"/>
                  </a:lnTo>
                  <a:lnTo>
                    <a:pt x="6072" y="6441"/>
                  </a:lnTo>
                  <a:lnTo>
                    <a:pt x="6120" y="6429"/>
                  </a:lnTo>
                  <a:lnTo>
                    <a:pt x="6132" y="6405"/>
                  </a:lnTo>
                  <a:lnTo>
                    <a:pt x="6156" y="6310"/>
                  </a:lnTo>
                  <a:lnTo>
                    <a:pt x="6167" y="6298"/>
                  </a:lnTo>
                  <a:lnTo>
                    <a:pt x="6262" y="6263"/>
                  </a:lnTo>
                  <a:lnTo>
                    <a:pt x="6298" y="6215"/>
                  </a:lnTo>
                  <a:lnTo>
                    <a:pt x="6310" y="6132"/>
                  </a:lnTo>
                  <a:lnTo>
                    <a:pt x="6298" y="6085"/>
                  </a:lnTo>
                  <a:lnTo>
                    <a:pt x="6298" y="6085"/>
                  </a:lnTo>
                  <a:lnTo>
                    <a:pt x="6322" y="6061"/>
                  </a:lnTo>
                  <a:lnTo>
                    <a:pt x="6262" y="6132"/>
                  </a:lnTo>
                  <a:lnTo>
                    <a:pt x="6239" y="6156"/>
                  </a:lnTo>
                  <a:lnTo>
                    <a:pt x="6167" y="6156"/>
                  </a:lnTo>
                  <a:lnTo>
                    <a:pt x="6144" y="6156"/>
                  </a:lnTo>
                  <a:lnTo>
                    <a:pt x="6120" y="6144"/>
                  </a:lnTo>
                  <a:lnTo>
                    <a:pt x="6060" y="6144"/>
                  </a:lnTo>
                  <a:lnTo>
                    <a:pt x="6049" y="6156"/>
                  </a:lnTo>
                  <a:lnTo>
                    <a:pt x="6025" y="6168"/>
                  </a:lnTo>
                  <a:lnTo>
                    <a:pt x="5989" y="6168"/>
                  </a:lnTo>
                  <a:lnTo>
                    <a:pt x="5942" y="6168"/>
                  </a:lnTo>
                  <a:lnTo>
                    <a:pt x="5918" y="6144"/>
                  </a:lnTo>
                  <a:lnTo>
                    <a:pt x="5918" y="6144"/>
                  </a:lnTo>
                  <a:lnTo>
                    <a:pt x="5894" y="6120"/>
                  </a:lnTo>
                  <a:lnTo>
                    <a:pt x="5870" y="6120"/>
                  </a:lnTo>
                  <a:lnTo>
                    <a:pt x="5680" y="6049"/>
                  </a:lnTo>
                  <a:lnTo>
                    <a:pt x="5597" y="6073"/>
                  </a:lnTo>
                  <a:lnTo>
                    <a:pt x="5561" y="6073"/>
                  </a:lnTo>
                  <a:lnTo>
                    <a:pt x="5538" y="6049"/>
                  </a:lnTo>
                  <a:lnTo>
                    <a:pt x="5526" y="6001"/>
                  </a:lnTo>
                  <a:lnTo>
                    <a:pt x="5490" y="5966"/>
                  </a:lnTo>
                  <a:lnTo>
                    <a:pt x="5478" y="5954"/>
                  </a:lnTo>
                  <a:lnTo>
                    <a:pt x="5478" y="5918"/>
                  </a:lnTo>
                  <a:lnTo>
                    <a:pt x="5431" y="5871"/>
                  </a:lnTo>
                  <a:lnTo>
                    <a:pt x="5407" y="5811"/>
                  </a:lnTo>
                  <a:lnTo>
                    <a:pt x="5407" y="5776"/>
                  </a:lnTo>
                  <a:lnTo>
                    <a:pt x="5431" y="5752"/>
                  </a:lnTo>
                  <a:lnTo>
                    <a:pt x="5502" y="5692"/>
                  </a:lnTo>
                  <a:lnTo>
                    <a:pt x="5526" y="5657"/>
                  </a:lnTo>
                  <a:lnTo>
                    <a:pt x="5526" y="5645"/>
                  </a:lnTo>
                  <a:lnTo>
                    <a:pt x="5514" y="5585"/>
                  </a:lnTo>
                  <a:lnTo>
                    <a:pt x="5478" y="5621"/>
                  </a:lnTo>
                  <a:lnTo>
                    <a:pt x="5383" y="5621"/>
                  </a:lnTo>
                  <a:lnTo>
                    <a:pt x="5359" y="5609"/>
                  </a:lnTo>
                  <a:lnTo>
                    <a:pt x="5347" y="5597"/>
                  </a:lnTo>
                  <a:lnTo>
                    <a:pt x="5324" y="5538"/>
                  </a:lnTo>
                  <a:lnTo>
                    <a:pt x="5217" y="5538"/>
                  </a:lnTo>
                  <a:lnTo>
                    <a:pt x="5193" y="5502"/>
                  </a:lnTo>
                  <a:lnTo>
                    <a:pt x="5205" y="5455"/>
                  </a:lnTo>
                  <a:lnTo>
                    <a:pt x="5300" y="5348"/>
                  </a:lnTo>
                  <a:lnTo>
                    <a:pt x="5324" y="5288"/>
                  </a:lnTo>
                  <a:lnTo>
                    <a:pt x="5312" y="5241"/>
                  </a:lnTo>
                  <a:lnTo>
                    <a:pt x="5276" y="5181"/>
                  </a:lnTo>
                  <a:lnTo>
                    <a:pt x="5181" y="5122"/>
                  </a:lnTo>
                  <a:lnTo>
                    <a:pt x="5122" y="5158"/>
                  </a:lnTo>
                  <a:lnTo>
                    <a:pt x="5098" y="5146"/>
                  </a:lnTo>
                  <a:lnTo>
                    <a:pt x="5086" y="5122"/>
                  </a:lnTo>
                  <a:lnTo>
                    <a:pt x="5062" y="5063"/>
                  </a:lnTo>
                  <a:lnTo>
                    <a:pt x="5027" y="5051"/>
                  </a:lnTo>
                  <a:lnTo>
                    <a:pt x="5003" y="5015"/>
                  </a:lnTo>
                  <a:lnTo>
                    <a:pt x="5015" y="4896"/>
                  </a:lnTo>
                  <a:lnTo>
                    <a:pt x="5003" y="4872"/>
                  </a:lnTo>
                  <a:lnTo>
                    <a:pt x="4979" y="4849"/>
                  </a:lnTo>
                  <a:lnTo>
                    <a:pt x="4896" y="4742"/>
                  </a:lnTo>
                  <a:lnTo>
                    <a:pt x="4825" y="4706"/>
                  </a:lnTo>
                  <a:lnTo>
                    <a:pt x="4801" y="4694"/>
                  </a:lnTo>
                  <a:lnTo>
                    <a:pt x="4765" y="4623"/>
                  </a:lnTo>
                  <a:lnTo>
                    <a:pt x="4825" y="4540"/>
                  </a:lnTo>
                  <a:lnTo>
                    <a:pt x="4920" y="4456"/>
                  </a:lnTo>
                  <a:lnTo>
                    <a:pt x="4931" y="4421"/>
                  </a:lnTo>
                  <a:lnTo>
                    <a:pt x="4920" y="4361"/>
                  </a:lnTo>
                  <a:lnTo>
                    <a:pt x="4920" y="4338"/>
                  </a:lnTo>
                  <a:lnTo>
                    <a:pt x="4967" y="4302"/>
                  </a:lnTo>
                  <a:lnTo>
                    <a:pt x="4967" y="4207"/>
                  </a:lnTo>
                  <a:lnTo>
                    <a:pt x="5027" y="4112"/>
                  </a:lnTo>
                  <a:lnTo>
                    <a:pt x="5086" y="3910"/>
                  </a:lnTo>
                  <a:lnTo>
                    <a:pt x="5134" y="3850"/>
                  </a:lnTo>
                  <a:lnTo>
                    <a:pt x="5145" y="3827"/>
                  </a:lnTo>
                  <a:lnTo>
                    <a:pt x="5264" y="3815"/>
                  </a:lnTo>
                  <a:lnTo>
                    <a:pt x="5324" y="3803"/>
                  </a:lnTo>
                  <a:lnTo>
                    <a:pt x="5347" y="3803"/>
                  </a:lnTo>
                  <a:lnTo>
                    <a:pt x="5395" y="3743"/>
                  </a:lnTo>
                  <a:lnTo>
                    <a:pt x="5407" y="3708"/>
                  </a:lnTo>
                  <a:lnTo>
                    <a:pt x="5395" y="3589"/>
                  </a:lnTo>
                  <a:lnTo>
                    <a:pt x="5442" y="3518"/>
                  </a:lnTo>
                  <a:lnTo>
                    <a:pt x="5442" y="3446"/>
                  </a:lnTo>
                  <a:lnTo>
                    <a:pt x="5442" y="3434"/>
                  </a:lnTo>
                  <a:lnTo>
                    <a:pt x="5371" y="3399"/>
                  </a:lnTo>
                  <a:lnTo>
                    <a:pt x="5336" y="3339"/>
                  </a:lnTo>
                  <a:lnTo>
                    <a:pt x="5300" y="3328"/>
                  </a:lnTo>
                  <a:lnTo>
                    <a:pt x="5264" y="3328"/>
                  </a:lnTo>
                  <a:lnTo>
                    <a:pt x="5229" y="3328"/>
                  </a:lnTo>
                  <a:lnTo>
                    <a:pt x="5193" y="3339"/>
                  </a:lnTo>
                  <a:lnTo>
                    <a:pt x="5134" y="3351"/>
                  </a:lnTo>
                  <a:lnTo>
                    <a:pt x="5062" y="3351"/>
                  </a:lnTo>
                  <a:lnTo>
                    <a:pt x="5015" y="3363"/>
                  </a:lnTo>
                  <a:lnTo>
                    <a:pt x="4955" y="3411"/>
                  </a:lnTo>
                  <a:lnTo>
                    <a:pt x="4896" y="3423"/>
                  </a:lnTo>
                  <a:lnTo>
                    <a:pt x="4860" y="3446"/>
                  </a:lnTo>
                  <a:lnTo>
                    <a:pt x="4813" y="3506"/>
                  </a:lnTo>
                  <a:lnTo>
                    <a:pt x="4777" y="3506"/>
                  </a:lnTo>
                  <a:lnTo>
                    <a:pt x="4741" y="3482"/>
                  </a:lnTo>
                  <a:lnTo>
                    <a:pt x="4706" y="3423"/>
                  </a:lnTo>
                  <a:lnTo>
                    <a:pt x="4670" y="3399"/>
                  </a:lnTo>
                  <a:lnTo>
                    <a:pt x="4670" y="3375"/>
                  </a:lnTo>
                  <a:lnTo>
                    <a:pt x="4634" y="3280"/>
                  </a:lnTo>
                  <a:lnTo>
                    <a:pt x="4551" y="3209"/>
                  </a:lnTo>
                  <a:lnTo>
                    <a:pt x="4551" y="3197"/>
                  </a:lnTo>
                  <a:lnTo>
                    <a:pt x="4504" y="3114"/>
                  </a:lnTo>
                  <a:lnTo>
                    <a:pt x="4432" y="3054"/>
                  </a:lnTo>
                  <a:lnTo>
                    <a:pt x="4432" y="3007"/>
                  </a:lnTo>
                  <a:lnTo>
                    <a:pt x="4409" y="2995"/>
                  </a:lnTo>
                  <a:lnTo>
                    <a:pt x="4385" y="2983"/>
                  </a:lnTo>
                  <a:lnTo>
                    <a:pt x="4349" y="2947"/>
                  </a:lnTo>
                  <a:lnTo>
                    <a:pt x="4349" y="2912"/>
                  </a:lnTo>
                  <a:lnTo>
                    <a:pt x="4361" y="2876"/>
                  </a:lnTo>
                  <a:lnTo>
                    <a:pt x="4325" y="2828"/>
                  </a:lnTo>
                  <a:lnTo>
                    <a:pt x="4278" y="2817"/>
                  </a:lnTo>
                  <a:lnTo>
                    <a:pt x="4254" y="2721"/>
                  </a:lnTo>
                  <a:lnTo>
                    <a:pt x="4207" y="2733"/>
                  </a:lnTo>
                  <a:lnTo>
                    <a:pt x="4171" y="2733"/>
                  </a:lnTo>
                  <a:lnTo>
                    <a:pt x="4159" y="2721"/>
                  </a:lnTo>
                  <a:lnTo>
                    <a:pt x="4159" y="2698"/>
                  </a:lnTo>
                  <a:lnTo>
                    <a:pt x="4230" y="2662"/>
                  </a:lnTo>
                  <a:lnTo>
                    <a:pt x="4254" y="2626"/>
                  </a:lnTo>
                  <a:lnTo>
                    <a:pt x="4266" y="2579"/>
                  </a:lnTo>
                  <a:lnTo>
                    <a:pt x="4254" y="2543"/>
                  </a:lnTo>
                  <a:lnTo>
                    <a:pt x="4218" y="2519"/>
                  </a:lnTo>
                  <a:lnTo>
                    <a:pt x="4159" y="2508"/>
                  </a:lnTo>
                  <a:lnTo>
                    <a:pt x="4076" y="2531"/>
                  </a:lnTo>
                  <a:lnTo>
                    <a:pt x="4005" y="2472"/>
                  </a:lnTo>
                  <a:lnTo>
                    <a:pt x="3969" y="2448"/>
                  </a:lnTo>
                  <a:lnTo>
                    <a:pt x="3957" y="2401"/>
                  </a:lnTo>
                  <a:lnTo>
                    <a:pt x="3969" y="2377"/>
                  </a:lnTo>
                  <a:lnTo>
                    <a:pt x="3993" y="2365"/>
                  </a:lnTo>
                  <a:lnTo>
                    <a:pt x="4076" y="2341"/>
                  </a:lnTo>
                  <a:lnTo>
                    <a:pt x="4207" y="2151"/>
                  </a:lnTo>
                  <a:lnTo>
                    <a:pt x="4230" y="2068"/>
                  </a:lnTo>
                  <a:lnTo>
                    <a:pt x="4242" y="1949"/>
                  </a:lnTo>
                  <a:lnTo>
                    <a:pt x="4278" y="1866"/>
                  </a:lnTo>
                  <a:lnTo>
                    <a:pt x="4266" y="1771"/>
                  </a:lnTo>
                  <a:lnTo>
                    <a:pt x="4349" y="1581"/>
                  </a:lnTo>
                  <a:lnTo>
                    <a:pt x="4349" y="1474"/>
                  </a:lnTo>
                  <a:lnTo>
                    <a:pt x="4397" y="1319"/>
                  </a:lnTo>
                  <a:lnTo>
                    <a:pt x="4385" y="1236"/>
                  </a:lnTo>
                  <a:lnTo>
                    <a:pt x="4349" y="1165"/>
                  </a:lnTo>
                  <a:lnTo>
                    <a:pt x="4337" y="1010"/>
                  </a:lnTo>
                  <a:lnTo>
                    <a:pt x="4349" y="844"/>
                  </a:lnTo>
                  <a:lnTo>
                    <a:pt x="4290" y="677"/>
                  </a:lnTo>
                  <a:lnTo>
                    <a:pt x="4302" y="582"/>
                  </a:lnTo>
                  <a:lnTo>
                    <a:pt x="4278" y="452"/>
                  </a:lnTo>
                  <a:lnTo>
                    <a:pt x="4218" y="392"/>
                  </a:lnTo>
                  <a:lnTo>
                    <a:pt x="4123" y="333"/>
                  </a:lnTo>
                  <a:lnTo>
                    <a:pt x="4064" y="309"/>
                  </a:lnTo>
                  <a:lnTo>
                    <a:pt x="4028" y="273"/>
                  </a:lnTo>
                  <a:lnTo>
                    <a:pt x="3874" y="250"/>
                  </a:lnTo>
                  <a:lnTo>
                    <a:pt x="3862" y="238"/>
                  </a:lnTo>
                  <a:lnTo>
                    <a:pt x="3814" y="131"/>
                  </a:lnTo>
                  <a:lnTo>
                    <a:pt x="3755" y="95"/>
                  </a:lnTo>
                  <a:lnTo>
                    <a:pt x="3660" y="83"/>
                  </a:lnTo>
                  <a:lnTo>
                    <a:pt x="3601" y="107"/>
                  </a:lnTo>
                  <a:lnTo>
                    <a:pt x="3565" y="119"/>
                  </a:lnTo>
                  <a:lnTo>
                    <a:pt x="3434" y="95"/>
                  </a:lnTo>
                  <a:lnTo>
                    <a:pt x="3339" y="48"/>
                  </a:lnTo>
                  <a:lnTo>
                    <a:pt x="3292" y="12"/>
                  </a:lnTo>
                  <a:lnTo>
                    <a:pt x="3268" y="0"/>
                  </a:lnTo>
                  <a:lnTo>
                    <a:pt x="3185" y="12"/>
                  </a:lnTo>
                  <a:lnTo>
                    <a:pt x="3125" y="12"/>
                  </a:lnTo>
                  <a:lnTo>
                    <a:pt x="3078" y="48"/>
                  </a:lnTo>
                  <a:lnTo>
                    <a:pt x="3030" y="95"/>
                  </a:lnTo>
                  <a:lnTo>
                    <a:pt x="2983" y="166"/>
                  </a:lnTo>
                  <a:lnTo>
                    <a:pt x="2959" y="178"/>
                  </a:lnTo>
                  <a:lnTo>
                    <a:pt x="2864" y="166"/>
                  </a:lnTo>
                  <a:lnTo>
                    <a:pt x="2840" y="178"/>
                  </a:lnTo>
                  <a:lnTo>
                    <a:pt x="2840" y="214"/>
                  </a:lnTo>
                  <a:lnTo>
                    <a:pt x="2887" y="238"/>
                  </a:lnTo>
                  <a:lnTo>
                    <a:pt x="2935" y="262"/>
                  </a:lnTo>
                  <a:lnTo>
                    <a:pt x="2994" y="262"/>
                  </a:lnTo>
                  <a:lnTo>
                    <a:pt x="3161" y="250"/>
                  </a:lnTo>
                  <a:lnTo>
                    <a:pt x="3232" y="262"/>
                  </a:lnTo>
                  <a:lnTo>
                    <a:pt x="3256" y="285"/>
                  </a:lnTo>
                  <a:lnTo>
                    <a:pt x="3292" y="368"/>
                  </a:lnTo>
                  <a:lnTo>
                    <a:pt x="3303" y="380"/>
                  </a:lnTo>
                  <a:lnTo>
                    <a:pt x="3327" y="404"/>
                  </a:lnTo>
                  <a:lnTo>
                    <a:pt x="3410" y="428"/>
                  </a:lnTo>
                  <a:lnTo>
                    <a:pt x="3470" y="452"/>
                  </a:lnTo>
                  <a:lnTo>
                    <a:pt x="3505" y="547"/>
                  </a:lnTo>
                  <a:lnTo>
                    <a:pt x="3446" y="630"/>
                  </a:lnTo>
                  <a:lnTo>
                    <a:pt x="3363" y="642"/>
                  </a:lnTo>
                  <a:lnTo>
                    <a:pt x="3339" y="677"/>
                  </a:lnTo>
                  <a:lnTo>
                    <a:pt x="3327" y="713"/>
                  </a:lnTo>
                  <a:lnTo>
                    <a:pt x="3339" y="784"/>
                  </a:lnTo>
                  <a:lnTo>
                    <a:pt x="3398" y="856"/>
                  </a:lnTo>
                  <a:lnTo>
                    <a:pt x="3398" y="879"/>
                  </a:lnTo>
                  <a:lnTo>
                    <a:pt x="3398" y="903"/>
                  </a:lnTo>
                  <a:lnTo>
                    <a:pt x="3375" y="915"/>
                  </a:lnTo>
                  <a:lnTo>
                    <a:pt x="3315" y="951"/>
                  </a:lnTo>
                  <a:lnTo>
                    <a:pt x="3292" y="951"/>
                  </a:lnTo>
                  <a:lnTo>
                    <a:pt x="3292" y="998"/>
                  </a:lnTo>
                  <a:lnTo>
                    <a:pt x="3315" y="1058"/>
                  </a:lnTo>
                  <a:lnTo>
                    <a:pt x="3315" y="1093"/>
                  </a:lnTo>
                  <a:lnTo>
                    <a:pt x="3292" y="1117"/>
                  </a:lnTo>
                  <a:lnTo>
                    <a:pt x="3196" y="1129"/>
                  </a:lnTo>
                  <a:lnTo>
                    <a:pt x="3185" y="1141"/>
                  </a:lnTo>
                  <a:lnTo>
                    <a:pt x="3161" y="1165"/>
                  </a:lnTo>
                  <a:lnTo>
                    <a:pt x="3161" y="1295"/>
                  </a:lnTo>
                  <a:lnTo>
                    <a:pt x="3185" y="1367"/>
                  </a:lnTo>
                  <a:lnTo>
                    <a:pt x="3185" y="1390"/>
                  </a:lnTo>
                  <a:lnTo>
                    <a:pt x="3173" y="1390"/>
                  </a:lnTo>
                  <a:lnTo>
                    <a:pt x="3078" y="1379"/>
                  </a:lnTo>
                  <a:lnTo>
                    <a:pt x="3042" y="1402"/>
                  </a:lnTo>
                  <a:lnTo>
                    <a:pt x="2983" y="1462"/>
                  </a:lnTo>
                  <a:lnTo>
                    <a:pt x="2947" y="1533"/>
                  </a:lnTo>
                  <a:lnTo>
                    <a:pt x="2899" y="1569"/>
                  </a:lnTo>
                  <a:lnTo>
                    <a:pt x="2864" y="1711"/>
                  </a:lnTo>
                  <a:lnTo>
                    <a:pt x="2840" y="1747"/>
                  </a:lnTo>
                  <a:lnTo>
                    <a:pt x="2769" y="1783"/>
                  </a:lnTo>
                  <a:lnTo>
                    <a:pt x="2697" y="1806"/>
                  </a:lnTo>
                  <a:lnTo>
                    <a:pt x="2650" y="1830"/>
                  </a:lnTo>
                  <a:lnTo>
                    <a:pt x="2626" y="1830"/>
                  </a:lnTo>
                  <a:lnTo>
                    <a:pt x="2578" y="1854"/>
                  </a:lnTo>
                  <a:lnTo>
                    <a:pt x="2483" y="1890"/>
                  </a:lnTo>
                  <a:lnTo>
                    <a:pt x="2460" y="1901"/>
                  </a:lnTo>
                  <a:lnTo>
                    <a:pt x="2400" y="1937"/>
                  </a:lnTo>
                  <a:lnTo>
                    <a:pt x="2353" y="1985"/>
                  </a:lnTo>
                  <a:lnTo>
                    <a:pt x="2258" y="2032"/>
                  </a:lnTo>
                  <a:lnTo>
                    <a:pt x="2222" y="2080"/>
                  </a:lnTo>
                  <a:lnTo>
                    <a:pt x="2210" y="2115"/>
                  </a:lnTo>
                  <a:lnTo>
                    <a:pt x="2234" y="2234"/>
                  </a:lnTo>
                  <a:lnTo>
                    <a:pt x="2234" y="2389"/>
                  </a:lnTo>
                  <a:lnTo>
                    <a:pt x="2234" y="2412"/>
                  </a:lnTo>
                  <a:lnTo>
                    <a:pt x="2163" y="2567"/>
                  </a:lnTo>
                  <a:lnTo>
                    <a:pt x="2091" y="2638"/>
                  </a:lnTo>
                  <a:lnTo>
                    <a:pt x="2032" y="2721"/>
                  </a:lnTo>
                  <a:lnTo>
                    <a:pt x="2020" y="2769"/>
                  </a:lnTo>
                  <a:lnTo>
                    <a:pt x="2020" y="2876"/>
                  </a:lnTo>
                  <a:lnTo>
                    <a:pt x="2044" y="2912"/>
                  </a:lnTo>
                  <a:lnTo>
                    <a:pt x="2079" y="2959"/>
                  </a:lnTo>
                  <a:lnTo>
                    <a:pt x="2127" y="3007"/>
                  </a:lnTo>
                  <a:lnTo>
                    <a:pt x="2186" y="3054"/>
                  </a:lnTo>
                  <a:lnTo>
                    <a:pt x="2270" y="3090"/>
                  </a:lnTo>
                  <a:lnTo>
                    <a:pt x="2270" y="3102"/>
                  </a:lnTo>
                  <a:lnTo>
                    <a:pt x="2270" y="3149"/>
                  </a:lnTo>
                  <a:lnTo>
                    <a:pt x="2258" y="3197"/>
                  </a:lnTo>
                  <a:lnTo>
                    <a:pt x="2258" y="3232"/>
                  </a:lnTo>
                  <a:lnTo>
                    <a:pt x="2258" y="3280"/>
                  </a:lnTo>
                  <a:lnTo>
                    <a:pt x="2246" y="3339"/>
                  </a:lnTo>
                  <a:lnTo>
                    <a:pt x="2246" y="3411"/>
                  </a:lnTo>
                  <a:lnTo>
                    <a:pt x="2198" y="3541"/>
                  </a:lnTo>
                  <a:lnTo>
                    <a:pt x="2186" y="3613"/>
                  </a:lnTo>
                  <a:lnTo>
                    <a:pt x="2115" y="3803"/>
                  </a:lnTo>
                  <a:lnTo>
                    <a:pt x="2079" y="3827"/>
                  </a:lnTo>
                  <a:lnTo>
                    <a:pt x="2079" y="3839"/>
                  </a:lnTo>
                  <a:lnTo>
                    <a:pt x="2067" y="3839"/>
                  </a:lnTo>
                  <a:lnTo>
                    <a:pt x="2020" y="3874"/>
                  </a:lnTo>
                  <a:lnTo>
                    <a:pt x="1984" y="3934"/>
                  </a:lnTo>
                  <a:lnTo>
                    <a:pt x="1972" y="3969"/>
                  </a:lnTo>
                  <a:lnTo>
                    <a:pt x="1889" y="4088"/>
                  </a:lnTo>
                  <a:lnTo>
                    <a:pt x="1818" y="4243"/>
                  </a:lnTo>
                  <a:lnTo>
                    <a:pt x="1782" y="4278"/>
                  </a:lnTo>
                  <a:lnTo>
                    <a:pt x="1759" y="4338"/>
                  </a:lnTo>
                  <a:lnTo>
                    <a:pt x="1699" y="4373"/>
                  </a:lnTo>
                  <a:lnTo>
                    <a:pt x="1556" y="4421"/>
                  </a:lnTo>
                  <a:lnTo>
                    <a:pt x="1497" y="4492"/>
                  </a:lnTo>
                  <a:lnTo>
                    <a:pt x="1461" y="4575"/>
                  </a:lnTo>
                  <a:lnTo>
                    <a:pt x="1414" y="4635"/>
                  </a:lnTo>
                  <a:lnTo>
                    <a:pt x="1366" y="4730"/>
                  </a:lnTo>
                  <a:lnTo>
                    <a:pt x="1354" y="4765"/>
                  </a:lnTo>
                  <a:lnTo>
                    <a:pt x="1259" y="4837"/>
                  </a:lnTo>
                  <a:lnTo>
                    <a:pt x="1188" y="4908"/>
                  </a:lnTo>
                  <a:lnTo>
                    <a:pt x="1164" y="4991"/>
                  </a:lnTo>
                  <a:lnTo>
                    <a:pt x="1164" y="5027"/>
                  </a:lnTo>
                  <a:lnTo>
                    <a:pt x="1141" y="5074"/>
                  </a:lnTo>
                  <a:lnTo>
                    <a:pt x="1129" y="5086"/>
                  </a:lnTo>
                  <a:lnTo>
                    <a:pt x="1117" y="5170"/>
                  </a:lnTo>
                  <a:lnTo>
                    <a:pt x="1117" y="5217"/>
                  </a:lnTo>
                  <a:lnTo>
                    <a:pt x="1105" y="5253"/>
                  </a:lnTo>
                  <a:lnTo>
                    <a:pt x="1069" y="5300"/>
                  </a:lnTo>
                  <a:lnTo>
                    <a:pt x="1045" y="5407"/>
                  </a:lnTo>
                  <a:lnTo>
                    <a:pt x="1010" y="5455"/>
                  </a:lnTo>
                  <a:lnTo>
                    <a:pt x="974" y="5514"/>
                  </a:lnTo>
                  <a:lnTo>
                    <a:pt x="927" y="5597"/>
                  </a:lnTo>
                  <a:lnTo>
                    <a:pt x="0" y="5514"/>
                  </a:lnTo>
                  <a:lnTo>
                    <a:pt x="927" y="5597"/>
                  </a:lnTo>
                  <a:lnTo>
                    <a:pt x="939" y="5597"/>
                  </a:lnTo>
                  <a:lnTo>
                    <a:pt x="927" y="5609"/>
                  </a:lnTo>
                  <a:lnTo>
                    <a:pt x="891" y="5657"/>
                  </a:lnTo>
                  <a:lnTo>
                    <a:pt x="843" y="5799"/>
                  </a:lnTo>
                  <a:lnTo>
                    <a:pt x="820" y="5847"/>
                  </a:lnTo>
                  <a:lnTo>
                    <a:pt x="760" y="5906"/>
                  </a:lnTo>
                  <a:lnTo>
                    <a:pt x="736" y="5954"/>
                  </a:lnTo>
                  <a:lnTo>
                    <a:pt x="725" y="6108"/>
                  </a:lnTo>
                  <a:lnTo>
                    <a:pt x="713" y="6168"/>
                  </a:lnTo>
                  <a:lnTo>
                    <a:pt x="689" y="6203"/>
                  </a:lnTo>
                  <a:lnTo>
                    <a:pt x="677" y="6227"/>
                  </a:lnTo>
                  <a:lnTo>
                    <a:pt x="630" y="6263"/>
                  </a:lnTo>
                  <a:lnTo>
                    <a:pt x="618" y="6298"/>
                  </a:lnTo>
                  <a:lnTo>
                    <a:pt x="594" y="6370"/>
                  </a:lnTo>
                  <a:lnTo>
                    <a:pt x="523" y="6465"/>
                  </a:lnTo>
                  <a:lnTo>
                    <a:pt x="487" y="6501"/>
                  </a:lnTo>
                  <a:lnTo>
                    <a:pt x="487" y="6560"/>
                  </a:lnTo>
                  <a:lnTo>
                    <a:pt x="499" y="6643"/>
                  </a:lnTo>
                  <a:lnTo>
                    <a:pt x="463" y="6691"/>
                  </a:lnTo>
                  <a:lnTo>
                    <a:pt x="463" y="6786"/>
                  </a:lnTo>
                  <a:lnTo>
                    <a:pt x="439" y="6857"/>
                  </a:lnTo>
                  <a:lnTo>
                    <a:pt x="439" y="6916"/>
                  </a:lnTo>
                  <a:lnTo>
                    <a:pt x="451" y="7000"/>
                  </a:lnTo>
                  <a:lnTo>
                    <a:pt x="404" y="7083"/>
                  </a:lnTo>
                  <a:lnTo>
                    <a:pt x="380" y="7202"/>
                  </a:lnTo>
                  <a:lnTo>
                    <a:pt x="344" y="7297"/>
                  </a:lnTo>
                  <a:lnTo>
                    <a:pt x="309" y="7439"/>
                  </a:lnTo>
                  <a:lnTo>
                    <a:pt x="309" y="7475"/>
                  </a:lnTo>
                  <a:lnTo>
                    <a:pt x="344" y="7570"/>
                  </a:lnTo>
                  <a:lnTo>
                    <a:pt x="404" y="7665"/>
                  </a:lnTo>
                  <a:lnTo>
                    <a:pt x="404" y="7713"/>
                  </a:lnTo>
                  <a:lnTo>
                    <a:pt x="392" y="7725"/>
                  </a:lnTo>
                  <a:lnTo>
                    <a:pt x="332" y="7879"/>
                  </a:lnTo>
                  <a:lnTo>
                    <a:pt x="368" y="7927"/>
                  </a:lnTo>
                  <a:lnTo>
                    <a:pt x="416" y="7986"/>
                  </a:lnTo>
                  <a:lnTo>
                    <a:pt x="428" y="8010"/>
                  </a:lnTo>
                  <a:lnTo>
                    <a:pt x="416" y="8057"/>
                  </a:lnTo>
                  <a:lnTo>
                    <a:pt x="416" y="8081"/>
                  </a:lnTo>
                  <a:lnTo>
                    <a:pt x="380" y="8140"/>
                  </a:lnTo>
                  <a:lnTo>
                    <a:pt x="380" y="8176"/>
                  </a:lnTo>
                  <a:lnTo>
                    <a:pt x="380" y="8224"/>
                  </a:lnTo>
                  <a:lnTo>
                    <a:pt x="368" y="8366"/>
                  </a:lnTo>
                  <a:lnTo>
                    <a:pt x="368" y="8390"/>
                  </a:lnTo>
                  <a:lnTo>
                    <a:pt x="392" y="8402"/>
                  </a:lnTo>
                  <a:lnTo>
                    <a:pt x="416" y="8438"/>
                  </a:lnTo>
                  <a:lnTo>
                    <a:pt x="416" y="8497"/>
                  </a:lnTo>
                  <a:lnTo>
                    <a:pt x="404" y="8568"/>
                  </a:lnTo>
                  <a:lnTo>
                    <a:pt x="428" y="8628"/>
                  </a:lnTo>
                  <a:lnTo>
                    <a:pt x="428" y="8640"/>
                  </a:lnTo>
                  <a:lnTo>
                    <a:pt x="392" y="8687"/>
                  </a:lnTo>
                  <a:lnTo>
                    <a:pt x="380" y="8747"/>
                  </a:lnTo>
                  <a:lnTo>
                    <a:pt x="356" y="8770"/>
                  </a:lnTo>
                  <a:lnTo>
                    <a:pt x="356" y="8818"/>
                  </a:lnTo>
                  <a:lnTo>
                    <a:pt x="356" y="8853"/>
                  </a:lnTo>
                  <a:lnTo>
                    <a:pt x="321" y="8865"/>
                  </a:lnTo>
                  <a:lnTo>
                    <a:pt x="321" y="8877"/>
                  </a:lnTo>
                  <a:lnTo>
                    <a:pt x="321" y="8901"/>
                  </a:lnTo>
                  <a:lnTo>
                    <a:pt x="344" y="8925"/>
                  </a:lnTo>
                  <a:lnTo>
                    <a:pt x="380" y="8984"/>
                  </a:lnTo>
                  <a:lnTo>
                    <a:pt x="404" y="9032"/>
                  </a:lnTo>
                  <a:lnTo>
                    <a:pt x="392" y="9067"/>
                  </a:lnTo>
                  <a:lnTo>
                    <a:pt x="404" y="9091"/>
                  </a:lnTo>
                  <a:lnTo>
                    <a:pt x="416" y="9103"/>
                  </a:lnTo>
                  <a:lnTo>
                    <a:pt x="451" y="9103"/>
                  </a:lnTo>
                  <a:lnTo>
                    <a:pt x="475" y="9162"/>
                  </a:lnTo>
                  <a:lnTo>
                    <a:pt x="523" y="9162"/>
                  </a:lnTo>
                  <a:lnTo>
                    <a:pt x="534" y="9186"/>
                  </a:lnTo>
                  <a:lnTo>
                    <a:pt x="534" y="918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24" name="Freeform 418"/>
            <p:cNvSpPr>
              <a:spLocks/>
            </p:cNvSpPr>
            <p:nvPr/>
          </p:nvSpPr>
          <p:spPr bwMode="auto">
            <a:xfrm>
              <a:off x="7029450" y="-31750"/>
              <a:ext cx="13563600" cy="13393738"/>
            </a:xfrm>
            <a:custGeom>
              <a:avLst/>
              <a:gdLst/>
              <a:ahLst/>
              <a:cxnLst>
                <a:cxn ang="0">
                  <a:pos x="2935" y="8045"/>
                </a:cxn>
                <a:cxn ang="0">
                  <a:pos x="3292" y="7629"/>
                </a:cxn>
                <a:cxn ang="0">
                  <a:pos x="3814" y="7427"/>
                </a:cxn>
                <a:cxn ang="0">
                  <a:pos x="4147" y="7344"/>
                </a:cxn>
                <a:cxn ang="0">
                  <a:pos x="4432" y="7451"/>
                </a:cxn>
                <a:cxn ang="0">
                  <a:pos x="4813" y="7142"/>
                </a:cxn>
                <a:cxn ang="0">
                  <a:pos x="5336" y="7130"/>
                </a:cxn>
                <a:cxn ang="0">
                  <a:pos x="5906" y="7273"/>
                </a:cxn>
                <a:cxn ang="0">
                  <a:pos x="6167" y="7261"/>
                </a:cxn>
                <a:cxn ang="0">
                  <a:pos x="6441" y="7047"/>
                </a:cxn>
                <a:cxn ang="0">
                  <a:pos x="6785" y="6821"/>
                </a:cxn>
                <a:cxn ang="0">
                  <a:pos x="6869" y="6322"/>
                </a:cxn>
                <a:cxn ang="0">
                  <a:pos x="6655" y="5930"/>
                </a:cxn>
                <a:cxn ang="0">
                  <a:pos x="6916" y="5692"/>
                </a:cxn>
                <a:cxn ang="0">
                  <a:pos x="6892" y="5217"/>
                </a:cxn>
                <a:cxn ang="0">
                  <a:pos x="6797" y="4706"/>
                </a:cxn>
                <a:cxn ang="0">
                  <a:pos x="7225" y="4314"/>
                </a:cxn>
                <a:cxn ang="0">
                  <a:pos x="7356" y="3719"/>
                </a:cxn>
                <a:cxn ang="0">
                  <a:pos x="7380" y="3280"/>
                </a:cxn>
                <a:cxn ang="0">
                  <a:pos x="7831" y="3280"/>
                </a:cxn>
                <a:cxn ang="0">
                  <a:pos x="8069" y="3006"/>
                </a:cxn>
                <a:cxn ang="0">
                  <a:pos x="8449" y="3042"/>
                </a:cxn>
                <a:cxn ang="0">
                  <a:pos x="8342" y="2246"/>
                </a:cxn>
                <a:cxn ang="0">
                  <a:pos x="8271" y="1497"/>
                </a:cxn>
                <a:cxn ang="0">
                  <a:pos x="8366" y="1176"/>
                </a:cxn>
                <a:cxn ang="0">
                  <a:pos x="8164" y="986"/>
                </a:cxn>
                <a:cxn ang="0">
                  <a:pos x="8354" y="725"/>
                </a:cxn>
                <a:cxn ang="0">
                  <a:pos x="8069" y="677"/>
                </a:cxn>
                <a:cxn ang="0">
                  <a:pos x="7582" y="832"/>
                </a:cxn>
                <a:cxn ang="0">
                  <a:pos x="7106" y="1034"/>
                </a:cxn>
                <a:cxn ang="0">
                  <a:pos x="6714" y="939"/>
                </a:cxn>
                <a:cxn ang="0">
                  <a:pos x="6667" y="1271"/>
                </a:cxn>
                <a:cxn ang="0">
                  <a:pos x="6215" y="1117"/>
                </a:cxn>
                <a:cxn ang="0">
                  <a:pos x="5740" y="1046"/>
                </a:cxn>
                <a:cxn ang="0">
                  <a:pos x="5538" y="1069"/>
                </a:cxn>
                <a:cxn ang="0">
                  <a:pos x="5312" y="653"/>
                </a:cxn>
                <a:cxn ang="0">
                  <a:pos x="5050" y="689"/>
                </a:cxn>
                <a:cxn ang="0">
                  <a:pos x="4587" y="891"/>
                </a:cxn>
                <a:cxn ang="0">
                  <a:pos x="3743" y="606"/>
                </a:cxn>
                <a:cxn ang="0">
                  <a:pos x="3565" y="142"/>
                </a:cxn>
                <a:cxn ang="0">
                  <a:pos x="3232" y="440"/>
                </a:cxn>
                <a:cxn ang="0">
                  <a:pos x="3078" y="915"/>
                </a:cxn>
                <a:cxn ang="0">
                  <a:pos x="2840" y="1640"/>
                </a:cxn>
                <a:cxn ang="0">
                  <a:pos x="2674" y="2210"/>
                </a:cxn>
                <a:cxn ang="0">
                  <a:pos x="2388" y="3066"/>
                </a:cxn>
                <a:cxn ang="0">
                  <a:pos x="1806" y="3434"/>
                </a:cxn>
                <a:cxn ang="0">
                  <a:pos x="1687" y="3815"/>
                </a:cxn>
                <a:cxn ang="0">
                  <a:pos x="1141" y="4112"/>
                </a:cxn>
                <a:cxn ang="0">
                  <a:pos x="796" y="4575"/>
                </a:cxn>
                <a:cxn ang="0">
                  <a:pos x="725" y="4801"/>
                </a:cxn>
                <a:cxn ang="0">
                  <a:pos x="392" y="5157"/>
                </a:cxn>
                <a:cxn ang="0">
                  <a:pos x="59" y="5894"/>
                </a:cxn>
                <a:cxn ang="0">
                  <a:pos x="214" y="6667"/>
                </a:cxn>
                <a:cxn ang="0">
                  <a:pos x="237" y="7047"/>
                </a:cxn>
                <a:cxn ang="0">
                  <a:pos x="511" y="7166"/>
                </a:cxn>
                <a:cxn ang="0">
                  <a:pos x="677" y="7439"/>
                </a:cxn>
                <a:cxn ang="0">
                  <a:pos x="1224" y="7677"/>
                </a:cxn>
                <a:cxn ang="0">
                  <a:pos x="1675" y="7926"/>
                </a:cxn>
                <a:cxn ang="0">
                  <a:pos x="2495" y="8271"/>
                </a:cxn>
              </a:cxnLst>
              <a:rect l="0" t="0" r="r" b="b"/>
              <a:pathLst>
                <a:path w="8544" h="8437">
                  <a:moveTo>
                    <a:pt x="2626" y="8437"/>
                  </a:moveTo>
                  <a:lnTo>
                    <a:pt x="2697" y="8414"/>
                  </a:lnTo>
                  <a:lnTo>
                    <a:pt x="2697" y="8342"/>
                  </a:lnTo>
                  <a:lnTo>
                    <a:pt x="2733" y="8307"/>
                  </a:lnTo>
                  <a:lnTo>
                    <a:pt x="2757" y="8235"/>
                  </a:lnTo>
                  <a:lnTo>
                    <a:pt x="2828" y="8164"/>
                  </a:lnTo>
                  <a:lnTo>
                    <a:pt x="2852" y="8116"/>
                  </a:lnTo>
                  <a:lnTo>
                    <a:pt x="2876" y="8093"/>
                  </a:lnTo>
                  <a:lnTo>
                    <a:pt x="2911" y="8081"/>
                  </a:lnTo>
                  <a:lnTo>
                    <a:pt x="2935" y="8045"/>
                  </a:lnTo>
                  <a:lnTo>
                    <a:pt x="2959" y="8033"/>
                  </a:lnTo>
                  <a:lnTo>
                    <a:pt x="3018" y="8033"/>
                  </a:lnTo>
                  <a:lnTo>
                    <a:pt x="3054" y="8021"/>
                  </a:lnTo>
                  <a:lnTo>
                    <a:pt x="3113" y="7950"/>
                  </a:lnTo>
                  <a:lnTo>
                    <a:pt x="3137" y="7891"/>
                  </a:lnTo>
                  <a:lnTo>
                    <a:pt x="3137" y="7819"/>
                  </a:lnTo>
                  <a:lnTo>
                    <a:pt x="3196" y="7724"/>
                  </a:lnTo>
                  <a:lnTo>
                    <a:pt x="3208" y="7689"/>
                  </a:lnTo>
                  <a:lnTo>
                    <a:pt x="3256" y="7665"/>
                  </a:lnTo>
                  <a:lnTo>
                    <a:pt x="3292" y="7629"/>
                  </a:lnTo>
                  <a:lnTo>
                    <a:pt x="3327" y="7534"/>
                  </a:lnTo>
                  <a:lnTo>
                    <a:pt x="3375" y="7510"/>
                  </a:lnTo>
                  <a:lnTo>
                    <a:pt x="3398" y="7510"/>
                  </a:lnTo>
                  <a:lnTo>
                    <a:pt x="3434" y="7487"/>
                  </a:lnTo>
                  <a:lnTo>
                    <a:pt x="3589" y="7499"/>
                  </a:lnTo>
                  <a:lnTo>
                    <a:pt x="3636" y="7475"/>
                  </a:lnTo>
                  <a:lnTo>
                    <a:pt x="3660" y="7439"/>
                  </a:lnTo>
                  <a:lnTo>
                    <a:pt x="3684" y="7427"/>
                  </a:lnTo>
                  <a:lnTo>
                    <a:pt x="3767" y="7439"/>
                  </a:lnTo>
                  <a:lnTo>
                    <a:pt x="3814" y="7427"/>
                  </a:lnTo>
                  <a:lnTo>
                    <a:pt x="3886" y="7439"/>
                  </a:lnTo>
                  <a:lnTo>
                    <a:pt x="3993" y="7439"/>
                  </a:lnTo>
                  <a:lnTo>
                    <a:pt x="4016" y="7427"/>
                  </a:lnTo>
                  <a:lnTo>
                    <a:pt x="4040" y="7415"/>
                  </a:lnTo>
                  <a:lnTo>
                    <a:pt x="4076" y="7415"/>
                  </a:lnTo>
                  <a:lnTo>
                    <a:pt x="4100" y="7415"/>
                  </a:lnTo>
                  <a:lnTo>
                    <a:pt x="4123" y="7403"/>
                  </a:lnTo>
                  <a:lnTo>
                    <a:pt x="4135" y="7392"/>
                  </a:lnTo>
                  <a:lnTo>
                    <a:pt x="4123" y="7368"/>
                  </a:lnTo>
                  <a:lnTo>
                    <a:pt x="4147" y="7344"/>
                  </a:lnTo>
                  <a:lnTo>
                    <a:pt x="4207" y="7344"/>
                  </a:lnTo>
                  <a:lnTo>
                    <a:pt x="4218" y="7308"/>
                  </a:lnTo>
                  <a:lnTo>
                    <a:pt x="4242" y="7296"/>
                  </a:lnTo>
                  <a:lnTo>
                    <a:pt x="4266" y="7296"/>
                  </a:lnTo>
                  <a:lnTo>
                    <a:pt x="4290" y="7332"/>
                  </a:lnTo>
                  <a:lnTo>
                    <a:pt x="4314" y="7368"/>
                  </a:lnTo>
                  <a:lnTo>
                    <a:pt x="4337" y="7380"/>
                  </a:lnTo>
                  <a:lnTo>
                    <a:pt x="4373" y="7439"/>
                  </a:lnTo>
                  <a:lnTo>
                    <a:pt x="4397" y="7451"/>
                  </a:lnTo>
                  <a:lnTo>
                    <a:pt x="4432" y="7451"/>
                  </a:lnTo>
                  <a:lnTo>
                    <a:pt x="4444" y="7439"/>
                  </a:lnTo>
                  <a:lnTo>
                    <a:pt x="4468" y="7392"/>
                  </a:lnTo>
                  <a:lnTo>
                    <a:pt x="4516" y="7380"/>
                  </a:lnTo>
                  <a:lnTo>
                    <a:pt x="4551" y="7356"/>
                  </a:lnTo>
                  <a:lnTo>
                    <a:pt x="4587" y="7296"/>
                  </a:lnTo>
                  <a:lnTo>
                    <a:pt x="4611" y="7237"/>
                  </a:lnTo>
                  <a:lnTo>
                    <a:pt x="4646" y="7213"/>
                  </a:lnTo>
                  <a:lnTo>
                    <a:pt x="4670" y="7190"/>
                  </a:lnTo>
                  <a:lnTo>
                    <a:pt x="4801" y="7190"/>
                  </a:lnTo>
                  <a:lnTo>
                    <a:pt x="4813" y="7142"/>
                  </a:lnTo>
                  <a:lnTo>
                    <a:pt x="4872" y="7130"/>
                  </a:lnTo>
                  <a:lnTo>
                    <a:pt x="4920" y="7118"/>
                  </a:lnTo>
                  <a:lnTo>
                    <a:pt x="4955" y="7106"/>
                  </a:lnTo>
                  <a:lnTo>
                    <a:pt x="5003" y="7130"/>
                  </a:lnTo>
                  <a:lnTo>
                    <a:pt x="5050" y="7142"/>
                  </a:lnTo>
                  <a:lnTo>
                    <a:pt x="5086" y="7142"/>
                  </a:lnTo>
                  <a:lnTo>
                    <a:pt x="5145" y="7142"/>
                  </a:lnTo>
                  <a:lnTo>
                    <a:pt x="5193" y="7142"/>
                  </a:lnTo>
                  <a:lnTo>
                    <a:pt x="5288" y="7130"/>
                  </a:lnTo>
                  <a:lnTo>
                    <a:pt x="5336" y="7130"/>
                  </a:lnTo>
                  <a:lnTo>
                    <a:pt x="5371" y="7154"/>
                  </a:lnTo>
                  <a:lnTo>
                    <a:pt x="5466" y="7178"/>
                  </a:lnTo>
                  <a:lnTo>
                    <a:pt x="5526" y="7178"/>
                  </a:lnTo>
                  <a:lnTo>
                    <a:pt x="5549" y="7190"/>
                  </a:lnTo>
                  <a:lnTo>
                    <a:pt x="5633" y="7190"/>
                  </a:lnTo>
                  <a:lnTo>
                    <a:pt x="5668" y="7166"/>
                  </a:lnTo>
                  <a:lnTo>
                    <a:pt x="5716" y="7166"/>
                  </a:lnTo>
                  <a:lnTo>
                    <a:pt x="5847" y="7225"/>
                  </a:lnTo>
                  <a:lnTo>
                    <a:pt x="5882" y="7237"/>
                  </a:lnTo>
                  <a:lnTo>
                    <a:pt x="5906" y="7273"/>
                  </a:lnTo>
                  <a:lnTo>
                    <a:pt x="5930" y="7273"/>
                  </a:lnTo>
                  <a:lnTo>
                    <a:pt x="5965" y="7296"/>
                  </a:lnTo>
                  <a:lnTo>
                    <a:pt x="6001" y="7332"/>
                  </a:lnTo>
                  <a:lnTo>
                    <a:pt x="6037" y="7344"/>
                  </a:lnTo>
                  <a:lnTo>
                    <a:pt x="6060" y="7332"/>
                  </a:lnTo>
                  <a:lnTo>
                    <a:pt x="6072" y="7308"/>
                  </a:lnTo>
                  <a:lnTo>
                    <a:pt x="6108" y="7320"/>
                  </a:lnTo>
                  <a:lnTo>
                    <a:pt x="6132" y="7285"/>
                  </a:lnTo>
                  <a:lnTo>
                    <a:pt x="6167" y="7285"/>
                  </a:lnTo>
                  <a:lnTo>
                    <a:pt x="6167" y="7261"/>
                  </a:lnTo>
                  <a:lnTo>
                    <a:pt x="6203" y="7249"/>
                  </a:lnTo>
                  <a:lnTo>
                    <a:pt x="6227" y="7249"/>
                  </a:lnTo>
                  <a:lnTo>
                    <a:pt x="6239" y="7249"/>
                  </a:lnTo>
                  <a:lnTo>
                    <a:pt x="6263" y="7213"/>
                  </a:lnTo>
                  <a:lnTo>
                    <a:pt x="6322" y="7201"/>
                  </a:lnTo>
                  <a:lnTo>
                    <a:pt x="6417" y="7154"/>
                  </a:lnTo>
                  <a:lnTo>
                    <a:pt x="6405" y="7118"/>
                  </a:lnTo>
                  <a:lnTo>
                    <a:pt x="6405" y="7094"/>
                  </a:lnTo>
                  <a:lnTo>
                    <a:pt x="6417" y="7071"/>
                  </a:lnTo>
                  <a:lnTo>
                    <a:pt x="6441" y="7047"/>
                  </a:lnTo>
                  <a:lnTo>
                    <a:pt x="6453" y="7035"/>
                  </a:lnTo>
                  <a:lnTo>
                    <a:pt x="6500" y="7023"/>
                  </a:lnTo>
                  <a:lnTo>
                    <a:pt x="6524" y="7035"/>
                  </a:lnTo>
                  <a:lnTo>
                    <a:pt x="6560" y="6976"/>
                  </a:lnTo>
                  <a:lnTo>
                    <a:pt x="6583" y="6976"/>
                  </a:lnTo>
                  <a:lnTo>
                    <a:pt x="6678" y="6928"/>
                  </a:lnTo>
                  <a:lnTo>
                    <a:pt x="6702" y="6904"/>
                  </a:lnTo>
                  <a:lnTo>
                    <a:pt x="6726" y="6857"/>
                  </a:lnTo>
                  <a:lnTo>
                    <a:pt x="6774" y="6845"/>
                  </a:lnTo>
                  <a:lnTo>
                    <a:pt x="6785" y="6821"/>
                  </a:lnTo>
                  <a:lnTo>
                    <a:pt x="6785" y="6797"/>
                  </a:lnTo>
                  <a:lnTo>
                    <a:pt x="6726" y="6643"/>
                  </a:lnTo>
                  <a:lnTo>
                    <a:pt x="6714" y="6583"/>
                  </a:lnTo>
                  <a:lnTo>
                    <a:pt x="6762" y="6536"/>
                  </a:lnTo>
                  <a:lnTo>
                    <a:pt x="6750" y="6488"/>
                  </a:lnTo>
                  <a:lnTo>
                    <a:pt x="6750" y="6465"/>
                  </a:lnTo>
                  <a:lnTo>
                    <a:pt x="6785" y="6417"/>
                  </a:lnTo>
                  <a:lnTo>
                    <a:pt x="6833" y="6393"/>
                  </a:lnTo>
                  <a:lnTo>
                    <a:pt x="6857" y="6370"/>
                  </a:lnTo>
                  <a:lnTo>
                    <a:pt x="6869" y="6322"/>
                  </a:lnTo>
                  <a:lnTo>
                    <a:pt x="6869" y="6286"/>
                  </a:lnTo>
                  <a:lnTo>
                    <a:pt x="6821" y="6239"/>
                  </a:lnTo>
                  <a:lnTo>
                    <a:pt x="6750" y="6191"/>
                  </a:lnTo>
                  <a:lnTo>
                    <a:pt x="6667" y="6203"/>
                  </a:lnTo>
                  <a:lnTo>
                    <a:pt x="6643" y="6191"/>
                  </a:lnTo>
                  <a:lnTo>
                    <a:pt x="6607" y="6144"/>
                  </a:lnTo>
                  <a:lnTo>
                    <a:pt x="6619" y="6084"/>
                  </a:lnTo>
                  <a:lnTo>
                    <a:pt x="6631" y="6049"/>
                  </a:lnTo>
                  <a:lnTo>
                    <a:pt x="6643" y="5989"/>
                  </a:lnTo>
                  <a:lnTo>
                    <a:pt x="6655" y="5930"/>
                  </a:lnTo>
                  <a:lnTo>
                    <a:pt x="6678" y="5906"/>
                  </a:lnTo>
                  <a:lnTo>
                    <a:pt x="6690" y="5882"/>
                  </a:lnTo>
                  <a:lnTo>
                    <a:pt x="6726" y="5870"/>
                  </a:lnTo>
                  <a:lnTo>
                    <a:pt x="6762" y="5787"/>
                  </a:lnTo>
                  <a:lnTo>
                    <a:pt x="6774" y="5787"/>
                  </a:lnTo>
                  <a:lnTo>
                    <a:pt x="6797" y="5787"/>
                  </a:lnTo>
                  <a:lnTo>
                    <a:pt x="6821" y="5787"/>
                  </a:lnTo>
                  <a:lnTo>
                    <a:pt x="6845" y="5763"/>
                  </a:lnTo>
                  <a:lnTo>
                    <a:pt x="6857" y="5716"/>
                  </a:lnTo>
                  <a:lnTo>
                    <a:pt x="6916" y="5692"/>
                  </a:lnTo>
                  <a:lnTo>
                    <a:pt x="6940" y="5657"/>
                  </a:lnTo>
                  <a:lnTo>
                    <a:pt x="6987" y="5645"/>
                  </a:lnTo>
                  <a:lnTo>
                    <a:pt x="7011" y="5609"/>
                  </a:lnTo>
                  <a:lnTo>
                    <a:pt x="7023" y="5585"/>
                  </a:lnTo>
                  <a:lnTo>
                    <a:pt x="7011" y="5526"/>
                  </a:lnTo>
                  <a:lnTo>
                    <a:pt x="6964" y="5454"/>
                  </a:lnTo>
                  <a:lnTo>
                    <a:pt x="6952" y="5395"/>
                  </a:lnTo>
                  <a:lnTo>
                    <a:pt x="6916" y="5348"/>
                  </a:lnTo>
                  <a:lnTo>
                    <a:pt x="6916" y="5264"/>
                  </a:lnTo>
                  <a:lnTo>
                    <a:pt x="6892" y="5217"/>
                  </a:lnTo>
                  <a:lnTo>
                    <a:pt x="6845" y="5157"/>
                  </a:lnTo>
                  <a:lnTo>
                    <a:pt x="6774" y="5110"/>
                  </a:lnTo>
                  <a:lnTo>
                    <a:pt x="6714" y="5062"/>
                  </a:lnTo>
                  <a:lnTo>
                    <a:pt x="6690" y="5015"/>
                  </a:lnTo>
                  <a:lnTo>
                    <a:pt x="6678" y="4979"/>
                  </a:lnTo>
                  <a:lnTo>
                    <a:pt x="6678" y="4920"/>
                  </a:lnTo>
                  <a:lnTo>
                    <a:pt x="6702" y="4848"/>
                  </a:lnTo>
                  <a:lnTo>
                    <a:pt x="6797" y="4753"/>
                  </a:lnTo>
                  <a:lnTo>
                    <a:pt x="6809" y="4741"/>
                  </a:lnTo>
                  <a:lnTo>
                    <a:pt x="6797" y="4706"/>
                  </a:lnTo>
                  <a:lnTo>
                    <a:pt x="6833" y="4646"/>
                  </a:lnTo>
                  <a:lnTo>
                    <a:pt x="6821" y="4599"/>
                  </a:lnTo>
                  <a:lnTo>
                    <a:pt x="6845" y="4504"/>
                  </a:lnTo>
                  <a:lnTo>
                    <a:pt x="6916" y="4421"/>
                  </a:lnTo>
                  <a:lnTo>
                    <a:pt x="6940" y="4421"/>
                  </a:lnTo>
                  <a:lnTo>
                    <a:pt x="6987" y="4421"/>
                  </a:lnTo>
                  <a:lnTo>
                    <a:pt x="7035" y="4373"/>
                  </a:lnTo>
                  <a:lnTo>
                    <a:pt x="7082" y="4349"/>
                  </a:lnTo>
                  <a:lnTo>
                    <a:pt x="7225" y="4326"/>
                  </a:lnTo>
                  <a:lnTo>
                    <a:pt x="7225" y="4314"/>
                  </a:lnTo>
                  <a:lnTo>
                    <a:pt x="7356" y="4302"/>
                  </a:lnTo>
                  <a:lnTo>
                    <a:pt x="7427" y="4278"/>
                  </a:lnTo>
                  <a:lnTo>
                    <a:pt x="7451" y="4254"/>
                  </a:lnTo>
                  <a:lnTo>
                    <a:pt x="7439" y="4230"/>
                  </a:lnTo>
                  <a:lnTo>
                    <a:pt x="7415" y="4124"/>
                  </a:lnTo>
                  <a:lnTo>
                    <a:pt x="7380" y="4040"/>
                  </a:lnTo>
                  <a:lnTo>
                    <a:pt x="7380" y="3945"/>
                  </a:lnTo>
                  <a:lnTo>
                    <a:pt x="7344" y="3862"/>
                  </a:lnTo>
                  <a:lnTo>
                    <a:pt x="7344" y="3791"/>
                  </a:lnTo>
                  <a:lnTo>
                    <a:pt x="7356" y="3719"/>
                  </a:lnTo>
                  <a:lnTo>
                    <a:pt x="7415" y="3672"/>
                  </a:lnTo>
                  <a:lnTo>
                    <a:pt x="7427" y="3636"/>
                  </a:lnTo>
                  <a:lnTo>
                    <a:pt x="7427" y="3577"/>
                  </a:lnTo>
                  <a:lnTo>
                    <a:pt x="7403" y="3577"/>
                  </a:lnTo>
                  <a:lnTo>
                    <a:pt x="7368" y="3529"/>
                  </a:lnTo>
                  <a:lnTo>
                    <a:pt x="7332" y="3470"/>
                  </a:lnTo>
                  <a:lnTo>
                    <a:pt x="7344" y="3434"/>
                  </a:lnTo>
                  <a:lnTo>
                    <a:pt x="7403" y="3387"/>
                  </a:lnTo>
                  <a:lnTo>
                    <a:pt x="7403" y="3375"/>
                  </a:lnTo>
                  <a:lnTo>
                    <a:pt x="7380" y="3280"/>
                  </a:lnTo>
                  <a:lnTo>
                    <a:pt x="7380" y="3268"/>
                  </a:lnTo>
                  <a:lnTo>
                    <a:pt x="7403" y="3244"/>
                  </a:lnTo>
                  <a:lnTo>
                    <a:pt x="7498" y="3232"/>
                  </a:lnTo>
                  <a:lnTo>
                    <a:pt x="7570" y="3244"/>
                  </a:lnTo>
                  <a:lnTo>
                    <a:pt x="7653" y="3292"/>
                  </a:lnTo>
                  <a:lnTo>
                    <a:pt x="7700" y="3315"/>
                  </a:lnTo>
                  <a:lnTo>
                    <a:pt x="7724" y="3327"/>
                  </a:lnTo>
                  <a:lnTo>
                    <a:pt x="7784" y="3327"/>
                  </a:lnTo>
                  <a:lnTo>
                    <a:pt x="7819" y="3304"/>
                  </a:lnTo>
                  <a:lnTo>
                    <a:pt x="7831" y="3280"/>
                  </a:lnTo>
                  <a:lnTo>
                    <a:pt x="7843" y="3244"/>
                  </a:lnTo>
                  <a:lnTo>
                    <a:pt x="7819" y="3197"/>
                  </a:lnTo>
                  <a:lnTo>
                    <a:pt x="7831" y="3125"/>
                  </a:lnTo>
                  <a:lnTo>
                    <a:pt x="7831" y="3042"/>
                  </a:lnTo>
                  <a:lnTo>
                    <a:pt x="7796" y="2983"/>
                  </a:lnTo>
                  <a:lnTo>
                    <a:pt x="7879" y="2876"/>
                  </a:lnTo>
                  <a:lnTo>
                    <a:pt x="7891" y="2864"/>
                  </a:lnTo>
                  <a:lnTo>
                    <a:pt x="7926" y="2876"/>
                  </a:lnTo>
                  <a:lnTo>
                    <a:pt x="7950" y="2899"/>
                  </a:lnTo>
                  <a:lnTo>
                    <a:pt x="8069" y="3006"/>
                  </a:lnTo>
                  <a:lnTo>
                    <a:pt x="8093" y="3006"/>
                  </a:lnTo>
                  <a:lnTo>
                    <a:pt x="8093" y="3090"/>
                  </a:lnTo>
                  <a:lnTo>
                    <a:pt x="8104" y="3113"/>
                  </a:lnTo>
                  <a:lnTo>
                    <a:pt x="8188" y="3161"/>
                  </a:lnTo>
                  <a:lnTo>
                    <a:pt x="8354" y="3149"/>
                  </a:lnTo>
                  <a:lnTo>
                    <a:pt x="8378" y="3137"/>
                  </a:lnTo>
                  <a:lnTo>
                    <a:pt x="8437" y="3090"/>
                  </a:lnTo>
                  <a:lnTo>
                    <a:pt x="8437" y="3090"/>
                  </a:lnTo>
                  <a:lnTo>
                    <a:pt x="8437" y="3090"/>
                  </a:lnTo>
                  <a:lnTo>
                    <a:pt x="8449" y="3042"/>
                  </a:lnTo>
                  <a:lnTo>
                    <a:pt x="8437" y="2935"/>
                  </a:lnTo>
                  <a:lnTo>
                    <a:pt x="8437" y="2876"/>
                  </a:lnTo>
                  <a:lnTo>
                    <a:pt x="8473" y="2697"/>
                  </a:lnTo>
                  <a:lnTo>
                    <a:pt x="8437" y="2590"/>
                  </a:lnTo>
                  <a:lnTo>
                    <a:pt x="8461" y="2567"/>
                  </a:lnTo>
                  <a:lnTo>
                    <a:pt x="8532" y="2531"/>
                  </a:lnTo>
                  <a:lnTo>
                    <a:pt x="8544" y="2472"/>
                  </a:lnTo>
                  <a:lnTo>
                    <a:pt x="8485" y="2365"/>
                  </a:lnTo>
                  <a:lnTo>
                    <a:pt x="8402" y="2317"/>
                  </a:lnTo>
                  <a:lnTo>
                    <a:pt x="8342" y="2246"/>
                  </a:lnTo>
                  <a:lnTo>
                    <a:pt x="8271" y="2222"/>
                  </a:lnTo>
                  <a:lnTo>
                    <a:pt x="8235" y="2175"/>
                  </a:lnTo>
                  <a:lnTo>
                    <a:pt x="8211" y="2079"/>
                  </a:lnTo>
                  <a:lnTo>
                    <a:pt x="8200" y="1996"/>
                  </a:lnTo>
                  <a:lnTo>
                    <a:pt x="8188" y="1913"/>
                  </a:lnTo>
                  <a:lnTo>
                    <a:pt x="8188" y="1806"/>
                  </a:lnTo>
                  <a:lnTo>
                    <a:pt x="8223" y="1652"/>
                  </a:lnTo>
                  <a:lnTo>
                    <a:pt x="8271" y="1557"/>
                  </a:lnTo>
                  <a:lnTo>
                    <a:pt x="8283" y="1521"/>
                  </a:lnTo>
                  <a:lnTo>
                    <a:pt x="8271" y="1497"/>
                  </a:lnTo>
                  <a:lnTo>
                    <a:pt x="8235" y="1485"/>
                  </a:lnTo>
                  <a:lnTo>
                    <a:pt x="8223" y="1450"/>
                  </a:lnTo>
                  <a:lnTo>
                    <a:pt x="8235" y="1378"/>
                  </a:lnTo>
                  <a:lnTo>
                    <a:pt x="8259" y="1343"/>
                  </a:lnTo>
                  <a:lnTo>
                    <a:pt x="8307" y="1295"/>
                  </a:lnTo>
                  <a:lnTo>
                    <a:pt x="8413" y="1236"/>
                  </a:lnTo>
                  <a:lnTo>
                    <a:pt x="8449" y="1188"/>
                  </a:lnTo>
                  <a:lnTo>
                    <a:pt x="8449" y="1164"/>
                  </a:lnTo>
                  <a:lnTo>
                    <a:pt x="8425" y="1164"/>
                  </a:lnTo>
                  <a:lnTo>
                    <a:pt x="8366" y="1176"/>
                  </a:lnTo>
                  <a:lnTo>
                    <a:pt x="8330" y="1212"/>
                  </a:lnTo>
                  <a:lnTo>
                    <a:pt x="8283" y="1224"/>
                  </a:lnTo>
                  <a:lnTo>
                    <a:pt x="8283" y="1236"/>
                  </a:lnTo>
                  <a:lnTo>
                    <a:pt x="8247" y="1236"/>
                  </a:lnTo>
                  <a:lnTo>
                    <a:pt x="8200" y="1248"/>
                  </a:lnTo>
                  <a:lnTo>
                    <a:pt x="8188" y="1236"/>
                  </a:lnTo>
                  <a:lnTo>
                    <a:pt x="8176" y="1224"/>
                  </a:lnTo>
                  <a:lnTo>
                    <a:pt x="8152" y="1164"/>
                  </a:lnTo>
                  <a:lnTo>
                    <a:pt x="8140" y="1034"/>
                  </a:lnTo>
                  <a:lnTo>
                    <a:pt x="8164" y="986"/>
                  </a:lnTo>
                  <a:lnTo>
                    <a:pt x="8164" y="951"/>
                  </a:lnTo>
                  <a:lnTo>
                    <a:pt x="8176" y="903"/>
                  </a:lnTo>
                  <a:lnTo>
                    <a:pt x="8223" y="867"/>
                  </a:lnTo>
                  <a:lnTo>
                    <a:pt x="8259" y="844"/>
                  </a:lnTo>
                  <a:lnTo>
                    <a:pt x="8318" y="820"/>
                  </a:lnTo>
                  <a:lnTo>
                    <a:pt x="8390" y="772"/>
                  </a:lnTo>
                  <a:lnTo>
                    <a:pt x="8390" y="760"/>
                  </a:lnTo>
                  <a:lnTo>
                    <a:pt x="8390" y="737"/>
                  </a:lnTo>
                  <a:lnTo>
                    <a:pt x="8378" y="725"/>
                  </a:lnTo>
                  <a:lnTo>
                    <a:pt x="8354" y="725"/>
                  </a:lnTo>
                  <a:lnTo>
                    <a:pt x="8271" y="772"/>
                  </a:lnTo>
                  <a:lnTo>
                    <a:pt x="8211" y="760"/>
                  </a:lnTo>
                  <a:lnTo>
                    <a:pt x="8188" y="725"/>
                  </a:lnTo>
                  <a:lnTo>
                    <a:pt x="8188" y="653"/>
                  </a:lnTo>
                  <a:lnTo>
                    <a:pt x="8188" y="440"/>
                  </a:lnTo>
                  <a:lnTo>
                    <a:pt x="8188" y="653"/>
                  </a:lnTo>
                  <a:lnTo>
                    <a:pt x="8188" y="653"/>
                  </a:lnTo>
                  <a:lnTo>
                    <a:pt x="8116" y="653"/>
                  </a:lnTo>
                  <a:lnTo>
                    <a:pt x="8081" y="665"/>
                  </a:lnTo>
                  <a:lnTo>
                    <a:pt x="8069" y="677"/>
                  </a:lnTo>
                  <a:lnTo>
                    <a:pt x="8021" y="749"/>
                  </a:lnTo>
                  <a:lnTo>
                    <a:pt x="7986" y="760"/>
                  </a:lnTo>
                  <a:lnTo>
                    <a:pt x="7926" y="760"/>
                  </a:lnTo>
                  <a:lnTo>
                    <a:pt x="7879" y="737"/>
                  </a:lnTo>
                  <a:lnTo>
                    <a:pt x="7867" y="737"/>
                  </a:lnTo>
                  <a:lnTo>
                    <a:pt x="7819" y="725"/>
                  </a:lnTo>
                  <a:lnTo>
                    <a:pt x="7748" y="737"/>
                  </a:lnTo>
                  <a:lnTo>
                    <a:pt x="7665" y="796"/>
                  </a:lnTo>
                  <a:lnTo>
                    <a:pt x="7629" y="832"/>
                  </a:lnTo>
                  <a:lnTo>
                    <a:pt x="7582" y="832"/>
                  </a:lnTo>
                  <a:lnTo>
                    <a:pt x="7558" y="832"/>
                  </a:lnTo>
                  <a:lnTo>
                    <a:pt x="7534" y="820"/>
                  </a:lnTo>
                  <a:lnTo>
                    <a:pt x="7498" y="844"/>
                  </a:lnTo>
                  <a:lnTo>
                    <a:pt x="7427" y="903"/>
                  </a:lnTo>
                  <a:lnTo>
                    <a:pt x="7273" y="951"/>
                  </a:lnTo>
                  <a:lnTo>
                    <a:pt x="7225" y="1010"/>
                  </a:lnTo>
                  <a:lnTo>
                    <a:pt x="7201" y="1010"/>
                  </a:lnTo>
                  <a:lnTo>
                    <a:pt x="7189" y="986"/>
                  </a:lnTo>
                  <a:lnTo>
                    <a:pt x="7166" y="986"/>
                  </a:lnTo>
                  <a:lnTo>
                    <a:pt x="7106" y="1034"/>
                  </a:lnTo>
                  <a:lnTo>
                    <a:pt x="6987" y="1046"/>
                  </a:lnTo>
                  <a:lnTo>
                    <a:pt x="6940" y="1081"/>
                  </a:lnTo>
                  <a:lnTo>
                    <a:pt x="6904" y="1105"/>
                  </a:lnTo>
                  <a:lnTo>
                    <a:pt x="6869" y="1105"/>
                  </a:lnTo>
                  <a:lnTo>
                    <a:pt x="6857" y="1081"/>
                  </a:lnTo>
                  <a:lnTo>
                    <a:pt x="6821" y="1034"/>
                  </a:lnTo>
                  <a:lnTo>
                    <a:pt x="6797" y="1010"/>
                  </a:lnTo>
                  <a:lnTo>
                    <a:pt x="6726" y="998"/>
                  </a:lnTo>
                  <a:lnTo>
                    <a:pt x="6714" y="974"/>
                  </a:lnTo>
                  <a:lnTo>
                    <a:pt x="6714" y="939"/>
                  </a:lnTo>
                  <a:lnTo>
                    <a:pt x="6702" y="927"/>
                  </a:lnTo>
                  <a:lnTo>
                    <a:pt x="6631" y="903"/>
                  </a:lnTo>
                  <a:lnTo>
                    <a:pt x="6643" y="951"/>
                  </a:lnTo>
                  <a:lnTo>
                    <a:pt x="6631" y="1010"/>
                  </a:lnTo>
                  <a:lnTo>
                    <a:pt x="6678" y="1093"/>
                  </a:lnTo>
                  <a:lnTo>
                    <a:pt x="6655" y="1129"/>
                  </a:lnTo>
                  <a:lnTo>
                    <a:pt x="6655" y="1141"/>
                  </a:lnTo>
                  <a:lnTo>
                    <a:pt x="6655" y="1153"/>
                  </a:lnTo>
                  <a:lnTo>
                    <a:pt x="6667" y="1236"/>
                  </a:lnTo>
                  <a:lnTo>
                    <a:pt x="6667" y="1271"/>
                  </a:lnTo>
                  <a:lnTo>
                    <a:pt x="6655" y="1307"/>
                  </a:lnTo>
                  <a:lnTo>
                    <a:pt x="6643" y="1307"/>
                  </a:lnTo>
                  <a:lnTo>
                    <a:pt x="6607" y="1271"/>
                  </a:lnTo>
                  <a:lnTo>
                    <a:pt x="6583" y="1248"/>
                  </a:lnTo>
                  <a:lnTo>
                    <a:pt x="6500" y="1188"/>
                  </a:lnTo>
                  <a:lnTo>
                    <a:pt x="6441" y="1188"/>
                  </a:lnTo>
                  <a:lnTo>
                    <a:pt x="6429" y="1176"/>
                  </a:lnTo>
                  <a:lnTo>
                    <a:pt x="6358" y="1164"/>
                  </a:lnTo>
                  <a:lnTo>
                    <a:pt x="6298" y="1129"/>
                  </a:lnTo>
                  <a:lnTo>
                    <a:pt x="6215" y="1117"/>
                  </a:lnTo>
                  <a:lnTo>
                    <a:pt x="6144" y="1081"/>
                  </a:lnTo>
                  <a:lnTo>
                    <a:pt x="6108" y="1081"/>
                  </a:lnTo>
                  <a:lnTo>
                    <a:pt x="6037" y="1117"/>
                  </a:lnTo>
                  <a:lnTo>
                    <a:pt x="6001" y="1117"/>
                  </a:lnTo>
                  <a:lnTo>
                    <a:pt x="5977" y="1105"/>
                  </a:lnTo>
                  <a:lnTo>
                    <a:pt x="5977" y="1010"/>
                  </a:lnTo>
                  <a:lnTo>
                    <a:pt x="6001" y="915"/>
                  </a:lnTo>
                  <a:lnTo>
                    <a:pt x="5894" y="962"/>
                  </a:lnTo>
                  <a:lnTo>
                    <a:pt x="5823" y="1034"/>
                  </a:lnTo>
                  <a:lnTo>
                    <a:pt x="5740" y="1046"/>
                  </a:lnTo>
                  <a:lnTo>
                    <a:pt x="5692" y="1081"/>
                  </a:lnTo>
                  <a:lnTo>
                    <a:pt x="5668" y="1081"/>
                  </a:lnTo>
                  <a:lnTo>
                    <a:pt x="5633" y="1081"/>
                  </a:lnTo>
                  <a:lnTo>
                    <a:pt x="5621" y="1057"/>
                  </a:lnTo>
                  <a:lnTo>
                    <a:pt x="5633" y="962"/>
                  </a:lnTo>
                  <a:lnTo>
                    <a:pt x="5621" y="951"/>
                  </a:lnTo>
                  <a:lnTo>
                    <a:pt x="5609" y="939"/>
                  </a:lnTo>
                  <a:lnTo>
                    <a:pt x="5585" y="939"/>
                  </a:lnTo>
                  <a:lnTo>
                    <a:pt x="5538" y="1022"/>
                  </a:lnTo>
                  <a:lnTo>
                    <a:pt x="5538" y="1069"/>
                  </a:lnTo>
                  <a:lnTo>
                    <a:pt x="5514" y="1129"/>
                  </a:lnTo>
                  <a:lnTo>
                    <a:pt x="5478" y="1129"/>
                  </a:lnTo>
                  <a:lnTo>
                    <a:pt x="5478" y="1105"/>
                  </a:lnTo>
                  <a:lnTo>
                    <a:pt x="5466" y="1069"/>
                  </a:lnTo>
                  <a:lnTo>
                    <a:pt x="5466" y="962"/>
                  </a:lnTo>
                  <a:lnTo>
                    <a:pt x="5490" y="867"/>
                  </a:lnTo>
                  <a:lnTo>
                    <a:pt x="5478" y="820"/>
                  </a:lnTo>
                  <a:lnTo>
                    <a:pt x="5443" y="772"/>
                  </a:lnTo>
                  <a:lnTo>
                    <a:pt x="5359" y="725"/>
                  </a:lnTo>
                  <a:lnTo>
                    <a:pt x="5312" y="653"/>
                  </a:lnTo>
                  <a:lnTo>
                    <a:pt x="5240" y="606"/>
                  </a:lnTo>
                  <a:lnTo>
                    <a:pt x="5205" y="546"/>
                  </a:lnTo>
                  <a:lnTo>
                    <a:pt x="5193" y="475"/>
                  </a:lnTo>
                  <a:lnTo>
                    <a:pt x="5181" y="487"/>
                  </a:lnTo>
                  <a:lnTo>
                    <a:pt x="5157" y="546"/>
                  </a:lnTo>
                  <a:lnTo>
                    <a:pt x="5157" y="546"/>
                  </a:lnTo>
                  <a:lnTo>
                    <a:pt x="5134" y="594"/>
                  </a:lnTo>
                  <a:lnTo>
                    <a:pt x="5134" y="642"/>
                  </a:lnTo>
                  <a:lnTo>
                    <a:pt x="5110" y="665"/>
                  </a:lnTo>
                  <a:lnTo>
                    <a:pt x="5050" y="689"/>
                  </a:lnTo>
                  <a:lnTo>
                    <a:pt x="5038" y="689"/>
                  </a:lnTo>
                  <a:lnTo>
                    <a:pt x="4991" y="665"/>
                  </a:lnTo>
                  <a:lnTo>
                    <a:pt x="4943" y="618"/>
                  </a:lnTo>
                  <a:lnTo>
                    <a:pt x="4920" y="582"/>
                  </a:lnTo>
                  <a:lnTo>
                    <a:pt x="4860" y="558"/>
                  </a:lnTo>
                  <a:lnTo>
                    <a:pt x="4836" y="570"/>
                  </a:lnTo>
                  <a:lnTo>
                    <a:pt x="4777" y="606"/>
                  </a:lnTo>
                  <a:lnTo>
                    <a:pt x="4706" y="594"/>
                  </a:lnTo>
                  <a:lnTo>
                    <a:pt x="4670" y="701"/>
                  </a:lnTo>
                  <a:lnTo>
                    <a:pt x="4587" y="891"/>
                  </a:lnTo>
                  <a:lnTo>
                    <a:pt x="4587" y="1057"/>
                  </a:lnTo>
                  <a:lnTo>
                    <a:pt x="4409" y="974"/>
                  </a:lnTo>
                  <a:lnTo>
                    <a:pt x="4337" y="915"/>
                  </a:lnTo>
                  <a:lnTo>
                    <a:pt x="4242" y="879"/>
                  </a:lnTo>
                  <a:lnTo>
                    <a:pt x="4100" y="784"/>
                  </a:lnTo>
                  <a:lnTo>
                    <a:pt x="4028" y="772"/>
                  </a:lnTo>
                  <a:lnTo>
                    <a:pt x="3993" y="737"/>
                  </a:lnTo>
                  <a:lnTo>
                    <a:pt x="3886" y="653"/>
                  </a:lnTo>
                  <a:lnTo>
                    <a:pt x="3826" y="642"/>
                  </a:lnTo>
                  <a:lnTo>
                    <a:pt x="3743" y="606"/>
                  </a:lnTo>
                  <a:lnTo>
                    <a:pt x="3684" y="606"/>
                  </a:lnTo>
                  <a:lnTo>
                    <a:pt x="3612" y="558"/>
                  </a:lnTo>
                  <a:lnTo>
                    <a:pt x="3529" y="546"/>
                  </a:lnTo>
                  <a:lnTo>
                    <a:pt x="3494" y="499"/>
                  </a:lnTo>
                  <a:lnTo>
                    <a:pt x="3482" y="463"/>
                  </a:lnTo>
                  <a:lnTo>
                    <a:pt x="3505" y="368"/>
                  </a:lnTo>
                  <a:lnTo>
                    <a:pt x="3529" y="344"/>
                  </a:lnTo>
                  <a:lnTo>
                    <a:pt x="3541" y="273"/>
                  </a:lnTo>
                  <a:lnTo>
                    <a:pt x="3565" y="226"/>
                  </a:lnTo>
                  <a:lnTo>
                    <a:pt x="3565" y="142"/>
                  </a:lnTo>
                  <a:lnTo>
                    <a:pt x="3601" y="71"/>
                  </a:lnTo>
                  <a:lnTo>
                    <a:pt x="3624" y="0"/>
                  </a:lnTo>
                  <a:lnTo>
                    <a:pt x="3601" y="0"/>
                  </a:lnTo>
                  <a:lnTo>
                    <a:pt x="3446" y="154"/>
                  </a:lnTo>
                  <a:lnTo>
                    <a:pt x="3387" y="178"/>
                  </a:lnTo>
                  <a:lnTo>
                    <a:pt x="3351" y="226"/>
                  </a:lnTo>
                  <a:lnTo>
                    <a:pt x="3327" y="285"/>
                  </a:lnTo>
                  <a:lnTo>
                    <a:pt x="3280" y="333"/>
                  </a:lnTo>
                  <a:lnTo>
                    <a:pt x="3268" y="380"/>
                  </a:lnTo>
                  <a:lnTo>
                    <a:pt x="3232" y="440"/>
                  </a:lnTo>
                  <a:lnTo>
                    <a:pt x="3196" y="570"/>
                  </a:lnTo>
                  <a:lnTo>
                    <a:pt x="3196" y="570"/>
                  </a:lnTo>
                  <a:lnTo>
                    <a:pt x="3196" y="594"/>
                  </a:lnTo>
                  <a:lnTo>
                    <a:pt x="3185" y="701"/>
                  </a:lnTo>
                  <a:lnTo>
                    <a:pt x="3173" y="713"/>
                  </a:lnTo>
                  <a:lnTo>
                    <a:pt x="3137" y="713"/>
                  </a:lnTo>
                  <a:lnTo>
                    <a:pt x="3125" y="784"/>
                  </a:lnTo>
                  <a:lnTo>
                    <a:pt x="3090" y="796"/>
                  </a:lnTo>
                  <a:lnTo>
                    <a:pt x="3078" y="820"/>
                  </a:lnTo>
                  <a:lnTo>
                    <a:pt x="3078" y="915"/>
                  </a:lnTo>
                  <a:lnTo>
                    <a:pt x="3101" y="1010"/>
                  </a:lnTo>
                  <a:lnTo>
                    <a:pt x="3101" y="1093"/>
                  </a:lnTo>
                  <a:lnTo>
                    <a:pt x="3054" y="1153"/>
                  </a:lnTo>
                  <a:lnTo>
                    <a:pt x="3018" y="1260"/>
                  </a:lnTo>
                  <a:lnTo>
                    <a:pt x="2935" y="1343"/>
                  </a:lnTo>
                  <a:lnTo>
                    <a:pt x="2935" y="1343"/>
                  </a:lnTo>
                  <a:lnTo>
                    <a:pt x="2899" y="1473"/>
                  </a:lnTo>
                  <a:lnTo>
                    <a:pt x="2816" y="1568"/>
                  </a:lnTo>
                  <a:lnTo>
                    <a:pt x="2816" y="1592"/>
                  </a:lnTo>
                  <a:lnTo>
                    <a:pt x="2840" y="1640"/>
                  </a:lnTo>
                  <a:lnTo>
                    <a:pt x="2828" y="1699"/>
                  </a:lnTo>
                  <a:lnTo>
                    <a:pt x="2852" y="1747"/>
                  </a:lnTo>
                  <a:lnTo>
                    <a:pt x="2828" y="1818"/>
                  </a:lnTo>
                  <a:lnTo>
                    <a:pt x="2828" y="1949"/>
                  </a:lnTo>
                  <a:lnTo>
                    <a:pt x="2840" y="1973"/>
                  </a:lnTo>
                  <a:lnTo>
                    <a:pt x="2828" y="2008"/>
                  </a:lnTo>
                  <a:lnTo>
                    <a:pt x="2757" y="2044"/>
                  </a:lnTo>
                  <a:lnTo>
                    <a:pt x="2745" y="2079"/>
                  </a:lnTo>
                  <a:lnTo>
                    <a:pt x="2721" y="2115"/>
                  </a:lnTo>
                  <a:lnTo>
                    <a:pt x="2674" y="2210"/>
                  </a:lnTo>
                  <a:lnTo>
                    <a:pt x="2662" y="2270"/>
                  </a:lnTo>
                  <a:lnTo>
                    <a:pt x="2662" y="2305"/>
                  </a:lnTo>
                  <a:lnTo>
                    <a:pt x="2650" y="2341"/>
                  </a:lnTo>
                  <a:lnTo>
                    <a:pt x="2674" y="2484"/>
                  </a:lnTo>
                  <a:lnTo>
                    <a:pt x="2662" y="2543"/>
                  </a:lnTo>
                  <a:lnTo>
                    <a:pt x="2590" y="2757"/>
                  </a:lnTo>
                  <a:lnTo>
                    <a:pt x="2567" y="2840"/>
                  </a:lnTo>
                  <a:lnTo>
                    <a:pt x="2531" y="2876"/>
                  </a:lnTo>
                  <a:lnTo>
                    <a:pt x="2495" y="2983"/>
                  </a:lnTo>
                  <a:lnTo>
                    <a:pt x="2388" y="3066"/>
                  </a:lnTo>
                  <a:lnTo>
                    <a:pt x="2293" y="3101"/>
                  </a:lnTo>
                  <a:lnTo>
                    <a:pt x="2270" y="3101"/>
                  </a:lnTo>
                  <a:lnTo>
                    <a:pt x="2222" y="3054"/>
                  </a:lnTo>
                  <a:lnTo>
                    <a:pt x="2163" y="3078"/>
                  </a:lnTo>
                  <a:lnTo>
                    <a:pt x="2115" y="3078"/>
                  </a:lnTo>
                  <a:lnTo>
                    <a:pt x="1949" y="3173"/>
                  </a:lnTo>
                  <a:lnTo>
                    <a:pt x="1901" y="3244"/>
                  </a:lnTo>
                  <a:lnTo>
                    <a:pt x="1842" y="3315"/>
                  </a:lnTo>
                  <a:lnTo>
                    <a:pt x="1830" y="3387"/>
                  </a:lnTo>
                  <a:lnTo>
                    <a:pt x="1806" y="3434"/>
                  </a:lnTo>
                  <a:lnTo>
                    <a:pt x="1818" y="3529"/>
                  </a:lnTo>
                  <a:lnTo>
                    <a:pt x="1782" y="3589"/>
                  </a:lnTo>
                  <a:lnTo>
                    <a:pt x="1794" y="3624"/>
                  </a:lnTo>
                  <a:lnTo>
                    <a:pt x="1735" y="3696"/>
                  </a:lnTo>
                  <a:lnTo>
                    <a:pt x="1723" y="3708"/>
                  </a:lnTo>
                  <a:lnTo>
                    <a:pt x="1687" y="3696"/>
                  </a:lnTo>
                  <a:lnTo>
                    <a:pt x="1687" y="3708"/>
                  </a:lnTo>
                  <a:lnTo>
                    <a:pt x="1675" y="3731"/>
                  </a:lnTo>
                  <a:lnTo>
                    <a:pt x="1699" y="3791"/>
                  </a:lnTo>
                  <a:lnTo>
                    <a:pt x="1687" y="3815"/>
                  </a:lnTo>
                  <a:lnTo>
                    <a:pt x="1640" y="3910"/>
                  </a:lnTo>
                  <a:lnTo>
                    <a:pt x="1592" y="3957"/>
                  </a:lnTo>
                  <a:lnTo>
                    <a:pt x="1557" y="4028"/>
                  </a:lnTo>
                  <a:lnTo>
                    <a:pt x="1533" y="4040"/>
                  </a:lnTo>
                  <a:lnTo>
                    <a:pt x="1461" y="4040"/>
                  </a:lnTo>
                  <a:lnTo>
                    <a:pt x="1414" y="4100"/>
                  </a:lnTo>
                  <a:lnTo>
                    <a:pt x="1331" y="4112"/>
                  </a:lnTo>
                  <a:lnTo>
                    <a:pt x="1283" y="4124"/>
                  </a:lnTo>
                  <a:lnTo>
                    <a:pt x="1164" y="4112"/>
                  </a:lnTo>
                  <a:lnTo>
                    <a:pt x="1141" y="4112"/>
                  </a:lnTo>
                  <a:lnTo>
                    <a:pt x="1093" y="4195"/>
                  </a:lnTo>
                  <a:lnTo>
                    <a:pt x="1081" y="4278"/>
                  </a:lnTo>
                  <a:lnTo>
                    <a:pt x="1069" y="4314"/>
                  </a:lnTo>
                  <a:lnTo>
                    <a:pt x="998" y="4373"/>
                  </a:lnTo>
                  <a:lnTo>
                    <a:pt x="927" y="4385"/>
                  </a:lnTo>
                  <a:lnTo>
                    <a:pt x="891" y="4421"/>
                  </a:lnTo>
                  <a:lnTo>
                    <a:pt x="843" y="4432"/>
                  </a:lnTo>
                  <a:lnTo>
                    <a:pt x="796" y="4492"/>
                  </a:lnTo>
                  <a:lnTo>
                    <a:pt x="796" y="4563"/>
                  </a:lnTo>
                  <a:lnTo>
                    <a:pt x="796" y="4575"/>
                  </a:lnTo>
                  <a:lnTo>
                    <a:pt x="748" y="4563"/>
                  </a:lnTo>
                  <a:lnTo>
                    <a:pt x="653" y="4599"/>
                  </a:lnTo>
                  <a:lnTo>
                    <a:pt x="641" y="4623"/>
                  </a:lnTo>
                  <a:lnTo>
                    <a:pt x="641" y="4670"/>
                  </a:lnTo>
                  <a:lnTo>
                    <a:pt x="653" y="4706"/>
                  </a:lnTo>
                  <a:lnTo>
                    <a:pt x="665" y="4730"/>
                  </a:lnTo>
                  <a:lnTo>
                    <a:pt x="689" y="4730"/>
                  </a:lnTo>
                  <a:lnTo>
                    <a:pt x="701" y="4753"/>
                  </a:lnTo>
                  <a:lnTo>
                    <a:pt x="725" y="4765"/>
                  </a:lnTo>
                  <a:lnTo>
                    <a:pt x="725" y="4801"/>
                  </a:lnTo>
                  <a:lnTo>
                    <a:pt x="713" y="4884"/>
                  </a:lnTo>
                  <a:lnTo>
                    <a:pt x="677" y="4896"/>
                  </a:lnTo>
                  <a:lnTo>
                    <a:pt x="653" y="4932"/>
                  </a:lnTo>
                  <a:lnTo>
                    <a:pt x="594" y="4932"/>
                  </a:lnTo>
                  <a:lnTo>
                    <a:pt x="582" y="4955"/>
                  </a:lnTo>
                  <a:lnTo>
                    <a:pt x="582" y="5003"/>
                  </a:lnTo>
                  <a:lnTo>
                    <a:pt x="558" y="5015"/>
                  </a:lnTo>
                  <a:lnTo>
                    <a:pt x="523" y="5110"/>
                  </a:lnTo>
                  <a:lnTo>
                    <a:pt x="451" y="5146"/>
                  </a:lnTo>
                  <a:lnTo>
                    <a:pt x="392" y="5157"/>
                  </a:lnTo>
                  <a:lnTo>
                    <a:pt x="356" y="5205"/>
                  </a:lnTo>
                  <a:lnTo>
                    <a:pt x="344" y="5229"/>
                  </a:lnTo>
                  <a:lnTo>
                    <a:pt x="261" y="5300"/>
                  </a:lnTo>
                  <a:lnTo>
                    <a:pt x="202" y="5514"/>
                  </a:lnTo>
                  <a:lnTo>
                    <a:pt x="154" y="5573"/>
                  </a:lnTo>
                  <a:lnTo>
                    <a:pt x="95" y="5645"/>
                  </a:lnTo>
                  <a:lnTo>
                    <a:pt x="59" y="5728"/>
                  </a:lnTo>
                  <a:lnTo>
                    <a:pt x="59" y="5799"/>
                  </a:lnTo>
                  <a:lnTo>
                    <a:pt x="59" y="5835"/>
                  </a:lnTo>
                  <a:lnTo>
                    <a:pt x="59" y="5894"/>
                  </a:lnTo>
                  <a:lnTo>
                    <a:pt x="12" y="6001"/>
                  </a:lnTo>
                  <a:lnTo>
                    <a:pt x="0" y="6144"/>
                  </a:lnTo>
                  <a:lnTo>
                    <a:pt x="0" y="6203"/>
                  </a:lnTo>
                  <a:lnTo>
                    <a:pt x="23" y="6263"/>
                  </a:lnTo>
                  <a:lnTo>
                    <a:pt x="47" y="6286"/>
                  </a:lnTo>
                  <a:lnTo>
                    <a:pt x="83" y="6322"/>
                  </a:lnTo>
                  <a:lnTo>
                    <a:pt x="107" y="6370"/>
                  </a:lnTo>
                  <a:lnTo>
                    <a:pt x="142" y="6488"/>
                  </a:lnTo>
                  <a:lnTo>
                    <a:pt x="202" y="6595"/>
                  </a:lnTo>
                  <a:lnTo>
                    <a:pt x="214" y="6667"/>
                  </a:lnTo>
                  <a:lnTo>
                    <a:pt x="178" y="6690"/>
                  </a:lnTo>
                  <a:lnTo>
                    <a:pt x="95" y="6667"/>
                  </a:lnTo>
                  <a:lnTo>
                    <a:pt x="178" y="6690"/>
                  </a:lnTo>
                  <a:lnTo>
                    <a:pt x="154" y="6774"/>
                  </a:lnTo>
                  <a:lnTo>
                    <a:pt x="190" y="6845"/>
                  </a:lnTo>
                  <a:lnTo>
                    <a:pt x="178" y="6940"/>
                  </a:lnTo>
                  <a:lnTo>
                    <a:pt x="178" y="6976"/>
                  </a:lnTo>
                  <a:lnTo>
                    <a:pt x="202" y="7011"/>
                  </a:lnTo>
                  <a:lnTo>
                    <a:pt x="226" y="7035"/>
                  </a:lnTo>
                  <a:lnTo>
                    <a:pt x="237" y="7047"/>
                  </a:lnTo>
                  <a:lnTo>
                    <a:pt x="273" y="7035"/>
                  </a:lnTo>
                  <a:lnTo>
                    <a:pt x="380" y="6976"/>
                  </a:lnTo>
                  <a:lnTo>
                    <a:pt x="451" y="7011"/>
                  </a:lnTo>
                  <a:lnTo>
                    <a:pt x="511" y="7011"/>
                  </a:lnTo>
                  <a:lnTo>
                    <a:pt x="523" y="7011"/>
                  </a:lnTo>
                  <a:lnTo>
                    <a:pt x="546" y="7035"/>
                  </a:lnTo>
                  <a:lnTo>
                    <a:pt x="558" y="7059"/>
                  </a:lnTo>
                  <a:lnTo>
                    <a:pt x="558" y="7094"/>
                  </a:lnTo>
                  <a:lnTo>
                    <a:pt x="534" y="7142"/>
                  </a:lnTo>
                  <a:lnTo>
                    <a:pt x="511" y="7166"/>
                  </a:lnTo>
                  <a:lnTo>
                    <a:pt x="428" y="7178"/>
                  </a:lnTo>
                  <a:lnTo>
                    <a:pt x="428" y="7190"/>
                  </a:lnTo>
                  <a:lnTo>
                    <a:pt x="392" y="7201"/>
                  </a:lnTo>
                  <a:lnTo>
                    <a:pt x="356" y="7237"/>
                  </a:lnTo>
                  <a:lnTo>
                    <a:pt x="356" y="7296"/>
                  </a:lnTo>
                  <a:lnTo>
                    <a:pt x="356" y="7320"/>
                  </a:lnTo>
                  <a:lnTo>
                    <a:pt x="392" y="7368"/>
                  </a:lnTo>
                  <a:lnTo>
                    <a:pt x="416" y="7403"/>
                  </a:lnTo>
                  <a:lnTo>
                    <a:pt x="534" y="7451"/>
                  </a:lnTo>
                  <a:lnTo>
                    <a:pt x="677" y="7439"/>
                  </a:lnTo>
                  <a:lnTo>
                    <a:pt x="701" y="7463"/>
                  </a:lnTo>
                  <a:lnTo>
                    <a:pt x="725" y="7463"/>
                  </a:lnTo>
                  <a:lnTo>
                    <a:pt x="760" y="7427"/>
                  </a:lnTo>
                  <a:lnTo>
                    <a:pt x="891" y="7451"/>
                  </a:lnTo>
                  <a:lnTo>
                    <a:pt x="939" y="7487"/>
                  </a:lnTo>
                  <a:lnTo>
                    <a:pt x="962" y="7558"/>
                  </a:lnTo>
                  <a:lnTo>
                    <a:pt x="998" y="7605"/>
                  </a:lnTo>
                  <a:lnTo>
                    <a:pt x="1057" y="7629"/>
                  </a:lnTo>
                  <a:lnTo>
                    <a:pt x="1188" y="7653"/>
                  </a:lnTo>
                  <a:lnTo>
                    <a:pt x="1224" y="7677"/>
                  </a:lnTo>
                  <a:lnTo>
                    <a:pt x="1271" y="7712"/>
                  </a:lnTo>
                  <a:lnTo>
                    <a:pt x="1283" y="7736"/>
                  </a:lnTo>
                  <a:lnTo>
                    <a:pt x="1331" y="7784"/>
                  </a:lnTo>
                  <a:lnTo>
                    <a:pt x="1390" y="7784"/>
                  </a:lnTo>
                  <a:lnTo>
                    <a:pt x="1438" y="7807"/>
                  </a:lnTo>
                  <a:lnTo>
                    <a:pt x="1521" y="7807"/>
                  </a:lnTo>
                  <a:lnTo>
                    <a:pt x="1533" y="7819"/>
                  </a:lnTo>
                  <a:lnTo>
                    <a:pt x="1557" y="7831"/>
                  </a:lnTo>
                  <a:lnTo>
                    <a:pt x="1592" y="7891"/>
                  </a:lnTo>
                  <a:lnTo>
                    <a:pt x="1675" y="7926"/>
                  </a:lnTo>
                  <a:lnTo>
                    <a:pt x="1782" y="7998"/>
                  </a:lnTo>
                  <a:lnTo>
                    <a:pt x="1925" y="8010"/>
                  </a:lnTo>
                  <a:lnTo>
                    <a:pt x="1961" y="8033"/>
                  </a:lnTo>
                  <a:lnTo>
                    <a:pt x="2103" y="8069"/>
                  </a:lnTo>
                  <a:lnTo>
                    <a:pt x="2163" y="8116"/>
                  </a:lnTo>
                  <a:lnTo>
                    <a:pt x="2210" y="8128"/>
                  </a:lnTo>
                  <a:lnTo>
                    <a:pt x="2258" y="8176"/>
                  </a:lnTo>
                  <a:lnTo>
                    <a:pt x="2353" y="8176"/>
                  </a:lnTo>
                  <a:lnTo>
                    <a:pt x="2472" y="8235"/>
                  </a:lnTo>
                  <a:lnTo>
                    <a:pt x="2495" y="8271"/>
                  </a:lnTo>
                  <a:lnTo>
                    <a:pt x="2531" y="8342"/>
                  </a:lnTo>
                  <a:lnTo>
                    <a:pt x="2579" y="8378"/>
                  </a:lnTo>
                  <a:lnTo>
                    <a:pt x="2614" y="8402"/>
                  </a:lnTo>
                  <a:lnTo>
                    <a:pt x="2614" y="8425"/>
                  </a:lnTo>
                  <a:lnTo>
                    <a:pt x="2626" y="8425"/>
                  </a:lnTo>
                  <a:lnTo>
                    <a:pt x="2626" y="843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25" name="Freeform 420"/>
            <p:cNvSpPr>
              <a:spLocks/>
            </p:cNvSpPr>
            <p:nvPr/>
          </p:nvSpPr>
          <p:spPr bwMode="auto">
            <a:xfrm>
              <a:off x="16216313" y="5929313"/>
              <a:ext cx="1717675" cy="1150938"/>
            </a:xfrm>
            <a:custGeom>
              <a:avLst/>
              <a:gdLst/>
              <a:ahLst/>
              <a:cxnLst>
                <a:cxn ang="0">
                  <a:pos x="987" y="48"/>
                </a:cxn>
                <a:cxn ang="0">
                  <a:pos x="107" y="0"/>
                </a:cxn>
                <a:cxn ang="0">
                  <a:pos x="83" y="36"/>
                </a:cxn>
                <a:cxn ang="0">
                  <a:pos x="83" y="71"/>
                </a:cxn>
                <a:cxn ang="0">
                  <a:pos x="83" y="131"/>
                </a:cxn>
                <a:cxn ang="0">
                  <a:pos x="71" y="155"/>
                </a:cxn>
                <a:cxn ang="0">
                  <a:pos x="71" y="166"/>
                </a:cxn>
                <a:cxn ang="0">
                  <a:pos x="60" y="178"/>
                </a:cxn>
                <a:cxn ang="0">
                  <a:pos x="60" y="202"/>
                </a:cxn>
                <a:cxn ang="0">
                  <a:pos x="71" y="226"/>
                </a:cxn>
                <a:cxn ang="0">
                  <a:pos x="71" y="238"/>
                </a:cxn>
                <a:cxn ang="0">
                  <a:pos x="60" y="262"/>
                </a:cxn>
                <a:cxn ang="0">
                  <a:pos x="12" y="345"/>
                </a:cxn>
                <a:cxn ang="0">
                  <a:pos x="12" y="357"/>
                </a:cxn>
                <a:cxn ang="0">
                  <a:pos x="12" y="369"/>
                </a:cxn>
                <a:cxn ang="0">
                  <a:pos x="12" y="416"/>
                </a:cxn>
                <a:cxn ang="0">
                  <a:pos x="12" y="487"/>
                </a:cxn>
                <a:cxn ang="0">
                  <a:pos x="12" y="547"/>
                </a:cxn>
                <a:cxn ang="0">
                  <a:pos x="0" y="606"/>
                </a:cxn>
                <a:cxn ang="0">
                  <a:pos x="0" y="654"/>
                </a:cxn>
                <a:cxn ang="0">
                  <a:pos x="36" y="654"/>
                </a:cxn>
                <a:cxn ang="0">
                  <a:pos x="975" y="701"/>
                </a:cxn>
                <a:cxn ang="0">
                  <a:pos x="1070" y="725"/>
                </a:cxn>
                <a:cxn ang="0">
                  <a:pos x="1022" y="642"/>
                </a:cxn>
                <a:cxn ang="0">
                  <a:pos x="1022" y="618"/>
                </a:cxn>
                <a:cxn ang="0">
                  <a:pos x="1034" y="594"/>
                </a:cxn>
                <a:cxn ang="0">
                  <a:pos x="1034" y="452"/>
                </a:cxn>
                <a:cxn ang="0">
                  <a:pos x="1046" y="392"/>
                </a:cxn>
                <a:cxn ang="0">
                  <a:pos x="1082" y="345"/>
                </a:cxn>
                <a:cxn ang="0">
                  <a:pos x="1082" y="238"/>
                </a:cxn>
                <a:cxn ang="0">
                  <a:pos x="1058" y="155"/>
                </a:cxn>
                <a:cxn ang="0">
                  <a:pos x="1010" y="107"/>
                </a:cxn>
                <a:cxn ang="0">
                  <a:pos x="1010" y="107"/>
                </a:cxn>
                <a:cxn ang="0">
                  <a:pos x="987" y="48"/>
                </a:cxn>
                <a:cxn ang="0">
                  <a:pos x="987" y="48"/>
                </a:cxn>
              </a:cxnLst>
              <a:rect l="0" t="0" r="r" b="b"/>
              <a:pathLst>
                <a:path w="1082" h="725">
                  <a:moveTo>
                    <a:pt x="987" y="48"/>
                  </a:moveTo>
                  <a:lnTo>
                    <a:pt x="107" y="0"/>
                  </a:lnTo>
                  <a:lnTo>
                    <a:pt x="83" y="36"/>
                  </a:lnTo>
                  <a:lnTo>
                    <a:pt x="83" y="71"/>
                  </a:lnTo>
                  <a:lnTo>
                    <a:pt x="83" y="131"/>
                  </a:lnTo>
                  <a:lnTo>
                    <a:pt x="71" y="155"/>
                  </a:lnTo>
                  <a:lnTo>
                    <a:pt x="71" y="166"/>
                  </a:lnTo>
                  <a:lnTo>
                    <a:pt x="60" y="178"/>
                  </a:lnTo>
                  <a:lnTo>
                    <a:pt x="60" y="202"/>
                  </a:lnTo>
                  <a:lnTo>
                    <a:pt x="71" y="226"/>
                  </a:lnTo>
                  <a:lnTo>
                    <a:pt x="71" y="238"/>
                  </a:lnTo>
                  <a:lnTo>
                    <a:pt x="60" y="262"/>
                  </a:lnTo>
                  <a:lnTo>
                    <a:pt x="12" y="345"/>
                  </a:lnTo>
                  <a:lnTo>
                    <a:pt x="12" y="357"/>
                  </a:lnTo>
                  <a:lnTo>
                    <a:pt x="12" y="369"/>
                  </a:lnTo>
                  <a:lnTo>
                    <a:pt x="12" y="416"/>
                  </a:lnTo>
                  <a:lnTo>
                    <a:pt x="12" y="487"/>
                  </a:lnTo>
                  <a:lnTo>
                    <a:pt x="12" y="547"/>
                  </a:lnTo>
                  <a:lnTo>
                    <a:pt x="0" y="606"/>
                  </a:lnTo>
                  <a:lnTo>
                    <a:pt x="0" y="654"/>
                  </a:lnTo>
                  <a:lnTo>
                    <a:pt x="36" y="654"/>
                  </a:lnTo>
                  <a:lnTo>
                    <a:pt x="975" y="701"/>
                  </a:lnTo>
                  <a:lnTo>
                    <a:pt x="1070" y="725"/>
                  </a:lnTo>
                  <a:lnTo>
                    <a:pt x="1022" y="642"/>
                  </a:lnTo>
                  <a:lnTo>
                    <a:pt x="1022" y="618"/>
                  </a:lnTo>
                  <a:lnTo>
                    <a:pt x="1034" y="594"/>
                  </a:lnTo>
                  <a:lnTo>
                    <a:pt x="1034" y="452"/>
                  </a:lnTo>
                  <a:lnTo>
                    <a:pt x="1046" y="392"/>
                  </a:lnTo>
                  <a:lnTo>
                    <a:pt x="1082" y="345"/>
                  </a:lnTo>
                  <a:lnTo>
                    <a:pt x="1082" y="238"/>
                  </a:lnTo>
                  <a:lnTo>
                    <a:pt x="1058" y="155"/>
                  </a:lnTo>
                  <a:lnTo>
                    <a:pt x="1010" y="107"/>
                  </a:lnTo>
                  <a:lnTo>
                    <a:pt x="1010" y="107"/>
                  </a:lnTo>
                  <a:lnTo>
                    <a:pt x="987" y="48"/>
                  </a:lnTo>
                  <a:lnTo>
                    <a:pt x="987" y="4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sp>
          <p:nvSpPr>
            <p:cNvPr id="26" name="Freeform 422"/>
            <p:cNvSpPr>
              <a:spLocks/>
            </p:cNvSpPr>
            <p:nvPr/>
          </p:nvSpPr>
          <p:spPr bwMode="auto">
            <a:xfrm>
              <a:off x="27290713" y="11174413"/>
              <a:ext cx="4283075" cy="6489700"/>
            </a:xfrm>
            <a:custGeom>
              <a:avLst/>
              <a:gdLst/>
              <a:ahLst/>
              <a:cxnLst>
                <a:cxn ang="0">
                  <a:pos x="2686" y="665"/>
                </a:cxn>
                <a:cxn ang="0">
                  <a:pos x="2614" y="939"/>
                </a:cxn>
                <a:cxn ang="0">
                  <a:pos x="2579" y="1164"/>
                </a:cxn>
                <a:cxn ang="0">
                  <a:pos x="2591" y="1711"/>
                </a:cxn>
                <a:cxn ang="0">
                  <a:pos x="2507" y="2068"/>
                </a:cxn>
                <a:cxn ang="0">
                  <a:pos x="2448" y="2186"/>
                </a:cxn>
                <a:cxn ang="0">
                  <a:pos x="2222" y="2293"/>
                </a:cxn>
                <a:cxn ang="0">
                  <a:pos x="2092" y="2495"/>
                </a:cxn>
                <a:cxn ang="0">
                  <a:pos x="2044" y="2543"/>
                </a:cxn>
                <a:cxn ang="0">
                  <a:pos x="1949" y="2662"/>
                </a:cxn>
                <a:cxn ang="0">
                  <a:pos x="1925" y="2828"/>
                </a:cxn>
                <a:cxn ang="0">
                  <a:pos x="1854" y="2971"/>
                </a:cxn>
                <a:cxn ang="0">
                  <a:pos x="1830" y="2995"/>
                </a:cxn>
                <a:cxn ang="0">
                  <a:pos x="1759" y="3078"/>
                </a:cxn>
                <a:cxn ang="0">
                  <a:pos x="1592" y="3351"/>
                </a:cxn>
                <a:cxn ang="0">
                  <a:pos x="1402" y="3553"/>
                </a:cxn>
                <a:cxn ang="0">
                  <a:pos x="1331" y="3553"/>
                </a:cxn>
                <a:cxn ang="0">
                  <a:pos x="1129" y="3755"/>
                </a:cxn>
                <a:cxn ang="0">
                  <a:pos x="1046" y="3945"/>
                </a:cxn>
                <a:cxn ang="0">
                  <a:pos x="951" y="4088"/>
                </a:cxn>
                <a:cxn ang="0">
                  <a:pos x="820" y="4005"/>
                </a:cxn>
                <a:cxn ang="0">
                  <a:pos x="582" y="4005"/>
                </a:cxn>
                <a:cxn ang="0">
                  <a:pos x="285" y="3898"/>
                </a:cxn>
                <a:cxn ang="0">
                  <a:pos x="131" y="3826"/>
                </a:cxn>
                <a:cxn ang="0">
                  <a:pos x="107" y="3779"/>
                </a:cxn>
                <a:cxn ang="0">
                  <a:pos x="95" y="3506"/>
                </a:cxn>
                <a:cxn ang="0">
                  <a:pos x="36" y="3458"/>
                </a:cxn>
                <a:cxn ang="0">
                  <a:pos x="36" y="3375"/>
                </a:cxn>
                <a:cxn ang="0">
                  <a:pos x="95" y="3208"/>
                </a:cxn>
                <a:cxn ang="0">
                  <a:pos x="71" y="3018"/>
                </a:cxn>
                <a:cxn ang="0">
                  <a:pos x="154" y="2804"/>
                </a:cxn>
                <a:cxn ang="0">
                  <a:pos x="273" y="2745"/>
                </a:cxn>
                <a:cxn ang="0">
                  <a:pos x="368" y="2769"/>
                </a:cxn>
                <a:cxn ang="0">
                  <a:pos x="630" y="2733"/>
                </a:cxn>
                <a:cxn ang="0">
                  <a:pos x="701" y="2531"/>
                </a:cxn>
                <a:cxn ang="0">
                  <a:pos x="915" y="2305"/>
                </a:cxn>
                <a:cxn ang="0">
                  <a:pos x="915" y="2127"/>
                </a:cxn>
                <a:cxn ang="0">
                  <a:pos x="1141" y="1866"/>
                </a:cxn>
                <a:cxn ang="0">
                  <a:pos x="1188" y="1533"/>
                </a:cxn>
                <a:cxn ang="0">
                  <a:pos x="1081" y="1390"/>
                </a:cxn>
                <a:cxn ang="0">
                  <a:pos x="1022" y="1212"/>
                </a:cxn>
                <a:cxn ang="0">
                  <a:pos x="879" y="1117"/>
                </a:cxn>
                <a:cxn ang="0">
                  <a:pos x="974" y="1069"/>
                </a:cxn>
                <a:cxn ang="0">
                  <a:pos x="1141" y="1117"/>
                </a:cxn>
                <a:cxn ang="0">
                  <a:pos x="1248" y="1022"/>
                </a:cxn>
                <a:cxn ang="0">
                  <a:pos x="1224" y="915"/>
                </a:cxn>
                <a:cxn ang="0">
                  <a:pos x="1141" y="820"/>
                </a:cxn>
                <a:cxn ang="0">
                  <a:pos x="1153" y="570"/>
                </a:cxn>
                <a:cxn ang="0">
                  <a:pos x="1046" y="487"/>
                </a:cxn>
                <a:cxn ang="0">
                  <a:pos x="1117" y="333"/>
                </a:cxn>
                <a:cxn ang="0">
                  <a:pos x="1248" y="237"/>
                </a:cxn>
                <a:cxn ang="0">
                  <a:pos x="1426" y="273"/>
                </a:cxn>
                <a:cxn ang="0">
                  <a:pos x="1426" y="202"/>
                </a:cxn>
                <a:cxn ang="0">
                  <a:pos x="1319" y="83"/>
                </a:cxn>
                <a:cxn ang="0">
                  <a:pos x="1390" y="95"/>
                </a:cxn>
                <a:cxn ang="0">
                  <a:pos x="1581" y="95"/>
                </a:cxn>
                <a:cxn ang="0">
                  <a:pos x="1676" y="0"/>
                </a:cxn>
                <a:cxn ang="0">
                  <a:pos x="1937" y="71"/>
                </a:cxn>
                <a:cxn ang="0">
                  <a:pos x="2068" y="119"/>
                </a:cxn>
                <a:cxn ang="0">
                  <a:pos x="2127" y="95"/>
                </a:cxn>
                <a:cxn ang="0">
                  <a:pos x="2436" y="404"/>
                </a:cxn>
              </a:cxnLst>
              <a:rect l="0" t="0" r="r" b="b"/>
              <a:pathLst>
                <a:path w="2698" h="4088">
                  <a:moveTo>
                    <a:pt x="2698" y="642"/>
                  </a:moveTo>
                  <a:lnTo>
                    <a:pt x="2698" y="642"/>
                  </a:lnTo>
                  <a:lnTo>
                    <a:pt x="2686" y="665"/>
                  </a:lnTo>
                  <a:lnTo>
                    <a:pt x="2674" y="677"/>
                  </a:lnTo>
                  <a:lnTo>
                    <a:pt x="2626" y="808"/>
                  </a:lnTo>
                  <a:lnTo>
                    <a:pt x="2614" y="939"/>
                  </a:lnTo>
                  <a:lnTo>
                    <a:pt x="2614" y="951"/>
                  </a:lnTo>
                  <a:lnTo>
                    <a:pt x="2603" y="1034"/>
                  </a:lnTo>
                  <a:lnTo>
                    <a:pt x="2579" y="1164"/>
                  </a:lnTo>
                  <a:lnTo>
                    <a:pt x="2591" y="1402"/>
                  </a:lnTo>
                  <a:lnTo>
                    <a:pt x="2567" y="1580"/>
                  </a:lnTo>
                  <a:lnTo>
                    <a:pt x="2591" y="1711"/>
                  </a:lnTo>
                  <a:lnTo>
                    <a:pt x="2603" y="1782"/>
                  </a:lnTo>
                  <a:lnTo>
                    <a:pt x="2603" y="1806"/>
                  </a:lnTo>
                  <a:lnTo>
                    <a:pt x="2507" y="2068"/>
                  </a:lnTo>
                  <a:lnTo>
                    <a:pt x="2472" y="2151"/>
                  </a:lnTo>
                  <a:lnTo>
                    <a:pt x="2448" y="2175"/>
                  </a:lnTo>
                  <a:lnTo>
                    <a:pt x="2448" y="2186"/>
                  </a:lnTo>
                  <a:lnTo>
                    <a:pt x="2389" y="2234"/>
                  </a:lnTo>
                  <a:lnTo>
                    <a:pt x="2246" y="2270"/>
                  </a:lnTo>
                  <a:lnTo>
                    <a:pt x="2222" y="2293"/>
                  </a:lnTo>
                  <a:lnTo>
                    <a:pt x="2175" y="2353"/>
                  </a:lnTo>
                  <a:lnTo>
                    <a:pt x="2115" y="2460"/>
                  </a:lnTo>
                  <a:lnTo>
                    <a:pt x="2092" y="2495"/>
                  </a:lnTo>
                  <a:lnTo>
                    <a:pt x="2080" y="2507"/>
                  </a:lnTo>
                  <a:lnTo>
                    <a:pt x="2080" y="2507"/>
                  </a:lnTo>
                  <a:lnTo>
                    <a:pt x="2044" y="2543"/>
                  </a:lnTo>
                  <a:lnTo>
                    <a:pt x="2020" y="2602"/>
                  </a:lnTo>
                  <a:lnTo>
                    <a:pt x="1985" y="2650"/>
                  </a:lnTo>
                  <a:lnTo>
                    <a:pt x="1949" y="2662"/>
                  </a:lnTo>
                  <a:lnTo>
                    <a:pt x="1925" y="2686"/>
                  </a:lnTo>
                  <a:lnTo>
                    <a:pt x="1937" y="2745"/>
                  </a:lnTo>
                  <a:lnTo>
                    <a:pt x="1925" y="2828"/>
                  </a:lnTo>
                  <a:lnTo>
                    <a:pt x="1913" y="2899"/>
                  </a:lnTo>
                  <a:lnTo>
                    <a:pt x="1866" y="2971"/>
                  </a:lnTo>
                  <a:lnTo>
                    <a:pt x="1854" y="2971"/>
                  </a:lnTo>
                  <a:lnTo>
                    <a:pt x="1842" y="2971"/>
                  </a:lnTo>
                  <a:lnTo>
                    <a:pt x="1830" y="2971"/>
                  </a:lnTo>
                  <a:lnTo>
                    <a:pt x="1830" y="2995"/>
                  </a:lnTo>
                  <a:lnTo>
                    <a:pt x="1830" y="3018"/>
                  </a:lnTo>
                  <a:lnTo>
                    <a:pt x="1806" y="3030"/>
                  </a:lnTo>
                  <a:lnTo>
                    <a:pt x="1759" y="3078"/>
                  </a:lnTo>
                  <a:lnTo>
                    <a:pt x="1628" y="3351"/>
                  </a:lnTo>
                  <a:lnTo>
                    <a:pt x="1616" y="3363"/>
                  </a:lnTo>
                  <a:lnTo>
                    <a:pt x="1592" y="3351"/>
                  </a:lnTo>
                  <a:lnTo>
                    <a:pt x="1569" y="3375"/>
                  </a:lnTo>
                  <a:lnTo>
                    <a:pt x="1545" y="3387"/>
                  </a:lnTo>
                  <a:lnTo>
                    <a:pt x="1402" y="3553"/>
                  </a:lnTo>
                  <a:lnTo>
                    <a:pt x="1367" y="3565"/>
                  </a:lnTo>
                  <a:lnTo>
                    <a:pt x="1355" y="3541"/>
                  </a:lnTo>
                  <a:lnTo>
                    <a:pt x="1331" y="3553"/>
                  </a:lnTo>
                  <a:lnTo>
                    <a:pt x="1212" y="3636"/>
                  </a:lnTo>
                  <a:lnTo>
                    <a:pt x="1165" y="3684"/>
                  </a:lnTo>
                  <a:lnTo>
                    <a:pt x="1129" y="3755"/>
                  </a:lnTo>
                  <a:lnTo>
                    <a:pt x="1129" y="3791"/>
                  </a:lnTo>
                  <a:lnTo>
                    <a:pt x="1093" y="3862"/>
                  </a:lnTo>
                  <a:lnTo>
                    <a:pt x="1046" y="3945"/>
                  </a:lnTo>
                  <a:lnTo>
                    <a:pt x="986" y="3993"/>
                  </a:lnTo>
                  <a:lnTo>
                    <a:pt x="963" y="4040"/>
                  </a:lnTo>
                  <a:lnTo>
                    <a:pt x="951" y="4088"/>
                  </a:lnTo>
                  <a:lnTo>
                    <a:pt x="903" y="4088"/>
                  </a:lnTo>
                  <a:lnTo>
                    <a:pt x="856" y="4028"/>
                  </a:lnTo>
                  <a:lnTo>
                    <a:pt x="820" y="4005"/>
                  </a:lnTo>
                  <a:lnTo>
                    <a:pt x="725" y="4005"/>
                  </a:lnTo>
                  <a:lnTo>
                    <a:pt x="677" y="4017"/>
                  </a:lnTo>
                  <a:lnTo>
                    <a:pt x="582" y="4005"/>
                  </a:lnTo>
                  <a:lnTo>
                    <a:pt x="487" y="3957"/>
                  </a:lnTo>
                  <a:lnTo>
                    <a:pt x="333" y="3933"/>
                  </a:lnTo>
                  <a:lnTo>
                    <a:pt x="285" y="3898"/>
                  </a:lnTo>
                  <a:lnTo>
                    <a:pt x="214" y="3862"/>
                  </a:lnTo>
                  <a:lnTo>
                    <a:pt x="178" y="3838"/>
                  </a:lnTo>
                  <a:lnTo>
                    <a:pt x="131" y="3826"/>
                  </a:lnTo>
                  <a:lnTo>
                    <a:pt x="119" y="3838"/>
                  </a:lnTo>
                  <a:lnTo>
                    <a:pt x="107" y="3826"/>
                  </a:lnTo>
                  <a:lnTo>
                    <a:pt x="107" y="3779"/>
                  </a:lnTo>
                  <a:lnTo>
                    <a:pt x="131" y="3696"/>
                  </a:lnTo>
                  <a:lnTo>
                    <a:pt x="119" y="3541"/>
                  </a:lnTo>
                  <a:lnTo>
                    <a:pt x="95" y="3506"/>
                  </a:lnTo>
                  <a:lnTo>
                    <a:pt x="107" y="3482"/>
                  </a:lnTo>
                  <a:lnTo>
                    <a:pt x="95" y="3470"/>
                  </a:lnTo>
                  <a:lnTo>
                    <a:pt x="36" y="3458"/>
                  </a:lnTo>
                  <a:lnTo>
                    <a:pt x="12" y="3434"/>
                  </a:lnTo>
                  <a:lnTo>
                    <a:pt x="0" y="3399"/>
                  </a:lnTo>
                  <a:lnTo>
                    <a:pt x="36" y="3375"/>
                  </a:lnTo>
                  <a:lnTo>
                    <a:pt x="71" y="3327"/>
                  </a:lnTo>
                  <a:lnTo>
                    <a:pt x="83" y="3292"/>
                  </a:lnTo>
                  <a:lnTo>
                    <a:pt x="95" y="3208"/>
                  </a:lnTo>
                  <a:lnTo>
                    <a:pt x="107" y="3149"/>
                  </a:lnTo>
                  <a:lnTo>
                    <a:pt x="95" y="3078"/>
                  </a:lnTo>
                  <a:lnTo>
                    <a:pt x="71" y="3018"/>
                  </a:lnTo>
                  <a:lnTo>
                    <a:pt x="59" y="2971"/>
                  </a:lnTo>
                  <a:lnTo>
                    <a:pt x="95" y="2911"/>
                  </a:lnTo>
                  <a:lnTo>
                    <a:pt x="154" y="2804"/>
                  </a:lnTo>
                  <a:lnTo>
                    <a:pt x="214" y="2757"/>
                  </a:lnTo>
                  <a:lnTo>
                    <a:pt x="273" y="2757"/>
                  </a:lnTo>
                  <a:lnTo>
                    <a:pt x="273" y="2745"/>
                  </a:lnTo>
                  <a:lnTo>
                    <a:pt x="333" y="2745"/>
                  </a:lnTo>
                  <a:lnTo>
                    <a:pt x="333" y="2757"/>
                  </a:lnTo>
                  <a:lnTo>
                    <a:pt x="368" y="2769"/>
                  </a:lnTo>
                  <a:lnTo>
                    <a:pt x="558" y="2781"/>
                  </a:lnTo>
                  <a:lnTo>
                    <a:pt x="594" y="2769"/>
                  </a:lnTo>
                  <a:lnTo>
                    <a:pt x="630" y="2733"/>
                  </a:lnTo>
                  <a:lnTo>
                    <a:pt x="654" y="2697"/>
                  </a:lnTo>
                  <a:lnTo>
                    <a:pt x="665" y="2590"/>
                  </a:lnTo>
                  <a:lnTo>
                    <a:pt x="701" y="2531"/>
                  </a:lnTo>
                  <a:lnTo>
                    <a:pt x="772" y="2460"/>
                  </a:lnTo>
                  <a:lnTo>
                    <a:pt x="879" y="2365"/>
                  </a:lnTo>
                  <a:lnTo>
                    <a:pt x="915" y="2305"/>
                  </a:lnTo>
                  <a:lnTo>
                    <a:pt x="879" y="2258"/>
                  </a:lnTo>
                  <a:lnTo>
                    <a:pt x="879" y="2175"/>
                  </a:lnTo>
                  <a:lnTo>
                    <a:pt x="915" y="2127"/>
                  </a:lnTo>
                  <a:lnTo>
                    <a:pt x="998" y="2068"/>
                  </a:lnTo>
                  <a:lnTo>
                    <a:pt x="1058" y="1984"/>
                  </a:lnTo>
                  <a:lnTo>
                    <a:pt x="1141" y="1866"/>
                  </a:lnTo>
                  <a:lnTo>
                    <a:pt x="1141" y="1770"/>
                  </a:lnTo>
                  <a:lnTo>
                    <a:pt x="1188" y="1640"/>
                  </a:lnTo>
                  <a:lnTo>
                    <a:pt x="1188" y="1533"/>
                  </a:lnTo>
                  <a:lnTo>
                    <a:pt x="1176" y="1485"/>
                  </a:lnTo>
                  <a:lnTo>
                    <a:pt x="1093" y="1414"/>
                  </a:lnTo>
                  <a:lnTo>
                    <a:pt x="1081" y="1390"/>
                  </a:lnTo>
                  <a:lnTo>
                    <a:pt x="1058" y="1259"/>
                  </a:lnTo>
                  <a:lnTo>
                    <a:pt x="1046" y="1224"/>
                  </a:lnTo>
                  <a:lnTo>
                    <a:pt x="1022" y="1212"/>
                  </a:lnTo>
                  <a:lnTo>
                    <a:pt x="927" y="1200"/>
                  </a:lnTo>
                  <a:lnTo>
                    <a:pt x="891" y="1188"/>
                  </a:lnTo>
                  <a:lnTo>
                    <a:pt x="879" y="1117"/>
                  </a:lnTo>
                  <a:lnTo>
                    <a:pt x="915" y="1081"/>
                  </a:lnTo>
                  <a:lnTo>
                    <a:pt x="939" y="1069"/>
                  </a:lnTo>
                  <a:lnTo>
                    <a:pt x="974" y="1069"/>
                  </a:lnTo>
                  <a:lnTo>
                    <a:pt x="1070" y="1105"/>
                  </a:lnTo>
                  <a:lnTo>
                    <a:pt x="1105" y="1117"/>
                  </a:lnTo>
                  <a:lnTo>
                    <a:pt x="1141" y="1117"/>
                  </a:lnTo>
                  <a:lnTo>
                    <a:pt x="1200" y="1081"/>
                  </a:lnTo>
                  <a:lnTo>
                    <a:pt x="1236" y="1057"/>
                  </a:lnTo>
                  <a:lnTo>
                    <a:pt x="1248" y="1022"/>
                  </a:lnTo>
                  <a:lnTo>
                    <a:pt x="1260" y="962"/>
                  </a:lnTo>
                  <a:lnTo>
                    <a:pt x="1236" y="927"/>
                  </a:lnTo>
                  <a:lnTo>
                    <a:pt x="1224" y="915"/>
                  </a:lnTo>
                  <a:lnTo>
                    <a:pt x="1165" y="903"/>
                  </a:lnTo>
                  <a:lnTo>
                    <a:pt x="1141" y="867"/>
                  </a:lnTo>
                  <a:lnTo>
                    <a:pt x="1141" y="820"/>
                  </a:lnTo>
                  <a:lnTo>
                    <a:pt x="1176" y="689"/>
                  </a:lnTo>
                  <a:lnTo>
                    <a:pt x="1176" y="642"/>
                  </a:lnTo>
                  <a:lnTo>
                    <a:pt x="1153" y="570"/>
                  </a:lnTo>
                  <a:lnTo>
                    <a:pt x="1129" y="546"/>
                  </a:lnTo>
                  <a:lnTo>
                    <a:pt x="1046" y="558"/>
                  </a:lnTo>
                  <a:lnTo>
                    <a:pt x="1046" y="487"/>
                  </a:lnTo>
                  <a:lnTo>
                    <a:pt x="1058" y="440"/>
                  </a:lnTo>
                  <a:lnTo>
                    <a:pt x="1093" y="368"/>
                  </a:lnTo>
                  <a:lnTo>
                    <a:pt x="1117" y="333"/>
                  </a:lnTo>
                  <a:lnTo>
                    <a:pt x="1141" y="297"/>
                  </a:lnTo>
                  <a:lnTo>
                    <a:pt x="1176" y="273"/>
                  </a:lnTo>
                  <a:lnTo>
                    <a:pt x="1248" y="237"/>
                  </a:lnTo>
                  <a:lnTo>
                    <a:pt x="1319" y="237"/>
                  </a:lnTo>
                  <a:lnTo>
                    <a:pt x="1378" y="261"/>
                  </a:lnTo>
                  <a:lnTo>
                    <a:pt x="1426" y="273"/>
                  </a:lnTo>
                  <a:lnTo>
                    <a:pt x="1462" y="261"/>
                  </a:lnTo>
                  <a:lnTo>
                    <a:pt x="1462" y="237"/>
                  </a:lnTo>
                  <a:lnTo>
                    <a:pt x="1426" y="202"/>
                  </a:lnTo>
                  <a:lnTo>
                    <a:pt x="1367" y="166"/>
                  </a:lnTo>
                  <a:lnTo>
                    <a:pt x="1319" y="119"/>
                  </a:lnTo>
                  <a:lnTo>
                    <a:pt x="1319" y="83"/>
                  </a:lnTo>
                  <a:lnTo>
                    <a:pt x="1331" y="71"/>
                  </a:lnTo>
                  <a:lnTo>
                    <a:pt x="1355" y="83"/>
                  </a:lnTo>
                  <a:lnTo>
                    <a:pt x="1390" y="95"/>
                  </a:lnTo>
                  <a:lnTo>
                    <a:pt x="1426" y="107"/>
                  </a:lnTo>
                  <a:lnTo>
                    <a:pt x="1521" y="83"/>
                  </a:lnTo>
                  <a:lnTo>
                    <a:pt x="1581" y="95"/>
                  </a:lnTo>
                  <a:lnTo>
                    <a:pt x="1640" y="71"/>
                  </a:lnTo>
                  <a:lnTo>
                    <a:pt x="1640" y="47"/>
                  </a:lnTo>
                  <a:lnTo>
                    <a:pt x="1676" y="0"/>
                  </a:lnTo>
                  <a:lnTo>
                    <a:pt x="1711" y="0"/>
                  </a:lnTo>
                  <a:lnTo>
                    <a:pt x="1818" y="71"/>
                  </a:lnTo>
                  <a:lnTo>
                    <a:pt x="1937" y="71"/>
                  </a:lnTo>
                  <a:lnTo>
                    <a:pt x="1996" y="95"/>
                  </a:lnTo>
                  <a:lnTo>
                    <a:pt x="2020" y="119"/>
                  </a:lnTo>
                  <a:lnTo>
                    <a:pt x="2068" y="119"/>
                  </a:lnTo>
                  <a:lnTo>
                    <a:pt x="2092" y="119"/>
                  </a:lnTo>
                  <a:lnTo>
                    <a:pt x="2127" y="95"/>
                  </a:lnTo>
                  <a:lnTo>
                    <a:pt x="2127" y="95"/>
                  </a:lnTo>
                  <a:lnTo>
                    <a:pt x="2412" y="368"/>
                  </a:lnTo>
                  <a:lnTo>
                    <a:pt x="2436" y="404"/>
                  </a:lnTo>
                  <a:lnTo>
                    <a:pt x="2436" y="404"/>
                  </a:lnTo>
                  <a:lnTo>
                    <a:pt x="2698" y="642"/>
                  </a:lnTo>
                  <a:close/>
                </a:path>
              </a:pathLst>
            </a:custGeom>
            <a:solidFill>
              <a:srgbClr val="EAEAEA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grpSp>
          <p:nvGrpSpPr>
            <p:cNvPr id="27" name="Group 682"/>
            <p:cNvGrpSpPr/>
            <p:nvPr/>
          </p:nvGrpSpPr>
          <p:grpSpPr>
            <a:xfrm>
              <a:off x="21724938" y="16570325"/>
              <a:ext cx="7075488" cy="4602163"/>
              <a:chOff x="21724938" y="16570325"/>
              <a:chExt cx="7075488" cy="4602163"/>
            </a:xfrm>
            <a:grpFill/>
          </p:grpSpPr>
          <p:sp>
            <p:nvSpPr>
              <p:cNvPr id="124" name="Freeform 424"/>
              <p:cNvSpPr>
                <a:spLocks/>
              </p:cNvSpPr>
              <p:nvPr/>
            </p:nvSpPr>
            <p:spPr bwMode="auto">
              <a:xfrm>
                <a:off x="21724938" y="16570325"/>
                <a:ext cx="7075488" cy="4602163"/>
              </a:xfrm>
              <a:custGeom>
                <a:avLst/>
                <a:gdLst/>
                <a:ahLst/>
                <a:cxnLst>
                  <a:cxn ang="0">
                    <a:pos x="4314" y="1057"/>
                  </a:cxn>
                  <a:cxn ang="0">
                    <a:pos x="3874" y="1164"/>
                  </a:cxn>
                  <a:cxn ang="0">
                    <a:pos x="3767" y="1081"/>
                  </a:cxn>
                  <a:cxn ang="0">
                    <a:pos x="4148" y="1224"/>
                  </a:cxn>
                  <a:cxn ang="0">
                    <a:pos x="4350" y="1152"/>
                  </a:cxn>
                  <a:cxn ang="0">
                    <a:pos x="4350" y="1331"/>
                  </a:cxn>
                  <a:cxn ang="0">
                    <a:pos x="4338" y="1604"/>
                  </a:cxn>
                  <a:cxn ang="0">
                    <a:pos x="3779" y="1782"/>
                  </a:cxn>
                  <a:cxn ang="0">
                    <a:pos x="3399" y="1960"/>
                  </a:cxn>
                  <a:cxn ang="0">
                    <a:pos x="3185" y="2210"/>
                  </a:cxn>
                  <a:cxn ang="0">
                    <a:pos x="3304" y="2388"/>
                  </a:cxn>
                  <a:cxn ang="0">
                    <a:pos x="3114" y="2519"/>
                  </a:cxn>
                  <a:cxn ang="0">
                    <a:pos x="3126" y="2685"/>
                  </a:cxn>
                  <a:cxn ang="0">
                    <a:pos x="3007" y="2578"/>
                  </a:cxn>
                  <a:cxn ang="0">
                    <a:pos x="2543" y="2531"/>
                  </a:cxn>
                  <a:cxn ang="0">
                    <a:pos x="1961" y="2531"/>
                  </a:cxn>
                  <a:cxn ang="0">
                    <a:pos x="1973" y="2353"/>
                  </a:cxn>
                  <a:cxn ang="0">
                    <a:pos x="1949" y="2186"/>
                  </a:cxn>
                  <a:cxn ang="0">
                    <a:pos x="1759" y="2281"/>
                  </a:cxn>
                  <a:cxn ang="0">
                    <a:pos x="1854" y="2471"/>
                  </a:cxn>
                  <a:cxn ang="0">
                    <a:pos x="1438" y="2602"/>
                  </a:cxn>
                  <a:cxn ang="0">
                    <a:pos x="927" y="2626"/>
                  </a:cxn>
                  <a:cxn ang="0">
                    <a:pos x="1034" y="2566"/>
                  </a:cxn>
                  <a:cxn ang="0">
                    <a:pos x="1284" y="2543"/>
                  </a:cxn>
                  <a:cxn ang="0">
                    <a:pos x="975" y="2436"/>
                  </a:cxn>
                  <a:cxn ang="0">
                    <a:pos x="796" y="2531"/>
                  </a:cxn>
                  <a:cxn ang="0">
                    <a:pos x="689" y="2483"/>
                  </a:cxn>
                  <a:cxn ang="0">
                    <a:pos x="583" y="2412"/>
                  </a:cxn>
                  <a:cxn ang="0">
                    <a:pos x="452" y="2495"/>
                  </a:cxn>
                  <a:cxn ang="0">
                    <a:pos x="143" y="2685"/>
                  </a:cxn>
                  <a:cxn ang="0">
                    <a:pos x="250" y="2697"/>
                  </a:cxn>
                  <a:cxn ang="0">
                    <a:pos x="250" y="2745"/>
                  </a:cxn>
                  <a:cxn ang="0">
                    <a:pos x="345" y="2828"/>
                  </a:cxn>
                  <a:cxn ang="0">
                    <a:pos x="131" y="2875"/>
                  </a:cxn>
                  <a:cxn ang="0">
                    <a:pos x="48" y="2614"/>
                  </a:cxn>
                  <a:cxn ang="0">
                    <a:pos x="416" y="2317"/>
                  </a:cxn>
                  <a:cxn ang="0">
                    <a:pos x="701" y="2257"/>
                  </a:cxn>
                  <a:cxn ang="0">
                    <a:pos x="785" y="2067"/>
                  </a:cxn>
                  <a:cxn ang="0">
                    <a:pos x="297" y="1984"/>
                  </a:cxn>
                  <a:cxn ang="0">
                    <a:pos x="83" y="1735"/>
                  </a:cxn>
                  <a:cxn ang="0">
                    <a:pos x="381" y="1651"/>
                  </a:cxn>
                  <a:cxn ang="0">
                    <a:pos x="856" y="1544"/>
                  </a:cxn>
                  <a:cxn ang="0">
                    <a:pos x="1343" y="1426"/>
                  </a:cxn>
                  <a:cxn ang="0">
                    <a:pos x="1711" y="1378"/>
                  </a:cxn>
                  <a:cxn ang="0">
                    <a:pos x="2127" y="1414"/>
                  </a:cxn>
                  <a:cxn ang="0">
                    <a:pos x="2674" y="1200"/>
                  </a:cxn>
                  <a:cxn ang="0">
                    <a:pos x="2888" y="1022"/>
                  </a:cxn>
                  <a:cxn ang="0">
                    <a:pos x="2995" y="784"/>
                  </a:cxn>
                  <a:cxn ang="0">
                    <a:pos x="3126" y="475"/>
                  </a:cxn>
                  <a:cxn ang="0">
                    <a:pos x="3173" y="249"/>
                  </a:cxn>
                  <a:cxn ang="0">
                    <a:pos x="3375" y="202"/>
                  </a:cxn>
                  <a:cxn ang="0">
                    <a:pos x="3613" y="83"/>
                  </a:cxn>
                  <a:cxn ang="0">
                    <a:pos x="3625" y="439"/>
                  </a:cxn>
                  <a:cxn ang="0">
                    <a:pos x="3993" y="558"/>
                  </a:cxn>
                  <a:cxn ang="0">
                    <a:pos x="4409" y="689"/>
                  </a:cxn>
                </a:cxnLst>
                <a:rect l="0" t="0" r="r" b="b"/>
                <a:pathLst>
                  <a:path w="4457" h="2899">
                    <a:moveTo>
                      <a:pt x="4457" y="689"/>
                    </a:moveTo>
                    <a:lnTo>
                      <a:pt x="4421" y="808"/>
                    </a:lnTo>
                    <a:lnTo>
                      <a:pt x="4385" y="843"/>
                    </a:lnTo>
                    <a:lnTo>
                      <a:pt x="4373" y="879"/>
                    </a:lnTo>
                    <a:lnTo>
                      <a:pt x="4326" y="950"/>
                    </a:lnTo>
                    <a:lnTo>
                      <a:pt x="4314" y="1057"/>
                    </a:lnTo>
                    <a:lnTo>
                      <a:pt x="4290" y="1093"/>
                    </a:lnTo>
                    <a:lnTo>
                      <a:pt x="4243" y="1129"/>
                    </a:lnTo>
                    <a:lnTo>
                      <a:pt x="4124" y="1200"/>
                    </a:lnTo>
                    <a:lnTo>
                      <a:pt x="4053" y="1224"/>
                    </a:lnTo>
                    <a:lnTo>
                      <a:pt x="3993" y="1212"/>
                    </a:lnTo>
                    <a:lnTo>
                      <a:pt x="3874" y="1164"/>
                    </a:lnTo>
                    <a:lnTo>
                      <a:pt x="3791" y="1069"/>
                    </a:lnTo>
                    <a:lnTo>
                      <a:pt x="3767" y="1045"/>
                    </a:lnTo>
                    <a:lnTo>
                      <a:pt x="3720" y="1033"/>
                    </a:lnTo>
                    <a:lnTo>
                      <a:pt x="3672" y="1057"/>
                    </a:lnTo>
                    <a:lnTo>
                      <a:pt x="3720" y="1069"/>
                    </a:lnTo>
                    <a:lnTo>
                      <a:pt x="3767" y="1081"/>
                    </a:lnTo>
                    <a:lnTo>
                      <a:pt x="3803" y="1105"/>
                    </a:lnTo>
                    <a:lnTo>
                      <a:pt x="3874" y="1188"/>
                    </a:lnTo>
                    <a:lnTo>
                      <a:pt x="3946" y="1235"/>
                    </a:lnTo>
                    <a:lnTo>
                      <a:pt x="3993" y="1259"/>
                    </a:lnTo>
                    <a:lnTo>
                      <a:pt x="4076" y="1247"/>
                    </a:lnTo>
                    <a:lnTo>
                      <a:pt x="4148" y="1224"/>
                    </a:lnTo>
                    <a:lnTo>
                      <a:pt x="4231" y="1176"/>
                    </a:lnTo>
                    <a:lnTo>
                      <a:pt x="4278" y="1140"/>
                    </a:lnTo>
                    <a:lnTo>
                      <a:pt x="4302" y="1117"/>
                    </a:lnTo>
                    <a:lnTo>
                      <a:pt x="4362" y="1093"/>
                    </a:lnTo>
                    <a:lnTo>
                      <a:pt x="4373" y="1105"/>
                    </a:lnTo>
                    <a:lnTo>
                      <a:pt x="4350" y="1152"/>
                    </a:lnTo>
                    <a:lnTo>
                      <a:pt x="4350" y="1176"/>
                    </a:lnTo>
                    <a:lnTo>
                      <a:pt x="4350" y="1188"/>
                    </a:lnTo>
                    <a:lnTo>
                      <a:pt x="4338" y="1200"/>
                    </a:lnTo>
                    <a:lnTo>
                      <a:pt x="4338" y="1212"/>
                    </a:lnTo>
                    <a:lnTo>
                      <a:pt x="4338" y="1224"/>
                    </a:lnTo>
                    <a:lnTo>
                      <a:pt x="4350" y="1331"/>
                    </a:lnTo>
                    <a:lnTo>
                      <a:pt x="4350" y="1342"/>
                    </a:lnTo>
                    <a:lnTo>
                      <a:pt x="4362" y="1390"/>
                    </a:lnTo>
                    <a:lnTo>
                      <a:pt x="4385" y="1473"/>
                    </a:lnTo>
                    <a:lnTo>
                      <a:pt x="4385" y="1544"/>
                    </a:lnTo>
                    <a:lnTo>
                      <a:pt x="4362" y="1580"/>
                    </a:lnTo>
                    <a:lnTo>
                      <a:pt x="4338" y="1604"/>
                    </a:lnTo>
                    <a:lnTo>
                      <a:pt x="4219" y="1663"/>
                    </a:lnTo>
                    <a:lnTo>
                      <a:pt x="4112" y="1723"/>
                    </a:lnTo>
                    <a:lnTo>
                      <a:pt x="4029" y="1723"/>
                    </a:lnTo>
                    <a:lnTo>
                      <a:pt x="3969" y="1758"/>
                    </a:lnTo>
                    <a:lnTo>
                      <a:pt x="3898" y="1770"/>
                    </a:lnTo>
                    <a:lnTo>
                      <a:pt x="3779" y="1782"/>
                    </a:lnTo>
                    <a:lnTo>
                      <a:pt x="3732" y="1794"/>
                    </a:lnTo>
                    <a:lnTo>
                      <a:pt x="3649" y="1842"/>
                    </a:lnTo>
                    <a:lnTo>
                      <a:pt x="3542" y="1865"/>
                    </a:lnTo>
                    <a:lnTo>
                      <a:pt x="3482" y="1889"/>
                    </a:lnTo>
                    <a:lnTo>
                      <a:pt x="3458" y="1913"/>
                    </a:lnTo>
                    <a:lnTo>
                      <a:pt x="3399" y="1960"/>
                    </a:lnTo>
                    <a:lnTo>
                      <a:pt x="3340" y="2044"/>
                    </a:lnTo>
                    <a:lnTo>
                      <a:pt x="3304" y="2055"/>
                    </a:lnTo>
                    <a:lnTo>
                      <a:pt x="3256" y="2103"/>
                    </a:lnTo>
                    <a:lnTo>
                      <a:pt x="3233" y="2115"/>
                    </a:lnTo>
                    <a:lnTo>
                      <a:pt x="3197" y="2162"/>
                    </a:lnTo>
                    <a:lnTo>
                      <a:pt x="3185" y="2210"/>
                    </a:lnTo>
                    <a:lnTo>
                      <a:pt x="3173" y="2269"/>
                    </a:lnTo>
                    <a:lnTo>
                      <a:pt x="3185" y="2305"/>
                    </a:lnTo>
                    <a:lnTo>
                      <a:pt x="3245" y="2364"/>
                    </a:lnTo>
                    <a:lnTo>
                      <a:pt x="3292" y="2353"/>
                    </a:lnTo>
                    <a:lnTo>
                      <a:pt x="3304" y="2376"/>
                    </a:lnTo>
                    <a:lnTo>
                      <a:pt x="3304" y="2388"/>
                    </a:lnTo>
                    <a:lnTo>
                      <a:pt x="3292" y="2400"/>
                    </a:lnTo>
                    <a:lnTo>
                      <a:pt x="3256" y="2400"/>
                    </a:lnTo>
                    <a:lnTo>
                      <a:pt x="3233" y="2436"/>
                    </a:lnTo>
                    <a:lnTo>
                      <a:pt x="3185" y="2448"/>
                    </a:lnTo>
                    <a:lnTo>
                      <a:pt x="3149" y="2483"/>
                    </a:lnTo>
                    <a:lnTo>
                      <a:pt x="3114" y="2519"/>
                    </a:lnTo>
                    <a:lnTo>
                      <a:pt x="3114" y="2555"/>
                    </a:lnTo>
                    <a:lnTo>
                      <a:pt x="3114" y="2590"/>
                    </a:lnTo>
                    <a:lnTo>
                      <a:pt x="3126" y="2626"/>
                    </a:lnTo>
                    <a:lnTo>
                      <a:pt x="3149" y="2673"/>
                    </a:lnTo>
                    <a:lnTo>
                      <a:pt x="3138" y="2685"/>
                    </a:lnTo>
                    <a:lnTo>
                      <a:pt x="3126" y="2685"/>
                    </a:lnTo>
                    <a:lnTo>
                      <a:pt x="3114" y="2673"/>
                    </a:lnTo>
                    <a:lnTo>
                      <a:pt x="3090" y="2626"/>
                    </a:lnTo>
                    <a:lnTo>
                      <a:pt x="3090" y="2614"/>
                    </a:lnTo>
                    <a:lnTo>
                      <a:pt x="3066" y="2602"/>
                    </a:lnTo>
                    <a:lnTo>
                      <a:pt x="3042" y="2590"/>
                    </a:lnTo>
                    <a:lnTo>
                      <a:pt x="3007" y="2578"/>
                    </a:lnTo>
                    <a:lnTo>
                      <a:pt x="2947" y="2590"/>
                    </a:lnTo>
                    <a:lnTo>
                      <a:pt x="2900" y="2578"/>
                    </a:lnTo>
                    <a:lnTo>
                      <a:pt x="2793" y="2555"/>
                    </a:lnTo>
                    <a:lnTo>
                      <a:pt x="2662" y="2543"/>
                    </a:lnTo>
                    <a:lnTo>
                      <a:pt x="2603" y="2555"/>
                    </a:lnTo>
                    <a:lnTo>
                      <a:pt x="2543" y="2531"/>
                    </a:lnTo>
                    <a:lnTo>
                      <a:pt x="2496" y="2531"/>
                    </a:lnTo>
                    <a:lnTo>
                      <a:pt x="2270" y="2555"/>
                    </a:lnTo>
                    <a:lnTo>
                      <a:pt x="2223" y="2555"/>
                    </a:lnTo>
                    <a:lnTo>
                      <a:pt x="2080" y="2543"/>
                    </a:lnTo>
                    <a:lnTo>
                      <a:pt x="1985" y="2555"/>
                    </a:lnTo>
                    <a:lnTo>
                      <a:pt x="1961" y="2531"/>
                    </a:lnTo>
                    <a:lnTo>
                      <a:pt x="1902" y="2507"/>
                    </a:lnTo>
                    <a:lnTo>
                      <a:pt x="1902" y="2424"/>
                    </a:lnTo>
                    <a:lnTo>
                      <a:pt x="1914" y="2412"/>
                    </a:lnTo>
                    <a:lnTo>
                      <a:pt x="1925" y="2376"/>
                    </a:lnTo>
                    <a:lnTo>
                      <a:pt x="1961" y="2364"/>
                    </a:lnTo>
                    <a:lnTo>
                      <a:pt x="1973" y="2353"/>
                    </a:lnTo>
                    <a:lnTo>
                      <a:pt x="1985" y="2293"/>
                    </a:lnTo>
                    <a:lnTo>
                      <a:pt x="2009" y="2281"/>
                    </a:lnTo>
                    <a:lnTo>
                      <a:pt x="2020" y="2246"/>
                    </a:lnTo>
                    <a:lnTo>
                      <a:pt x="2009" y="2198"/>
                    </a:lnTo>
                    <a:lnTo>
                      <a:pt x="1985" y="2174"/>
                    </a:lnTo>
                    <a:lnTo>
                      <a:pt x="1949" y="2186"/>
                    </a:lnTo>
                    <a:lnTo>
                      <a:pt x="1914" y="2222"/>
                    </a:lnTo>
                    <a:lnTo>
                      <a:pt x="1854" y="2222"/>
                    </a:lnTo>
                    <a:lnTo>
                      <a:pt x="1830" y="2234"/>
                    </a:lnTo>
                    <a:lnTo>
                      <a:pt x="1795" y="2246"/>
                    </a:lnTo>
                    <a:lnTo>
                      <a:pt x="1771" y="2269"/>
                    </a:lnTo>
                    <a:lnTo>
                      <a:pt x="1759" y="2281"/>
                    </a:lnTo>
                    <a:lnTo>
                      <a:pt x="1747" y="2317"/>
                    </a:lnTo>
                    <a:lnTo>
                      <a:pt x="1759" y="2341"/>
                    </a:lnTo>
                    <a:lnTo>
                      <a:pt x="1771" y="2388"/>
                    </a:lnTo>
                    <a:lnTo>
                      <a:pt x="1795" y="2424"/>
                    </a:lnTo>
                    <a:lnTo>
                      <a:pt x="1842" y="2448"/>
                    </a:lnTo>
                    <a:lnTo>
                      <a:pt x="1854" y="2471"/>
                    </a:lnTo>
                    <a:lnTo>
                      <a:pt x="1830" y="2519"/>
                    </a:lnTo>
                    <a:lnTo>
                      <a:pt x="1795" y="2543"/>
                    </a:lnTo>
                    <a:lnTo>
                      <a:pt x="1759" y="2555"/>
                    </a:lnTo>
                    <a:lnTo>
                      <a:pt x="1605" y="2566"/>
                    </a:lnTo>
                    <a:lnTo>
                      <a:pt x="1509" y="2602"/>
                    </a:lnTo>
                    <a:lnTo>
                      <a:pt x="1438" y="2602"/>
                    </a:lnTo>
                    <a:lnTo>
                      <a:pt x="1379" y="2626"/>
                    </a:lnTo>
                    <a:lnTo>
                      <a:pt x="1319" y="2614"/>
                    </a:lnTo>
                    <a:lnTo>
                      <a:pt x="1248" y="2614"/>
                    </a:lnTo>
                    <a:lnTo>
                      <a:pt x="1022" y="2626"/>
                    </a:lnTo>
                    <a:lnTo>
                      <a:pt x="927" y="2638"/>
                    </a:lnTo>
                    <a:lnTo>
                      <a:pt x="927" y="2626"/>
                    </a:lnTo>
                    <a:lnTo>
                      <a:pt x="963" y="2602"/>
                    </a:lnTo>
                    <a:lnTo>
                      <a:pt x="1034" y="2602"/>
                    </a:lnTo>
                    <a:lnTo>
                      <a:pt x="1046" y="2590"/>
                    </a:lnTo>
                    <a:lnTo>
                      <a:pt x="1034" y="2590"/>
                    </a:lnTo>
                    <a:lnTo>
                      <a:pt x="1034" y="2578"/>
                    </a:lnTo>
                    <a:lnTo>
                      <a:pt x="1034" y="2566"/>
                    </a:lnTo>
                    <a:lnTo>
                      <a:pt x="1117" y="2602"/>
                    </a:lnTo>
                    <a:lnTo>
                      <a:pt x="1284" y="2590"/>
                    </a:lnTo>
                    <a:lnTo>
                      <a:pt x="1367" y="2602"/>
                    </a:lnTo>
                    <a:lnTo>
                      <a:pt x="1379" y="2590"/>
                    </a:lnTo>
                    <a:lnTo>
                      <a:pt x="1379" y="2578"/>
                    </a:lnTo>
                    <a:lnTo>
                      <a:pt x="1284" y="2543"/>
                    </a:lnTo>
                    <a:lnTo>
                      <a:pt x="1236" y="2471"/>
                    </a:lnTo>
                    <a:lnTo>
                      <a:pt x="1212" y="2460"/>
                    </a:lnTo>
                    <a:lnTo>
                      <a:pt x="1129" y="2448"/>
                    </a:lnTo>
                    <a:lnTo>
                      <a:pt x="1082" y="2424"/>
                    </a:lnTo>
                    <a:lnTo>
                      <a:pt x="1022" y="2436"/>
                    </a:lnTo>
                    <a:lnTo>
                      <a:pt x="975" y="2436"/>
                    </a:lnTo>
                    <a:lnTo>
                      <a:pt x="892" y="2471"/>
                    </a:lnTo>
                    <a:lnTo>
                      <a:pt x="880" y="2460"/>
                    </a:lnTo>
                    <a:lnTo>
                      <a:pt x="880" y="2424"/>
                    </a:lnTo>
                    <a:lnTo>
                      <a:pt x="868" y="2424"/>
                    </a:lnTo>
                    <a:lnTo>
                      <a:pt x="832" y="2495"/>
                    </a:lnTo>
                    <a:lnTo>
                      <a:pt x="796" y="2531"/>
                    </a:lnTo>
                    <a:lnTo>
                      <a:pt x="761" y="2531"/>
                    </a:lnTo>
                    <a:lnTo>
                      <a:pt x="749" y="2555"/>
                    </a:lnTo>
                    <a:lnTo>
                      <a:pt x="689" y="2555"/>
                    </a:lnTo>
                    <a:lnTo>
                      <a:pt x="678" y="2531"/>
                    </a:lnTo>
                    <a:lnTo>
                      <a:pt x="701" y="2507"/>
                    </a:lnTo>
                    <a:lnTo>
                      <a:pt x="689" y="2483"/>
                    </a:lnTo>
                    <a:lnTo>
                      <a:pt x="642" y="2483"/>
                    </a:lnTo>
                    <a:lnTo>
                      <a:pt x="571" y="2495"/>
                    </a:lnTo>
                    <a:lnTo>
                      <a:pt x="535" y="2483"/>
                    </a:lnTo>
                    <a:lnTo>
                      <a:pt x="535" y="2471"/>
                    </a:lnTo>
                    <a:lnTo>
                      <a:pt x="583" y="2448"/>
                    </a:lnTo>
                    <a:lnTo>
                      <a:pt x="583" y="2412"/>
                    </a:lnTo>
                    <a:lnTo>
                      <a:pt x="559" y="2400"/>
                    </a:lnTo>
                    <a:lnTo>
                      <a:pt x="523" y="2424"/>
                    </a:lnTo>
                    <a:lnTo>
                      <a:pt x="499" y="2412"/>
                    </a:lnTo>
                    <a:lnTo>
                      <a:pt x="476" y="2412"/>
                    </a:lnTo>
                    <a:lnTo>
                      <a:pt x="464" y="2483"/>
                    </a:lnTo>
                    <a:lnTo>
                      <a:pt x="452" y="2495"/>
                    </a:lnTo>
                    <a:lnTo>
                      <a:pt x="416" y="2495"/>
                    </a:lnTo>
                    <a:lnTo>
                      <a:pt x="392" y="2495"/>
                    </a:lnTo>
                    <a:lnTo>
                      <a:pt x="321" y="2519"/>
                    </a:lnTo>
                    <a:lnTo>
                      <a:pt x="214" y="2507"/>
                    </a:lnTo>
                    <a:lnTo>
                      <a:pt x="190" y="2519"/>
                    </a:lnTo>
                    <a:lnTo>
                      <a:pt x="143" y="2685"/>
                    </a:lnTo>
                    <a:lnTo>
                      <a:pt x="155" y="2697"/>
                    </a:lnTo>
                    <a:lnTo>
                      <a:pt x="178" y="2709"/>
                    </a:lnTo>
                    <a:lnTo>
                      <a:pt x="226" y="2673"/>
                    </a:lnTo>
                    <a:lnTo>
                      <a:pt x="250" y="2673"/>
                    </a:lnTo>
                    <a:lnTo>
                      <a:pt x="250" y="2685"/>
                    </a:lnTo>
                    <a:lnTo>
                      <a:pt x="250" y="2697"/>
                    </a:lnTo>
                    <a:lnTo>
                      <a:pt x="202" y="2721"/>
                    </a:lnTo>
                    <a:lnTo>
                      <a:pt x="190" y="2733"/>
                    </a:lnTo>
                    <a:lnTo>
                      <a:pt x="202" y="2745"/>
                    </a:lnTo>
                    <a:lnTo>
                      <a:pt x="202" y="2780"/>
                    </a:lnTo>
                    <a:lnTo>
                      <a:pt x="214" y="2780"/>
                    </a:lnTo>
                    <a:lnTo>
                      <a:pt x="250" y="2745"/>
                    </a:lnTo>
                    <a:lnTo>
                      <a:pt x="262" y="2733"/>
                    </a:lnTo>
                    <a:lnTo>
                      <a:pt x="285" y="2733"/>
                    </a:lnTo>
                    <a:lnTo>
                      <a:pt x="309" y="2768"/>
                    </a:lnTo>
                    <a:lnTo>
                      <a:pt x="345" y="2780"/>
                    </a:lnTo>
                    <a:lnTo>
                      <a:pt x="357" y="2816"/>
                    </a:lnTo>
                    <a:lnTo>
                      <a:pt x="345" y="2828"/>
                    </a:lnTo>
                    <a:lnTo>
                      <a:pt x="297" y="2840"/>
                    </a:lnTo>
                    <a:lnTo>
                      <a:pt x="250" y="2899"/>
                    </a:lnTo>
                    <a:lnTo>
                      <a:pt x="250" y="2899"/>
                    </a:lnTo>
                    <a:lnTo>
                      <a:pt x="226" y="2899"/>
                    </a:lnTo>
                    <a:lnTo>
                      <a:pt x="167" y="2864"/>
                    </a:lnTo>
                    <a:lnTo>
                      <a:pt x="131" y="2875"/>
                    </a:lnTo>
                    <a:lnTo>
                      <a:pt x="119" y="2875"/>
                    </a:lnTo>
                    <a:lnTo>
                      <a:pt x="83" y="2816"/>
                    </a:lnTo>
                    <a:lnTo>
                      <a:pt x="12" y="2733"/>
                    </a:lnTo>
                    <a:lnTo>
                      <a:pt x="0" y="2697"/>
                    </a:lnTo>
                    <a:lnTo>
                      <a:pt x="0" y="2650"/>
                    </a:lnTo>
                    <a:lnTo>
                      <a:pt x="48" y="2614"/>
                    </a:lnTo>
                    <a:lnTo>
                      <a:pt x="72" y="2543"/>
                    </a:lnTo>
                    <a:lnTo>
                      <a:pt x="72" y="2495"/>
                    </a:lnTo>
                    <a:lnTo>
                      <a:pt x="95" y="2448"/>
                    </a:lnTo>
                    <a:lnTo>
                      <a:pt x="155" y="2388"/>
                    </a:lnTo>
                    <a:lnTo>
                      <a:pt x="369" y="2341"/>
                    </a:lnTo>
                    <a:lnTo>
                      <a:pt x="416" y="2317"/>
                    </a:lnTo>
                    <a:lnTo>
                      <a:pt x="452" y="2317"/>
                    </a:lnTo>
                    <a:lnTo>
                      <a:pt x="476" y="2329"/>
                    </a:lnTo>
                    <a:lnTo>
                      <a:pt x="511" y="2341"/>
                    </a:lnTo>
                    <a:lnTo>
                      <a:pt x="666" y="2305"/>
                    </a:lnTo>
                    <a:lnTo>
                      <a:pt x="666" y="2293"/>
                    </a:lnTo>
                    <a:lnTo>
                      <a:pt x="701" y="2257"/>
                    </a:lnTo>
                    <a:lnTo>
                      <a:pt x="701" y="2234"/>
                    </a:lnTo>
                    <a:lnTo>
                      <a:pt x="725" y="2210"/>
                    </a:lnTo>
                    <a:lnTo>
                      <a:pt x="773" y="2162"/>
                    </a:lnTo>
                    <a:lnTo>
                      <a:pt x="796" y="2127"/>
                    </a:lnTo>
                    <a:lnTo>
                      <a:pt x="796" y="2091"/>
                    </a:lnTo>
                    <a:lnTo>
                      <a:pt x="785" y="2067"/>
                    </a:lnTo>
                    <a:lnTo>
                      <a:pt x="737" y="2020"/>
                    </a:lnTo>
                    <a:lnTo>
                      <a:pt x="630" y="1996"/>
                    </a:lnTo>
                    <a:lnTo>
                      <a:pt x="535" y="1996"/>
                    </a:lnTo>
                    <a:lnTo>
                      <a:pt x="369" y="2032"/>
                    </a:lnTo>
                    <a:lnTo>
                      <a:pt x="345" y="2020"/>
                    </a:lnTo>
                    <a:lnTo>
                      <a:pt x="297" y="1984"/>
                    </a:lnTo>
                    <a:lnTo>
                      <a:pt x="238" y="1913"/>
                    </a:lnTo>
                    <a:lnTo>
                      <a:pt x="226" y="1877"/>
                    </a:lnTo>
                    <a:lnTo>
                      <a:pt x="202" y="1806"/>
                    </a:lnTo>
                    <a:lnTo>
                      <a:pt x="178" y="1770"/>
                    </a:lnTo>
                    <a:lnTo>
                      <a:pt x="119" y="1758"/>
                    </a:lnTo>
                    <a:lnTo>
                      <a:pt x="83" y="1735"/>
                    </a:lnTo>
                    <a:lnTo>
                      <a:pt x="143" y="1699"/>
                    </a:lnTo>
                    <a:lnTo>
                      <a:pt x="250" y="1675"/>
                    </a:lnTo>
                    <a:lnTo>
                      <a:pt x="285" y="1675"/>
                    </a:lnTo>
                    <a:lnTo>
                      <a:pt x="321" y="1663"/>
                    </a:lnTo>
                    <a:lnTo>
                      <a:pt x="357" y="1640"/>
                    </a:lnTo>
                    <a:lnTo>
                      <a:pt x="381" y="1651"/>
                    </a:lnTo>
                    <a:lnTo>
                      <a:pt x="416" y="1651"/>
                    </a:lnTo>
                    <a:lnTo>
                      <a:pt x="535" y="1580"/>
                    </a:lnTo>
                    <a:lnTo>
                      <a:pt x="583" y="1592"/>
                    </a:lnTo>
                    <a:lnTo>
                      <a:pt x="654" y="1592"/>
                    </a:lnTo>
                    <a:lnTo>
                      <a:pt x="737" y="1592"/>
                    </a:lnTo>
                    <a:lnTo>
                      <a:pt x="856" y="1544"/>
                    </a:lnTo>
                    <a:lnTo>
                      <a:pt x="951" y="1485"/>
                    </a:lnTo>
                    <a:lnTo>
                      <a:pt x="1034" y="1485"/>
                    </a:lnTo>
                    <a:lnTo>
                      <a:pt x="1248" y="1402"/>
                    </a:lnTo>
                    <a:lnTo>
                      <a:pt x="1284" y="1414"/>
                    </a:lnTo>
                    <a:lnTo>
                      <a:pt x="1307" y="1426"/>
                    </a:lnTo>
                    <a:lnTo>
                      <a:pt x="1343" y="1426"/>
                    </a:lnTo>
                    <a:lnTo>
                      <a:pt x="1379" y="1438"/>
                    </a:lnTo>
                    <a:lnTo>
                      <a:pt x="1426" y="1414"/>
                    </a:lnTo>
                    <a:lnTo>
                      <a:pt x="1462" y="1438"/>
                    </a:lnTo>
                    <a:lnTo>
                      <a:pt x="1486" y="1449"/>
                    </a:lnTo>
                    <a:lnTo>
                      <a:pt x="1593" y="1426"/>
                    </a:lnTo>
                    <a:lnTo>
                      <a:pt x="1711" y="1378"/>
                    </a:lnTo>
                    <a:lnTo>
                      <a:pt x="1771" y="1390"/>
                    </a:lnTo>
                    <a:lnTo>
                      <a:pt x="1949" y="1449"/>
                    </a:lnTo>
                    <a:lnTo>
                      <a:pt x="1973" y="1473"/>
                    </a:lnTo>
                    <a:lnTo>
                      <a:pt x="2020" y="1485"/>
                    </a:lnTo>
                    <a:lnTo>
                      <a:pt x="2044" y="1473"/>
                    </a:lnTo>
                    <a:lnTo>
                      <a:pt x="2127" y="1414"/>
                    </a:lnTo>
                    <a:lnTo>
                      <a:pt x="2234" y="1354"/>
                    </a:lnTo>
                    <a:lnTo>
                      <a:pt x="2341" y="1319"/>
                    </a:lnTo>
                    <a:lnTo>
                      <a:pt x="2425" y="1271"/>
                    </a:lnTo>
                    <a:lnTo>
                      <a:pt x="2543" y="1247"/>
                    </a:lnTo>
                    <a:lnTo>
                      <a:pt x="2603" y="1212"/>
                    </a:lnTo>
                    <a:lnTo>
                      <a:pt x="2674" y="1200"/>
                    </a:lnTo>
                    <a:lnTo>
                      <a:pt x="2781" y="1140"/>
                    </a:lnTo>
                    <a:lnTo>
                      <a:pt x="2888" y="1117"/>
                    </a:lnTo>
                    <a:lnTo>
                      <a:pt x="2959" y="1093"/>
                    </a:lnTo>
                    <a:lnTo>
                      <a:pt x="2959" y="1069"/>
                    </a:lnTo>
                    <a:lnTo>
                      <a:pt x="2947" y="1033"/>
                    </a:lnTo>
                    <a:lnTo>
                      <a:pt x="2888" y="1022"/>
                    </a:lnTo>
                    <a:lnTo>
                      <a:pt x="2876" y="986"/>
                    </a:lnTo>
                    <a:lnTo>
                      <a:pt x="2900" y="950"/>
                    </a:lnTo>
                    <a:lnTo>
                      <a:pt x="2936" y="927"/>
                    </a:lnTo>
                    <a:lnTo>
                      <a:pt x="2947" y="903"/>
                    </a:lnTo>
                    <a:lnTo>
                      <a:pt x="2983" y="867"/>
                    </a:lnTo>
                    <a:lnTo>
                      <a:pt x="2995" y="784"/>
                    </a:lnTo>
                    <a:lnTo>
                      <a:pt x="3019" y="760"/>
                    </a:lnTo>
                    <a:lnTo>
                      <a:pt x="3031" y="736"/>
                    </a:lnTo>
                    <a:lnTo>
                      <a:pt x="3042" y="713"/>
                    </a:lnTo>
                    <a:lnTo>
                      <a:pt x="3042" y="641"/>
                    </a:lnTo>
                    <a:lnTo>
                      <a:pt x="3090" y="546"/>
                    </a:lnTo>
                    <a:lnTo>
                      <a:pt x="3126" y="475"/>
                    </a:lnTo>
                    <a:lnTo>
                      <a:pt x="3161" y="416"/>
                    </a:lnTo>
                    <a:lnTo>
                      <a:pt x="3233" y="356"/>
                    </a:lnTo>
                    <a:lnTo>
                      <a:pt x="3233" y="332"/>
                    </a:lnTo>
                    <a:lnTo>
                      <a:pt x="3221" y="297"/>
                    </a:lnTo>
                    <a:lnTo>
                      <a:pt x="3173" y="273"/>
                    </a:lnTo>
                    <a:lnTo>
                      <a:pt x="3173" y="249"/>
                    </a:lnTo>
                    <a:lnTo>
                      <a:pt x="3173" y="225"/>
                    </a:lnTo>
                    <a:lnTo>
                      <a:pt x="3173" y="202"/>
                    </a:lnTo>
                    <a:lnTo>
                      <a:pt x="3209" y="190"/>
                    </a:lnTo>
                    <a:lnTo>
                      <a:pt x="3256" y="178"/>
                    </a:lnTo>
                    <a:lnTo>
                      <a:pt x="3304" y="202"/>
                    </a:lnTo>
                    <a:lnTo>
                      <a:pt x="3375" y="202"/>
                    </a:lnTo>
                    <a:lnTo>
                      <a:pt x="3435" y="59"/>
                    </a:lnTo>
                    <a:lnTo>
                      <a:pt x="3506" y="0"/>
                    </a:lnTo>
                    <a:lnTo>
                      <a:pt x="3518" y="35"/>
                    </a:lnTo>
                    <a:lnTo>
                      <a:pt x="3542" y="59"/>
                    </a:lnTo>
                    <a:lnTo>
                      <a:pt x="3601" y="71"/>
                    </a:lnTo>
                    <a:lnTo>
                      <a:pt x="3613" y="83"/>
                    </a:lnTo>
                    <a:lnTo>
                      <a:pt x="3601" y="107"/>
                    </a:lnTo>
                    <a:lnTo>
                      <a:pt x="3625" y="142"/>
                    </a:lnTo>
                    <a:lnTo>
                      <a:pt x="3637" y="297"/>
                    </a:lnTo>
                    <a:lnTo>
                      <a:pt x="3613" y="380"/>
                    </a:lnTo>
                    <a:lnTo>
                      <a:pt x="3613" y="427"/>
                    </a:lnTo>
                    <a:lnTo>
                      <a:pt x="3625" y="439"/>
                    </a:lnTo>
                    <a:lnTo>
                      <a:pt x="3637" y="427"/>
                    </a:lnTo>
                    <a:lnTo>
                      <a:pt x="3684" y="439"/>
                    </a:lnTo>
                    <a:lnTo>
                      <a:pt x="3720" y="463"/>
                    </a:lnTo>
                    <a:lnTo>
                      <a:pt x="3791" y="499"/>
                    </a:lnTo>
                    <a:lnTo>
                      <a:pt x="3839" y="534"/>
                    </a:lnTo>
                    <a:lnTo>
                      <a:pt x="3993" y="558"/>
                    </a:lnTo>
                    <a:lnTo>
                      <a:pt x="4088" y="606"/>
                    </a:lnTo>
                    <a:lnTo>
                      <a:pt x="4183" y="618"/>
                    </a:lnTo>
                    <a:lnTo>
                      <a:pt x="4231" y="606"/>
                    </a:lnTo>
                    <a:lnTo>
                      <a:pt x="4326" y="606"/>
                    </a:lnTo>
                    <a:lnTo>
                      <a:pt x="4362" y="629"/>
                    </a:lnTo>
                    <a:lnTo>
                      <a:pt x="4409" y="689"/>
                    </a:lnTo>
                    <a:lnTo>
                      <a:pt x="4457" y="689"/>
                    </a:lnTo>
                    <a:close/>
                  </a:path>
                </a:pathLst>
              </a:custGeom>
              <a:solidFill>
                <a:srgbClr val="EAEAEA"/>
              </a:solidFill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25" name="Freeform 426"/>
              <p:cNvSpPr>
                <a:spLocks/>
              </p:cNvSpPr>
              <p:nvPr/>
            </p:nvSpPr>
            <p:spPr bwMode="auto">
              <a:xfrm>
                <a:off x="22555200" y="20662900"/>
                <a:ext cx="471488" cy="246063"/>
              </a:xfrm>
              <a:custGeom>
                <a:avLst/>
                <a:gdLst/>
                <a:ahLst/>
                <a:cxnLst>
                  <a:cxn ang="0">
                    <a:pos x="178" y="0"/>
                  </a:cxn>
                  <a:cxn ang="0">
                    <a:pos x="202" y="0"/>
                  </a:cxn>
                  <a:cxn ang="0">
                    <a:pos x="226" y="48"/>
                  </a:cxn>
                  <a:cxn ang="0">
                    <a:pos x="273" y="48"/>
                  </a:cxn>
                  <a:cxn ang="0">
                    <a:pos x="285" y="84"/>
                  </a:cxn>
                  <a:cxn ang="0">
                    <a:pos x="297" y="107"/>
                  </a:cxn>
                  <a:cxn ang="0">
                    <a:pos x="285" y="119"/>
                  </a:cxn>
                  <a:cxn ang="0">
                    <a:pos x="273" y="119"/>
                  </a:cxn>
                  <a:cxn ang="0">
                    <a:pos x="250" y="107"/>
                  </a:cxn>
                  <a:cxn ang="0">
                    <a:pos x="226" y="107"/>
                  </a:cxn>
                  <a:cxn ang="0">
                    <a:pos x="190" y="143"/>
                  </a:cxn>
                  <a:cxn ang="0">
                    <a:pos x="131" y="143"/>
                  </a:cxn>
                  <a:cxn ang="0">
                    <a:pos x="95" y="119"/>
                  </a:cxn>
                  <a:cxn ang="0">
                    <a:pos x="71" y="119"/>
                  </a:cxn>
                  <a:cxn ang="0">
                    <a:pos x="36" y="155"/>
                  </a:cxn>
                  <a:cxn ang="0">
                    <a:pos x="12" y="155"/>
                  </a:cxn>
                  <a:cxn ang="0">
                    <a:pos x="0" y="84"/>
                  </a:cxn>
                  <a:cxn ang="0">
                    <a:pos x="12" y="72"/>
                  </a:cxn>
                  <a:cxn ang="0">
                    <a:pos x="36" y="72"/>
                  </a:cxn>
                  <a:cxn ang="0">
                    <a:pos x="71" y="24"/>
                  </a:cxn>
                  <a:cxn ang="0">
                    <a:pos x="107" y="36"/>
                  </a:cxn>
                  <a:cxn ang="0">
                    <a:pos x="119" y="24"/>
                  </a:cxn>
                  <a:cxn ang="0">
                    <a:pos x="155" y="12"/>
                  </a:cxn>
                  <a:cxn ang="0">
                    <a:pos x="178" y="0"/>
                  </a:cxn>
                </a:cxnLst>
                <a:rect l="0" t="0" r="r" b="b"/>
                <a:pathLst>
                  <a:path w="297" h="155">
                    <a:moveTo>
                      <a:pt x="178" y="0"/>
                    </a:moveTo>
                    <a:lnTo>
                      <a:pt x="202" y="0"/>
                    </a:lnTo>
                    <a:lnTo>
                      <a:pt x="226" y="48"/>
                    </a:lnTo>
                    <a:lnTo>
                      <a:pt x="273" y="48"/>
                    </a:lnTo>
                    <a:lnTo>
                      <a:pt x="285" y="84"/>
                    </a:lnTo>
                    <a:lnTo>
                      <a:pt x="297" y="107"/>
                    </a:lnTo>
                    <a:lnTo>
                      <a:pt x="285" y="119"/>
                    </a:lnTo>
                    <a:lnTo>
                      <a:pt x="273" y="119"/>
                    </a:lnTo>
                    <a:lnTo>
                      <a:pt x="250" y="107"/>
                    </a:lnTo>
                    <a:lnTo>
                      <a:pt x="226" y="107"/>
                    </a:lnTo>
                    <a:lnTo>
                      <a:pt x="190" y="143"/>
                    </a:lnTo>
                    <a:lnTo>
                      <a:pt x="131" y="143"/>
                    </a:lnTo>
                    <a:lnTo>
                      <a:pt x="95" y="119"/>
                    </a:lnTo>
                    <a:lnTo>
                      <a:pt x="71" y="119"/>
                    </a:lnTo>
                    <a:lnTo>
                      <a:pt x="36" y="155"/>
                    </a:lnTo>
                    <a:lnTo>
                      <a:pt x="12" y="155"/>
                    </a:lnTo>
                    <a:lnTo>
                      <a:pt x="0" y="84"/>
                    </a:lnTo>
                    <a:lnTo>
                      <a:pt x="12" y="72"/>
                    </a:lnTo>
                    <a:lnTo>
                      <a:pt x="36" y="72"/>
                    </a:lnTo>
                    <a:lnTo>
                      <a:pt x="71" y="24"/>
                    </a:lnTo>
                    <a:lnTo>
                      <a:pt x="107" y="36"/>
                    </a:lnTo>
                    <a:lnTo>
                      <a:pt x="119" y="24"/>
                    </a:lnTo>
                    <a:lnTo>
                      <a:pt x="155" y="12"/>
                    </a:lnTo>
                    <a:lnTo>
                      <a:pt x="178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</p:grpSp>
        <p:grpSp>
          <p:nvGrpSpPr>
            <p:cNvPr id="28" name="Group 683"/>
            <p:cNvGrpSpPr/>
            <p:nvPr/>
          </p:nvGrpSpPr>
          <p:grpSpPr>
            <a:xfrm>
              <a:off x="7199313" y="13966825"/>
              <a:ext cx="15789275" cy="10658475"/>
              <a:chOff x="7199313" y="13966825"/>
              <a:chExt cx="15789275" cy="10658475"/>
            </a:xfrm>
            <a:grpFill/>
          </p:grpSpPr>
          <p:sp>
            <p:nvSpPr>
              <p:cNvPr id="121" name="Freeform 428"/>
              <p:cNvSpPr>
                <a:spLocks/>
              </p:cNvSpPr>
              <p:nvPr/>
            </p:nvSpPr>
            <p:spPr bwMode="auto">
              <a:xfrm>
                <a:off x="7199313" y="13966825"/>
                <a:ext cx="15789275" cy="10658475"/>
              </a:xfrm>
              <a:custGeom>
                <a:avLst/>
                <a:gdLst/>
                <a:ahLst/>
                <a:cxnLst>
                  <a:cxn ang="0">
                    <a:pos x="9091" y="4492"/>
                  </a:cxn>
                  <a:cxn ang="0">
                    <a:pos x="8877" y="4658"/>
                  </a:cxn>
                  <a:cxn ang="0">
                    <a:pos x="8580" y="4741"/>
                  </a:cxn>
                  <a:cxn ang="0">
                    <a:pos x="8461" y="5062"/>
                  </a:cxn>
                  <a:cxn ang="0">
                    <a:pos x="7760" y="4979"/>
                  </a:cxn>
                  <a:cxn ang="0">
                    <a:pos x="7463" y="5205"/>
                  </a:cxn>
                  <a:cxn ang="0">
                    <a:pos x="7403" y="5252"/>
                  </a:cxn>
                  <a:cxn ang="0">
                    <a:pos x="6571" y="5775"/>
                  </a:cxn>
                  <a:cxn ang="0">
                    <a:pos x="5787" y="6215"/>
                  </a:cxn>
                  <a:cxn ang="0">
                    <a:pos x="5621" y="6369"/>
                  </a:cxn>
                  <a:cxn ang="0">
                    <a:pos x="5585" y="6429"/>
                  </a:cxn>
                  <a:cxn ang="0">
                    <a:pos x="5502" y="6655"/>
                  </a:cxn>
                  <a:cxn ang="0">
                    <a:pos x="5359" y="6369"/>
                  </a:cxn>
                  <a:cxn ang="0">
                    <a:pos x="4908" y="6393"/>
                  </a:cxn>
                  <a:cxn ang="0">
                    <a:pos x="4896" y="5953"/>
                  </a:cxn>
                  <a:cxn ang="0">
                    <a:pos x="4195" y="5942"/>
                  </a:cxn>
                  <a:cxn ang="0">
                    <a:pos x="4195" y="5454"/>
                  </a:cxn>
                  <a:cxn ang="0">
                    <a:pos x="3886" y="4908"/>
                  </a:cxn>
                  <a:cxn ang="0">
                    <a:pos x="3874" y="4539"/>
                  </a:cxn>
                  <a:cxn ang="0">
                    <a:pos x="3696" y="3993"/>
                  </a:cxn>
                  <a:cxn ang="0">
                    <a:pos x="3137" y="3791"/>
                  </a:cxn>
                  <a:cxn ang="0">
                    <a:pos x="2543" y="3707"/>
                  </a:cxn>
                  <a:cxn ang="0">
                    <a:pos x="2163" y="3541"/>
                  </a:cxn>
                  <a:cxn ang="0">
                    <a:pos x="1747" y="3458"/>
                  </a:cxn>
                  <a:cxn ang="0">
                    <a:pos x="1069" y="3327"/>
                  </a:cxn>
                  <a:cxn ang="0">
                    <a:pos x="784" y="3386"/>
                  </a:cxn>
                  <a:cxn ang="0">
                    <a:pos x="249" y="3315"/>
                  </a:cxn>
                  <a:cxn ang="0">
                    <a:pos x="309" y="3149"/>
                  </a:cxn>
                  <a:cxn ang="0">
                    <a:pos x="1188" y="2293"/>
                  </a:cxn>
                  <a:cxn ang="0">
                    <a:pos x="1663" y="1366"/>
                  </a:cxn>
                  <a:cxn ang="0">
                    <a:pos x="1937" y="820"/>
                  </a:cxn>
                  <a:cxn ang="0">
                    <a:pos x="2460" y="332"/>
                  </a:cxn>
                  <a:cxn ang="0">
                    <a:pos x="3113" y="35"/>
                  </a:cxn>
                  <a:cxn ang="0">
                    <a:pos x="3755" y="190"/>
                  </a:cxn>
                  <a:cxn ang="0">
                    <a:pos x="4397" y="320"/>
                  </a:cxn>
                  <a:cxn ang="0">
                    <a:pos x="4527" y="629"/>
                  </a:cxn>
                  <a:cxn ang="0">
                    <a:pos x="4777" y="796"/>
                  </a:cxn>
                  <a:cxn ang="0">
                    <a:pos x="5229" y="499"/>
                  </a:cxn>
                  <a:cxn ang="0">
                    <a:pos x="5502" y="427"/>
                  </a:cxn>
                  <a:cxn ang="0">
                    <a:pos x="5882" y="475"/>
                  </a:cxn>
                  <a:cxn ang="0">
                    <a:pos x="6203" y="404"/>
                  </a:cxn>
                  <a:cxn ang="0">
                    <a:pos x="6619" y="534"/>
                  </a:cxn>
                  <a:cxn ang="0">
                    <a:pos x="6738" y="1033"/>
                  </a:cxn>
                  <a:cxn ang="0">
                    <a:pos x="6655" y="1402"/>
                  </a:cxn>
                  <a:cxn ang="0">
                    <a:pos x="6880" y="2103"/>
                  </a:cxn>
                  <a:cxn ang="0">
                    <a:pos x="7308" y="2139"/>
                  </a:cxn>
                  <a:cxn ang="0">
                    <a:pos x="7249" y="2662"/>
                  </a:cxn>
                  <a:cxn ang="0">
                    <a:pos x="7189" y="2923"/>
                  </a:cxn>
                  <a:cxn ang="0">
                    <a:pos x="7213" y="3303"/>
                  </a:cxn>
                  <a:cxn ang="0">
                    <a:pos x="7451" y="3684"/>
                  </a:cxn>
                  <a:cxn ang="0">
                    <a:pos x="7736" y="3838"/>
                  </a:cxn>
                  <a:cxn ang="0">
                    <a:pos x="7997" y="3862"/>
                  </a:cxn>
                  <a:cxn ang="0">
                    <a:pos x="8140" y="3660"/>
                  </a:cxn>
                  <a:cxn ang="0">
                    <a:pos x="8580" y="3612"/>
                  </a:cxn>
                  <a:cxn ang="0">
                    <a:pos x="9233" y="3375"/>
                  </a:cxn>
                  <a:cxn ang="0">
                    <a:pos x="9780" y="3636"/>
                  </a:cxn>
                  <a:cxn ang="0">
                    <a:pos x="9816" y="3945"/>
                  </a:cxn>
                  <a:cxn ang="0">
                    <a:pos x="9198" y="4254"/>
                  </a:cxn>
                </a:cxnLst>
                <a:rect l="0" t="0" r="r" b="b"/>
                <a:pathLst>
                  <a:path w="9946" h="6714">
                    <a:moveTo>
                      <a:pt x="9269" y="4515"/>
                    </a:moveTo>
                    <a:lnTo>
                      <a:pt x="9269" y="4527"/>
                    </a:lnTo>
                    <a:lnTo>
                      <a:pt x="9257" y="4539"/>
                    </a:lnTo>
                    <a:lnTo>
                      <a:pt x="9198" y="4527"/>
                    </a:lnTo>
                    <a:lnTo>
                      <a:pt x="9162" y="4539"/>
                    </a:lnTo>
                    <a:lnTo>
                      <a:pt x="9150" y="4539"/>
                    </a:lnTo>
                    <a:lnTo>
                      <a:pt x="9138" y="4515"/>
                    </a:lnTo>
                    <a:lnTo>
                      <a:pt x="9115" y="4515"/>
                    </a:lnTo>
                    <a:lnTo>
                      <a:pt x="9103" y="4515"/>
                    </a:lnTo>
                    <a:lnTo>
                      <a:pt x="9091" y="4492"/>
                    </a:lnTo>
                    <a:lnTo>
                      <a:pt x="9055" y="4492"/>
                    </a:lnTo>
                    <a:lnTo>
                      <a:pt x="9031" y="4504"/>
                    </a:lnTo>
                    <a:lnTo>
                      <a:pt x="8972" y="4527"/>
                    </a:lnTo>
                    <a:lnTo>
                      <a:pt x="8901" y="4575"/>
                    </a:lnTo>
                    <a:lnTo>
                      <a:pt x="8889" y="4587"/>
                    </a:lnTo>
                    <a:lnTo>
                      <a:pt x="8913" y="4599"/>
                    </a:lnTo>
                    <a:lnTo>
                      <a:pt x="8924" y="4611"/>
                    </a:lnTo>
                    <a:lnTo>
                      <a:pt x="8913" y="4622"/>
                    </a:lnTo>
                    <a:lnTo>
                      <a:pt x="8889" y="4634"/>
                    </a:lnTo>
                    <a:lnTo>
                      <a:pt x="8877" y="4658"/>
                    </a:lnTo>
                    <a:lnTo>
                      <a:pt x="8841" y="4646"/>
                    </a:lnTo>
                    <a:lnTo>
                      <a:pt x="8817" y="4682"/>
                    </a:lnTo>
                    <a:lnTo>
                      <a:pt x="8782" y="4670"/>
                    </a:lnTo>
                    <a:lnTo>
                      <a:pt x="8770" y="4694"/>
                    </a:lnTo>
                    <a:lnTo>
                      <a:pt x="8746" y="4694"/>
                    </a:lnTo>
                    <a:lnTo>
                      <a:pt x="8722" y="4706"/>
                    </a:lnTo>
                    <a:lnTo>
                      <a:pt x="8734" y="4741"/>
                    </a:lnTo>
                    <a:lnTo>
                      <a:pt x="8699" y="4765"/>
                    </a:lnTo>
                    <a:lnTo>
                      <a:pt x="8627" y="4729"/>
                    </a:lnTo>
                    <a:lnTo>
                      <a:pt x="8580" y="4741"/>
                    </a:lnTo>
                    <a:lnTo>
                      <a:pt x="8532" y="4706"/>
                    </a:lnTo>
                    <a:lnTo>
                      <a:pt x="8509" y="4706"/>
                    </a:lnTo>
                    <a:lnTo>
                      <a:pt x="8509" y="4765"/>
                    </a:lnTo>
                    <a:lnTo>
                      <a:pt x="8473" y="4836"/>
                    </a:lnTo>
                    <a:lnTo>
                      <a:pt x="8473" y="4872"/>
                    </a:lnTo>
                    <a:lnTo>
                      <a:pt x="8497" y="4896"/>
                    </a:lnTo>
                    <a:lnTo>
                      <a:pt x="8485" y="4931"/>
                    </a:lnTo>
                    <a:lnTo>
                      <a:pt x="8497" y="4979"/>
                    </a:lnTo>
                    <a:lnTo>
                      <a:pt x="8485" y="5038"/>
                    </a:lnTo>
                    <a:lnTo>
                      <a:pt x="8461" y="5062"/>
                    </a:lnTo>
                    <a:lnTo>
                      <a:pt x="8330" y="5062"/>
                    </a:lnTo>
                    <a:lnTo>
                      <a:pt x="8295" y="5026"/>
                    </a:lnTo>
                    <a:lnTo>
                      <a:pt x="8223" y="5003"/>
                    </a:lnTo>
                    <a:lnTo>
                      <a:pt x="8200" y="4991"/>
                    </a:lnTo>
                    <a:lnTo>
                      <a:pt x="8021" y="4931"/>
                    </a:lnTo>
                    <a:lnTo>
                      <a:pt x="7926" y="4931"/>
                    </a:lnTo>
                    <a:lnTo>
                      <a:pt x="7855" y="4955"/>
                    </a:lnTo>
                    <a:lnTo>
                      <a:pt x="7772" y="5015"/>
                    </a:lnTo>
                    <a:lnTo>
                      <a:pt x="7772" y="5015"/>
                    </a:lnTo>
                    <a:lnTo>
                      <a:pt x="7760" y="4979"/>
                    </a:lnTo>
                    <a:lnTo>
                      <a:pt x="7724" y="4991"/>
                    </a:lnTo>
                    <a:lnTo>
                      <a:pt x="7689" y="5038"/>
                    </a:lnTo>
                    <a:lnTo>
                      <a:pt x="7689" y="5074"/>
                    </a:lnTo>
                    <a:lnTo>
                      <a:pt x="7641" y="5110"/>
                    </a:lnTo>
                    <a:lnTo>
                      <a:pt x="7629" y="5157"/>
                    </a:lnTo>
                    <a:lnTo>
                      <a:pt x="7582" y="5181"/>
                    </a:lnTo>
                    <a:lnTo>
                      <a:pt x="7546" y="5193"/>
                    </a:lnTo>
                    <a:lnTo>
                      <a:pt x="7510" y="5228"/>
                    </a:lnTo>
                    <a:lnTo>
                      <a:pt x="7486" y="5217"/>
                    </a:lnTo>
                    <a:lnTo>
                      <a:pt x="7463" y="5205"/>
                    </a:lnTo>
                    <a:lnTo>
                      <a:pt x="7451" y="5169"/>
                    </a:lnTo>
                    <a:lnTo>
                      <a:pt x="7451" y="5145"/>
                    </a:lnTo>
                    <a:lnTo>
                      <a:pt x="7451" y="5133"/>
                    </a:lnTo>
                    <a:lnTo>
                      <a:pt x="7439" y="5133"/>
                    </a:lnTo>
                    <a:lnTo>
                      <a:pt x="7403" y="5133"/>
                    </a:lnTo>
                    <a:lnTo>
                      <a:pt x="7391" y="5145"/>
                    </a:lnTo>
                    <a:lnTo>
                      <a:pt x="7391" y="5169"/>
                    </a:lnTo>
                    <a:lnTo>
                      <a:pt x="7415" y="5217"/>
                    </a:lnTo>
                    <a:lnTo>
                      <a:pt x="7415" y="5240"/>
                    </a:lnTo>
                    <a:lnTo>
                      <a:pt x="7403" y="5252"/>
                    </a:lnTo>
                    <a:lnTo>
                      <a:pt x="7261" y="5288"/>
                    </a:lnTo>
                    <a:lnTo>
                      <a:pt x="7106" y="5359"/>
                    </a:lnTo>
                    <a:lnTo>
                      <a:pt x="6964" y="5454"/>
                    </a:lnTo>
                    <a:lnTo>
                      <a:pt x="6833" y="5502"/>
                    </a:lnTo>
                    <a:lnTo>
                      <a:pt x="6702" y="5609"/>
                    </a:lnTo>
                    <a:lnTo>
                      <a:pt x="6690" y="5680"/>
                    </a:lnTo>
                    <a:lnTo>
                      <a:pt x="6667" y="5704"/>
                    </a:lnTo>
                    <a:lnTo>
                      <a:pt x="6643" y="5716"/>
                    </a:lnTo>
                    <a:lnTo>
                      <a:pt x="6595" y="5716"/>
                    </a:lnTo>
                    <a:lnTo>
                      <a:pt x="6571" y="5775"/>
                    </a:lnTo>
                    <a:lnTo>
                      <a:pt x="6476" y="5835"/>
                    </a:lnTo>
                    <a:lnTo>
                      <a:pt x="6429" y="5894"/>
                    </a:lnTo>
                    <a:lnTo>
                      <a:pt x="6358" y="5906"/>
                    </a:lnTo>
                    <a:lnTo>
                      <a:pt x="6334" y="5930"/>
                    </a:lnTo>
                    <a:lnTo>
                      <a:pt x="6274" y="5977"/>
                    </a:lnTo>
                    <a:lnTo>
                      <a:pt x="6239" y="5977"/>
                    </a:lnTo>
                    <a:lnTo>
                      <a:pt x="6203" y="6001"/>
                    </a:lnTo>
                    <a:lnTo>
                      <a:pt x="6156" y="5989"/>
                    </a:lnTo>
                    <a:lnTo>
                      <a:pt x="6025" y="6048"/>
                    </a:lnTo>
                    <a:lnTo>
                      <a:pt x="5787" y="6215"/>
                    </a:lnTo>
                    <a:lnTo>
                      <a:pt x="5704" y="6239"/>
                    </a:lnTo>
                    <a:lnTo>
                      <a:pt x="5668" y="6274"/>
                    </a:lnTo>
                    <a:lnTo>
                      <a:pt x="5633" y="6298"/>
                    </a:lnTo>
                    <a:lnTo>
                      <a:pt x="5609" y="6334"/>
                    </a:lnTo>
                    <a:lnTo>
                      <a:pt x="5585" y="6322"/>
                    </a:lnTo>
                    <a:lnTo>
                      <a:pt x="5573" y="6322"/>
                    </a:lnTo>
                    <a:lnTo>
                      <a:pt x="5573" y="6334"/>
                    </a:lnTo>
                    <a:lnTo>
                      <a:pt x="5573" y="6381"/>
                    </a:lnTo>
                    <a:lnTo>
                      <a:pt x="5597" y="6393"/>
                    </a:lnTo>
                    <a:lnTo>
                      <a:pt x="5621" y="6369"/>
                    </a:lnTo>
                    <a:lnTo>
                      <a:pt x="5633" y="6346"/>
                    </a:lnTo>
                    <a:lnTo>
                      <a:pt x="5680" y="6286"/>
                    </a:lnTo>
                    <a:lnTo>
                      <a:pt x="5716" y="6274"/>
                    </a:lnTo>
                    <a:lnTo>
                      <a:pt x="5728" y="6274"/>
                    </a:lnTo>
                    <a:lnTo>
                      <a:pt x="5716" y="6298"/>
                    </a:lnTo>
                    <a:lnTo>
                      <a:pt x="5680" y="6322"/>
                    </a:lnTo>
                    <a:lnTo>
                      <a:pt x="5656" y="6393"/>
                    </a:lnTo>
                    <a:lnTo>
                      <a:pt x="5644" y="6405"/>
                    </a:lnTo>
                    <a:lnTo>
                      <a:pt x="5585" y="6429"/>
                    </a:lnTo>
                    <a:lnTo>
                      <a:pt x="5585" y="6429"/>
                    </a:lnTo>
                    <a:lnTo>
                      <a:pt x="5573" y="6453"/>
                    </a:lnTo>
                    <a:lnTo>
                      <a:pt x="5585" y="6464"/>
                    </a:lnTo>
                    <a:lnTo>
                      <a:pt x="5597" y="6476"/>
                    </a:lnTo>
                    <a:lnTo>
                      <a:pt x="5644" y="6441"/>
                    </a:lnTo>
                    <a:lnTo>
                      <a:pt x="5668" y="6441"/>
                    </a:lnTo>
                    <a:lnTo>
                      <a:pt x="5668" y="6453"/>
                    </a:lnTo>
                    <a:lnTo>
                      <a:pt x="5668" y="6476"/>
                    </a:lnTo>
                    <a:lnTo>
                      <a:pt x="5633" y="6559"/>
                    </a:lnTo>
                    <a:lnTo>
                      <a:pt x="5454" y="6714"/>
                    </a:lnTo>
                    <a:lnTo>
                      <a:pt x="5502" y="6655"/>
                    </a:lnTo>
                    <a:lnTo>
                      <a:pt x="5502" y="6643"/>
                    </a:lnTo>
                    <a:lnTo>
                      <a:pt x="5466" y="6631"/>
                    </a:lnTo>
                    <a:lnTo>
                      <a:pt x="5431" y="6643"/>
                    </a:lnTo>
                    <a:lnTo>
                      <a:pt x="5395" y="6643"/>
                    </a:lnTo>
                    <a:lnTo>
                      <a:pt x="5395" y="6619"/>
                    </a:lnTo>
                    <a:lnTo>
                      <a:pt x="5407" y="6548"/>
                    </a:lnTo>
                    <a:lnTo>
                      <a:pt x="5371" y="6441"/>
                    </a:lnTo>
                    <a:lnTo>
                      <a:pt x="5371" y="6393"/>
                    </a:lnTo>
                    <a:lnTo>
                      <a:pt x="5371" y="6369"/>
                    </a:lnTo>
                    <a:lnTo>
                      <a:pt x="5359" y="6369"/>
                    </a:lnTo>
                    <a:lnTo>
                      <a:pt x="5336" y="6357"/>
                    </a:lnTo>
                    <a:lnTo>
                      <a:pt x="5240" y="6417"/>
                    </a:lnTo>
                    <a:lnTo>
                      <a:pt x="5217" y="6417"/>
                    </a:lnTo>
                    <a:lnTo>
                      <a:pt x="5193" y="6393"/>
                    </a:lnTo>
                    <a:lnTo>
                      <a:pt x="5122" y="6369"/>
                    </a:lnTo>
                    <a:lnTo>
                      <a:pt x="5110" y="6381"/>
                    </a:lnTo>
                    <a:lnTo>
                      <a:pt x="5062" y="6429"/>
                    </a:lnTo>
                    <a:lnTo>
                      <a:pt x="5038" y="6441"/>
                    </a:lnTo>
                    <a:lnTo>
                      <a:pt x="5003" y="6453"/>
                    </a:lnTo>
                    <a:lnTo>
                      <a:pt x="4908" y="6393"/>
                    </a:lnTo>
                    <a:lnTo>
                      <a:pt x="4884" y="6357"/>
                    </a:lnTo>
                    <a:lnTo>
                      <a:pt x="4908" y="6322"/>
                    </a:lnTo>
                    <a:lnTo>
                      <a:pt x="4920" y="6274"/>
                    </a:lnTo>
                    <a:lnTo>
                      <a:pt x="4943" y="6239"/>
                    </a:lnTo>
                    <a:lnTo>
                      <a:pt x="4931" y="6179"/>
                    </a:lnTo>
                    <a:lnTo>
                      <a:pt x="4943" y="6144"/>
                    </a:lnTo>
                    <a:lnTo>
                      <a:pt x="5003" y="6037"/>
                    </a:lnTo>
                    <a:lnTo>
                      <a:pt x="5015" y="6001"/>
                    </a:lnTo>
                    <a:lnTo>
                      <a:pt x="4991" y="5977"/>
                    </a:lnTo>
                    <a:lnTo>
                      <a:pt x="4896" y="5953"/>
                    </a:lnTo>
                    <a:lnTo>
                      <a:pt x="4884" y="5942"/>
                    </a:lnTo>
                    <a:lnTo>
                      <a:pt x="4884" y="5918"/>
                    </a:lnTo>
                    <a:lnTo>
                      <a:pt x="4801" y="5942"/>
                    </a:lnTo>
                    <a:lnTo>
                      <a:pt x="4753" y="5942"/>
                    </a:lnTo>
                    <a:lnTo>
                      <a:pt x="4658" y="5930"/>
                    </a:lnTo>
                    <a:lnTo>
                      <a:pt x="4587" y="5930"/>
                    </a:lnTo>
                    <a:lnTo>
                      <a:pt x="4539" y="5906"/>
                    </a:lnTo>
                    <a:lnTo>
                      <a:pt x="4504" y="5894"/>
                    </a:lnTo>
                    <a:lnTo>
                      <a:pt x="4420" y="5942"/>
                    </a:lnTo>
                    <a:lnTo>
                      <a:pt x="4195" y="5942"/>
                    </a:lnTo>
                    <a:lnTo>
                      <a:pt x="4159" y="5906"/>
                    </a:lnTo>
                    <a:lnTo>
                      <a:pt x="4147" y="5870"/>
                    </a:lnTo>
                    <a:lnTo>
                      <a:pt x="4135" y="5775"/>
                    </a:lnTo>
                    <a:lnTo>
                      <a:pt x="4147" y="5716"/>
                    </a:lnTo>
                    <a:lnTo>
                      <a:pt x="4159" y="5692"/>
                    </a:lnTo>
                    <a:lnTo>
                      <a:pt x="4207" y="5633"/>
                    </a:lnTo>
                    <a:lnTo>
                      <a:pt x="4278" y="5549"/>
                    </a:lnTo>
                    <a:lnTo>
                      <a:pt x="4278" y="5526"/>
                    </a:lnTo>
                    <a:lnTo>
                      <a:pt x="4254" y="5502"/>
                    </a:lnTo>
                    <a:lnTo>
                      <a:pt x="4195" y="5454"/>
                    </a:lnTo>
                    <a:lnTo>
                      <a:pt x="4171" y="5419"/>
                    </a:lnTo>
                    <a:lnTo>
                      <a:pt x="4159" y="5383"/>
                    </a:lnTo>
                    <a:lnTo>
                      <a:pt x="4135" y="5347"/>
                    </a:lnTo>
                    <a:lnTo>
                      <a:pt x="4135" y="5276"/>
                    </a:lnTo>
                    <a:lnTo>
                      <a:pt x="4123" y="5264"/>
                    </a:lnTo>
                    <a:lnTo>
                      <a:pt x="4076" y="5217"/>
                    </a:lnTo>
                    <a:lnTo>
                      <a:pt x="3981" y="5110"/>
                    </a:lnTo>
                    <a:lnTo>
                      <a:pt x="3957" y="5062"/>
                    </a:lnTo>
                    <a:lnTo>
                      <a:pt x="3969" y="5003"/>
                    </a:lnTo>
                    <a:lnTo>
                      <a:pt x="3886" y="4908"/>
                    </a:lnTo>
                    <a:lnTo>
                      <a:pt x="3886" y="4872"/>
                    </a:lnTo>
                    <a:lnTo>
                      <a:pt x="3909" y="4860"/>
                    </a:lnTo>
                    <a:lnTo>
                      <a:pt x="3921" y="4836"/>
                    </a:lnTo>
                    <a:lnTo>
                      <a:pt x="3921" y="4777"/>
                    </a:lnTo>
                    <a:lnTo>
                      <a:pt x="3933" y="4729"/>
                    </a:lnTo>
                    <a:lnTo>
                      <a:pt x="3933" y="4694"/>
                    </a:lnTo>
                    <a:lnTo>
                      <a:pt x="3921" y="4682"/>
                    </a:lnTo>
                    <a:lnTo>
                      <a:pt x="3886" y="4611"/>
                    </a:lnTo>
                    <a:lnTo>
                      <a:pt x="3874" y="4551"/>
                    </a:lnTo>
                    <a:lnTo>
                      <a:pt x="3874" y="4539"/>
                    </a:lnTo>
                    <a:lnTo>
                      <a:pt x="3862" y="4504"/>
                    </a:lnTo>
                    <a:lnTo>
                      <a:pt x="3874" y="4456"/>
                    </a:lnTo>
                    <a:lnTo>
                      <a:pt x="3898" y="4397"/>
                    </a:lnTo>
                    <a:lnTo>
                      <a:pt x="3886" y="4361"/>
                    </a:lnTo>
                    <a:lnTo>
                      <a:pt x="3862" y="4313"/>
                    </a:lnTo>
                    <a:lnTo>
                      <a:pt x="3862" y="4206"/>
                    </a:lnTo>
                    <a:lnTo>
                      <a:pt x="3838" y="4111"/>
                    </a:lnTo>
                    <a:lnTo>
                      <a:pt x="3767" y="4016"/>
                    </a:lnTo>
                    <a:lnTo>
                      <a:pt x="3743" y="3993"/>
                    </a:lnTo>
                    <a:lnTo>
                      <a:pt x="3696" y="3993"/>
                    </a:lnTo>
                    <a:lnTo>
                      <a:pt x="3660" y="3969"/>
                    </a:lnTo>
                    <a:lnTo>
                      <a:pt x="3577" y="3933"/>
                    </a:lnTo>
                    <a:lnTo>
                      <a:pt x="3505" y="3862"/>
                    </a:lnTo>
                    <a:lnTo>
                      <a:pt x="3482" y="3826"/>
                    </a:lnTo>
                    <a:lnTo>
                      <a:pt x="3422" y="3767"/>
                    </a:lnTo>
                    <a:lnTo>
                      <a:pt x="3398" y="3767"/>
                    </a:lnTo>
                    <a:lnTo>
                      <a:pt x="3363" y="3767"/>
                    </a:lnTo>
                    <a:lnTo>
                      <a:pt x="3327" y="3779"/>
                    </a:lnTo>
                    <a:lnTo>
                      <a:pt x="3244" y="3802"/>
                    </a:lnTo>
                    <a:lnTo>
                      <a:pt x="3137" y="3791"/>
                    </a:lnTo>
                    <a:lnTo>
                      <a:pt x="3078" y="3791"/>
                    </a:lnTo>
                    <a:lnTo>
                      <a:pt x="3006" y="3779"/>
                    </a:lnTo>
                    <a:lnTo>
                      <a:pt x="2923" y="3779"/>
                    </a:lnTo>
                    <a:lnTo>
                      <a:pt x="2840" y="3743"/>
                    </a:lnTo>
                    <a:lnTo>
                      <a:pt x="2757" y="3743"/>
                    </a:lnTo>
                    <a:lnTo>
                      <a:pt x="2721" y="3731"/>
                    </a:lnTo>
                    <a:lnTo>
                      <a:pt x="2685" y="3731"/>
                    </a:lnTo>
                    <a:lnTo>
                      <a:pt x="2638" y="3767"/>
                    </a:lnTo>
                    <a:lnTo>
                      <a:pt x="2590" y="3743"/>
                    </a:lnTo>
                    <a:lnTo>
                      <a:pt x="2543" y="3707"/>
                    </a:lnTo>
                    <a:lnTo>
                      <a:pt x="2519" y="3660"/>
                    </a:lnTo>
                    <a:lnTo>
                      <a:pt x="2507" y="3636"/>
                    </a:lnTo>
                    <a:lnTo>
                      <a:pt x="2483" y="3624"/>
                    </a:lnTo>
                    <a:lnTo>
                      <a:pt x="2424" y="3612"/>
                    </a:lnTo>
                    <a:lnTo>
                      <a:pt x="2353" y="3589"/>
                    </a:lnTo>
                    <a:lnTo>
                      <a:pt x="2293" y="3577"/>
                    </a:lnTo>
                    <a:lnTo>
                      <a:pt x="2258" y="3541"/>
                    </a:lnTo>
                    <a:lnTo>
                      <a:pt x="2222" y="3541"/>
                    </a:lnTo>
                    <a:lnTo>
                      <a:pt x="2198" y="3553"/>
                    </a:lnTo>
                    <a:lnTo>
                      <a:pt x="2163" y="3541"/>
                    </a:lnTo>
                    <a:lnTo>
                      <a:pt x="2103" y="3493"/>
                    </a:lnTo>
                    <a:lnTo>
                      <a:pt x="2079" y="3458"/>
                    </a:lnTo>
                    <a:lnTo>
                      <a:pt x="2032" y="3446"/>
                    </a:lnTo>
                    <a:lnTo>
                      <a:pt x="2020" y="3458"/>
                    </a:lnTo>
                    <a:lnTo>
                      <a:pt x="1961" y="3446"/>
                    </a:lnTo>
                    <a:lnTo>
                      <a:pt x="1913" y="3422"/>
                    </a:lnTo>
                    <a:lnTo>
                      <a:pt x="1854" y="3422"/>
                    </a:lnTo>
                    <a:lnTo>
                      <a:pt x="1818" y="3434"/>
                    </a:lnTo>
                    <a:lnTo>
                      <a:pt x="1782" y="3446"/>
                    </a:lnTo>
                    <a:lnTo>
                      <a:pt x="1747" y="3458"/>
                    </a:lnTo>
                    <a:lnTo>
                      <a:pt x="1675" y="3434"/>
                    </a:lnTo>
                    <a:lnTo>
                      <a:pt x="1568" y="3434"/>
                    </a:lnTo>
                    <a:lnTo>
                      <a:pt x="1521" y="3386"/>
                    </a:lnTo>
                    <a:lnTo>
                      <a:pt x="1414" y="3386"/>
                    </a:lnTo>
                    <a:lnTo>
                      <a:pt x="1295" y="3303"/>
                    </a:lnTo>
                    <a:lnTo>
                      <a:pt x="1247" y="3280"/>
                    </a:lnTo>
                    <a:lnTo>
                      <a:pt x="1224" y="3291"/>
                    </a:lnTo>
                    <a:lnTo>
                      <a:pt x="1129" y="3280"/>
                    </a:lnTo>
                    <a:lnTo>
                      <a:pt x="1093" y="3291"/>
                    </a:lnTo>
                    <a:lnTo>
                      <a:pt x="1069" y="3327"/>
                    </a:lnTo>
                    <a:lnTo>
                      <a:pt x="1057" y="3398"/>
                    </a:lnTo>
                    <a:lnTo>
                      <a:pt x="1034" y="3422"/>
                    </a:lnTo>
                    <a:lnTo>
                      <a:pt x="1022" y="3422"/>
                    </a:lnTo>
                    <a:lnTo>
                      <a:pt x="998" y="3422"/>
                    </a:lnTo>
                    <a:lnTo>
                      <a:pt x="986" y="3398"/>
                    </a:lnTo>
                    <a:lnTo>
                      <a:pt x="962" y="3375"/>
                    </a:lnTo>
                    <a:lnTo>
                      <a:pt x="938" y="3375"/>
                    </a:lnTo>
                    <a:lnTo>
                      <a:pt x="879" y="3410"/>
                    </a:lnTo>
                    <a:lnTo>
                      <a:pt x="843" y="3410"/>
                    </a:lnTo>
                    <a:lnTo>
                      <a:pt x="784" y="3386"/>
                    </a:lnTo>
                    <a:lnTo>
                      <a:pt x="701" y="3398"/>
                    </a:lnTo>
                    <a:lnTo>
                      <a:pt x="689" y="3386"/>
                    </a:lnTo>
                    <a:lnTo>
                      <a:pt x="653" y="3351"/>
                    </a:lnTo>
                    <a:lnTo>
                      <a:pt x="618" y="3327"/>
                    </a:lnTo>
                    <a:lnTo>
                      <a:pt x="594" y="3327"/>
                    </a:lnTo>
                    <a:lnTo>
                      <a:pt x="534" y="3363"/>
                    </a:lnTo>
                    <a:lnTo>
                      <a:pt x="439" y="3363"/>
                    </a:lnTo>
                    <a:lnTo>
                      <a:pt x="309" y="3351"/>
                    </a:lnTo>
                    <a:lnTo>
                      <a:pt x="285" y="3339"/>
                    </a:lnTo>
                    <a:lnTo>
                      <a:pt x="249" y="3315"/>
                    </a:lnTo>
                    <a:lnTo>
                      <a:pt x="225" y="3303"/>
                    </a:lnTo>
                    <a:lnTo>
                      <a:pt x="83" y="3363"/>
                    </a:lnTo>
                    <a:lnTo>
                      <a:pt x="47" y="3375"/>
                    </a:lnTo>
                    <a:lnTo>
                      <a:pt x="0" y="3375"/>
                    </a:lnTo>
                    <a:lnTo>
                      <a:pt x="0" y="3375"/>
                    </a:lnTo>
                    <a:lnTo>
                      <a:pt x="23" y="3339"/>
                    </a:lnTo>
                    <a:lnTo>
                      <a:pt x="23" y="3315"/>
                    </a:lnTo>
                    <a:lnTo>
                      <a:pt x="59" y="3280"/>
                    </a:lnTo>
                    <a:lnTo>
                      <a:pt x="225" y="3173"/>
                    </a:lnTo>
                    <a:lnTo>
                      <a:pt x="309" y="3149"/>
                    </a:lnTo>
                    <a:lnTo>
                      <a:pt x="416" y="3054"/>
                    </a:lnTo>
                    <a:lnTo>
                      <a:pt x="511" y="2982"/>
                    </a:lnTo>
                    <a:lnTo>
                      <a:pt x="606" y="2935"/>
                    </a:lnTo>
                    <a:lnTo>
                      <a:pt x="689" y="2887"/>
                    </a:lnTo>
                    <a:lnTo>
                      <a:pt x="748" y="2816"/>
                    </a:lnTo>
                    <a:lnTo>
                      <a:pt x="820" y="2780"/>
                    </a:lnTo>
                    <a:lnTo>
                      <a:pt x="867" y="2709"/>
                    </a:lnTo>
                    <a:lnTo>
                      <a:pt x="915" y="2555"/>
                    </a:lnTo>
                    <a:lnTo>
                      <a:pt x="1069" y="2376"/>
                    </a:lnTo>
                    <a:lnTo>
                      <a:pt x="1188" y="2293"/>
                    </a:lnTo>
                    <a:lnTo>
                      <a:pt x="1152" y="2079"/>
                    </a:lnTo>
                    <a:lnTo>
                      <a:pt x="1164" y="2044"/>
                    </a:lnTo>
                    <a:lnTo>
                      <a:pt x="1247" y="2044"/>
                    </a:lnTo>
                    <a:lnTo>
                      <a:pt x="1307" y="2020"/>
                    </a:lnTo>
                    <a:lnTo>
                      <a:pt x="1426" y="1842"/>
                    </a:lnTo>
                    <a:lnTo>
                      <a:pt x="1438" y="1616"/>
                    </a:lnTo>
                    <a:lnTo>
                      <a:pt x="1533" y="1509"/>
                    </a:lnTo>
                    <a:lnTo>
                      <a:pt x="1568" y="1426"/>
                    </a:lnTo>
                    <a:lnTo>
                      <a:pt x="1640" y="1390"/>
                    </a:lnTo>
                    <a:lnTo>
                      <a:pt x="1663" y="1366"/>
                    </a:lnTo>
                    <a:lnTo>
                      <a:pt x="1675" y="1319"/>
                    </a:lnTo>
                    <a:lnTo>
                      <a:pt x="1687" y="1164"/>
                    </a:lnTo>
                    <a:lnTo>
                      <a:pt x="1687" y="1093"/>
                    </a:lnTo>
                    <a:lnTo>
                      <a:pt x="1699" y="1057"/>
                    </a:lnTo>
                    <a:lnTo>
                      <a:pt x="1711" y="1033"/>
                    </a:lnTo>
                    <a:lnTo>
                      <a:pt x="1794" y="950"/>
                    </a:lnTo>
                    <a:lnTo>
                      <a:pt x="1806" y="938"/>
                    </a:lnTo>
                    <a:lnTo>
                      <a:pt x="1830" y="927"/>
                    </a:lnTo>
                    <a:lnTo>
                      <a:pt x="1854" y="855"/>
                    </a:lnTo>
                    <a:lnTo>
                      <a:pt x="1937" y="820"/>
                    </a:lnTo>
                    <a:lnTo>
                      <a:pt x="1972" y="748"/>
                    </a:lnTo>
                    <a:lnTo>
                      <a:pt x="2056" y="653"/>
                    </a:lnTo>
                    <a:lnTo>
                      <a:pt x="2067" y="641"/>
                    </a:lnTo>
                    <a:lnTo>
                      <a:pt x="2127" y="629"/>
                    </a:lnTo>
                    <a:lnTo>
                      <a:pt x="2210" y="618"/>
                    </a:lnTo>
                    <a:lnTo>
                      <a:pt x="2281" y="582"/>
                    </a:lnTo>
                    <a:lnTo>
                      <a:pt x="2329" y="522"/>
                    </a:lnTo>
                    <a:lnTo>
                      <a:pt x="2365" y="451"/>
                    </a:lnTo>
                    <a:lnTo>
                      <a:pt x="2400" y="368"/>
                    </a:lnTo>
                    <a:lnTo>
                      <a:pt x="2460" y="332"/>
                    </a:lnTo>
                    <a:lnTo>
                      <a:pt x="2495" y="297"/>
                    </a:lnTo>
                    <a:lnTo>
                      <a:pt x="2567" y="261"/>
                    </a:lnTo>
                    <a:lnTo>
                      <a:pt x="2614" y="237"/>
                    </a:lnTo>
                    <a:lnTo>
                      <a:pt x="2709" y="190"/>
                    </a:lnTo>
                    <a:lnTo>
                      <a:pt x="2852" y="118"/>
                    </a:lnTo>
                    <a:lnTo>
                      <a:pt x="2876" y="83"/>
                    </a:lnTo>
                    <a:lnTo>
                      <a:pt x="2947" y="47"/>
                    </a:lnTo>
                    <a:lnTo>
                      <a:pt x="3042" y="0"/>
                    </a:lnTo>
                    <a:lnTo>
                      <a:pt x="3066" y="11"/>
                    </a:lnTo>
                    <a:lnTo>
                      <a:pt x="3113" y="35"/>
                    </a:lnTo>
                    <a:lnTo>
                      <a:pt x="3125" y="59"/>
                    </a:lnTo>
                    <a:lnTo>
                      <a:pt x="3161" y="95"/>
                    </a:lnTo>
                    <a:lnTo>
                      <a:pt x="3244" y="107"/>
                    </a:lnTo>
                    <a:lnTo>
                      <a:pt x="3303" y="107"/>
                    </a:lnTo>
                    <a:lnTo>
                      <a:pt x="3458" y="118"/>
                    </a:lnTo>
                    <a:lnTo>
                      <a:pt x="3482" y="118"/>
                    </a:lnTo>
                    <a:lnTo>
                      <a:pt x="3529" y="166"/>
                    </a:lnTo>
                    <a:lnTo>
                      <a:pt x="3577" y="178"/>
                    </a:lnTo>
                    <a:lnTo>
                      <a:pt x="3648" y="190"/>
                    </a:lnTo>
                    <a:lnTo>
                      <a:pt x="3755" y="190"/>
                    </a:lnTo>
                    <a:lnTo>
                      <a:pt x="3803" y="178"/>
                    </a:lnTo>
                    <a:lnTo>
                      <a:pt x="3957" y="178"/>
                    </a:lnTo>
                    <a:lnTo>
                      <a:pt x="4028" y="166"/>
                    </a:lnTo>
                    <a:lnTo>
                      <a:pt x="4076" y="166"/>
                    </a:lnTo>
                    <a:lnTo>
                      <a:pt x="4111" y="190"/>
                    </a:lnTo>
                    <a:lnTo>
                      <a:pt x="4147" y="237"/>
                    </a:lnTo>
                    <a:lnTo>
                      <a:pt x="4195" y="261"/>
                    </a:lnTo>
                    <a:lnTo>
                      <a:pt x="4337" y="237"/>
                    </a:lnTo>
                    <a:lnTo>
                      <a:pt x="4349" y="249"/>
                    </a:lnTo>
                    <a:lnTo>
                      <a:pt x="4397" y="320"/>
                    </a:lnTo>
                    <a:lnTo>
                      <a:pt x="4373" y="320"/>
                    </a:lnTo>
                    <a:lnTo>
                      <a:pt x="4337" y="332"/>
                    </a:lnTo>
                    <a:lnTo>
                      <a:pt x="4314" y="380"/>
                    </a:lnTo>
                    <a:lnTo>
                      <a:pt x="4325" y="511"/>
                    </a:lnTo>
                    <a:lnTo>
                      <a:pt x="4361" y="570"/>
                    </a:lnTo>
                    <a:lnTo>
                      <a:pt x="4385" y="653"/>
                    </a:lnTo>
                    <a:lnTo>
                      <a:pt x="4444" y="689"/>
                    </a:lnTo>
                    <a:lnTo>
                      <a:pt x="4456" y="701"/>
                    </a:lnTo>
                    <a:lnTo>
                      <a:pt x="4480" y="665"/>
                    </a:lnTo>
                    <a:lnTo>
                      <a:pt x="4527" y="629"/>
                    </a:lnTo>
                    <a:lnTo>
                      <a:pt x="4563" y="522"/>
                    </a:lnTo>
                    <a:lnTo>
                      <a:pt x="4575" y="511"/>
                    </a:lnTo>
                    <a:lnTo>
                      <a:pt x="4611" y="511"/>
                    </a:lnTo>
                    <a:lnTo>
                      <a:pt x="4646" y="499"/>
                    </a:lnTo>
                    <a:lnTo>
                      <a:pt x="4694" y="570"/>
                    </a:lnTo>
                    <a:lnTo>
                      <a:pt x="4706" y="665"/>
                    </a:lnTo>
                    <a:lnTo>
                      <a:pt x="4694" y="760"/>
                    </a:lnTo>
                    <a:lnTo>
                      <a:pt x="4718" y="808"/>
                    </a:lnTo>
                    <a:lnTo>
                      <a:pt x="4753" y="820"/>
                    </a:lnTo>
                    <a:lnTo>
                      <a:pt x="4777" y="796"/>
                    </a:lnTo>
                    <a:lnTo>
                      <a:pt x="4789" y="748"/>
                    </a:lnTo>
                    <a:lnTo>
                      <a:pt x="4777" y="653"/>
                    </a:lnTo>
                    <a:lnTo>
                      <a:pt x="4801" y="618"/>
                    </a:lnTo>
                    <a:lnTo>
                      <a:pt x="4813" y="558"/>
                    </a:lnTo>
                    <a:lnTo>
                      <a:pt x="4836" y="534"/>
                    </a:lnTo>
                    <a:lnTo>
                      <a:pt x="4931" y="511"/>
                    </a:lnTo>
                    <a:lnTo>
                      <a:pt x="5038" y="534"/>
                    </a:lnTo>
                    <a:lnTo>
                      <a:pt x="5145" y="487"/>
                    </a:lnTo>
                    <a:lnTo>
                      <a:pt x="5181" y="499"/>
                    </a:lnTo>
                    <a:lnTo>
                      <a:pt x="5229" y="499"/>
                    </a:lnTo>
                    <a:lnTo>
                      <a:pt x="5252" y="487"/>
                    </a:lnTo>
                    <a:lnTo>
                      <a:pt x="5288" y="475"/>
                    </a:lnTo>
                    <a:lnTo>
                      <a:pt x="5324" y="475"/>
                    </a:lnTo>
                    <a:lnTo>
                      <a:pt x="5395" y="475"/>
                    </a:lnTo>
                    <a:lnTo>
                      <a:pt x="5419" y="475"/>
                    </a:lnTo>
                    <a:lnTo>
                      <a:pt x="5442" y="499"/>
                    </a:lnTo>
                    <a:lnTo>
                      <a:pt x="5478" y="511"/>
                    </a:lnTo>
                    <a:lnTo>
                      <a:pt x="5490" y="499"/>
                    </a:lnTo>
                    <a:lnTo>
                      <a:pt x="5502" y="475"/>
                    </a:lnTo>
                    <a:lnTo>
                      <a:pt x="5502" y="427"/>
                    </a:lnTo>
                    <a:lnTo>
                      <a:pt x="5502" y="404"/>
                    </a:lnTo>
                    <a:lnTo>
                      <a:pt x="5538" y="404"/>
                    </a:lnTo>
                    <a:lnTo>
                      <a:pt x="5633" y="499"/>
                    </a:lnTo>
                    <a:lnTo>
                      <a:pt x="5656" y="511"/>
                    </a:lnTo>
                    <a:lnTo>
                      <a:pt x="5728" y="499"/>
                    </a:lnTo>
                    <a:lnTo>
                      <a:pt x="5763" y="487"/>
                    </a:lnTo>
                    <a:lnTo>
                      <a:pt x="5787" y="416"/>
                    </a:lnTo>
                    <a:lnTo>
                      <a:pt x="5799" y="404"/>
                    </a:lnTo>
                    <a:lnTo>
                      <a:pt x="5847" y="416"/>
                    </a:lnTo>
                    <a:lnTo>
                      <a:pt x="5882" y="475"/>
                    </a:lnTo>
                    <a:lnTo>
                      <a:pt x="5894" y="475"/>
                    </a:lnTo>
                    <a:lnTo>
                      <a:pt x="5918" y="475"/>
                    </a:lnTo>
                    <a:lnTo>
                      <a:pt x="5930" y="463"/>
                    </a:lnTo>
                    <a:lnTo>
                      <a:pt x="5942" y="380"/>
                    </a:lnTo>
                    <a:lnTo>
                      <a:pt x="5953" y="356"/>
                    </a:lnTo>
                    <a:lnTo>
                      <a:pt x="5977" y="320"/>
                    </a:lnTo>
                    <a:lnTo>
                      <a:pt x="6025" y="309"/>
                    </a:lnTo>
                    <a:lnTo>
                      <a:pt x="6120" y="332"/>
                    </a:lnTo>
                    <a:lnTo>
                      <a:pt x="6179" y="404"/>
                    </a:lnTo>
                    <a:lnTo>
                      <a:pt x="6203" y="404"/>
                    </a:lnTo>
                    <a:lnTo>
                      <a:pt x="6251" y="368"/>
                    </a:lnTo>
                    <a:lnTo>
                      <a:pt x="6369" y="332"/>
                    </a:lnTo>
                    <a:lnTo>
                      <a:pt x="6429" y="344"/>
                    </a:lnTo>
                    <a:lnTo>
                      <a:pt x="6441" y="368"/>
                    </a:lnTo>
                    <a:lnTo>
                      <a:pt x="6417" y="439"/>
                    </a:lnTo>
                    <a:lnTo>
                      <a:pt x="6429" y="463"/>
                    </a:lnTo>
                    <a:lnTo>
                      <a:pt x="6464" y="475"/>
                    </a:lnTo>
                    <a:lnTo>
                      <a:pt x="6476" y="511"/>
                    </a:lnTo>
                    <a:lnTo>
                      <a:pt x="6560" y="522"/>
                    </a:lnTo>
                    <a:lnTo>
                      <a:pt x="6619" y="534"/>
                    </a:lnTo>
                    <a:lnTo>
                      <a:pt x="6619" y="546"/>
                    </a:lnTo>
                    <a:lnTo>
                      <a:pt x="6619" y="594"/>
                    </a:lnTo>
                    <a:lnTo>
                      <a:pt x="6631" y="641"/>
                    </a:lnTo>
                    <a:lnTo>
                      <a:pt x="6631" y="725"/>
                    </a:lnTo>
                    <a:lnTo>
                      <a:pt x="6607" y="772"/>
                    </a:lnTo>
                    <a:lnTo>
                      <a:pt x="6595" y="867"/>
                    </a:lnTo>
                    <a:lnTo>
                      <a:pt x="6607" y="915"/>
                    </a:lnTo>
                    <a:lnTo>
                      <a:pt x="6631" y="950"/>
                    </a:lnTo>
                    <a:lnTo>
                      <a:pt x="6678" y="998"/>
                    </a:lnTo>
                    <a:lnTo>
                      <a:pt x="6738" y="1033"/>
                    </a:lnTo>
                    <a:lnTo>
                      <a:pt x="6773" y="1081"/>
                    </a:lnTo>
                    <a:lnTo>
                      <a:pt x="6785" y="1164"/>
                    </a:lnTo>
                    <a:lnTo>
                      <a:pt x="6797" y="1164"/>
                    </a:lnTo>
                    <a:lnTo>
                      <a:pt x="6797" y="1224"/>
                    </a:lnTo>
                    <a:lnTo>
                      <a:pt x="6773" y="1236"/>
                    </a:lnTo>
                    <a:lnTo>
                      <a:pt x="6762" y="1224"/>
                    </a:lnTo>
                    <a:lnTo>
                      <a:pt x="6738" y="1212"/>
                    </a:lnTo>
                    <a:lnTo>
                      <a:pt x="6702" y="1259"/>
                    </a:lnTo>
                    <a:lnTo>
                      <a:pt x="6667" y="1366"/>
                    </a:lnTo>
                    <a:lnTo>
                      <a:pt x="6655" y="1402"/>
                    </a:lnTo>
                    <a:lnTo>
                      <a:pt x="6655" y="1461"/>
                    </a:lnTo>
                    <a:lnTo>
                      <a:pt x="6678" y="1509"/>
                    </a:lnTo>
                    <a:lnTo>
                      <a:pt x="6738" y="1533"/>
                    </a:lnTo>
                    <a:lnTo>
                      <a:pt x="6738" y="1651"/>
                    </a:lnTo>
                    <a:lnTo>
                      <a:pt x="6773" y="1699"/>
                    </a:lnTo>
                    <a:lnTo>
                      <a:pt x="6762" y="1723"/>
                    </a:lnTo>
                    <a:lnTo>
                      <a:pt x="6762" y="1794"/>
                    </a:lnTo>
                    <a:lnTo>
                      <a:pt x="6785" y="1853"/>
                    </a:lnTo>
                    <a:lnTo>
                      <a:pt x="6833" y="1889"/>
                    </a:lnTo>
                    <a:lnTo>
                      <a:pt x="6880" y="2103"/>
                    </a:lnTo>
                    <a:lnTo>
                      <a:pt x="6904" y="2139"/>
                    </a:lnTo>
                    <a:lnTo>
                      <a:pt x="6928" y="2139"/>
                    </a:lnTo>
                    <a:lnTo>
                      <a:pt x="6964" y="2127"/>
                    </a:lnTo>
                    <a:lnTo>
                      <a:pt x="7023" y="2056"/>
                    </a:lnTo>
                    <a:lnTo>
                      <a:pt x="7059" y="2044"/>
                    </a:lnTo>
                    <a:lnTo>
                      <a:pt x="7154" y="2056"/>
                    </a:lnTo>
                    <a:lnTo>
                      <a:pt x="7249" y="2056"/>
                    </a:lnTo>
                    <a:lnTo>
                      <a:pt x="7273" y="2067"/>
                    </a:lnTo>
                    <a:lnTo>
                      <a:pt x="7284" y="2079"/>
                    </a:lnTo>
                    <a:lnTo>
                      <a:pt x="7308" y="2139"/>
                    </a:lnTo>
                    <a:lnTo>
                      <a:pt x="7320" y="2162"/>
                    </a:lnTo>
                    <a:lnTo>
                      <a:pt x="7403" y="2162"/>
                    </a:lnTo>
                    <a:lnTo>
                      <a:pt x="7427" y="2174"/>
                    </a:lnTo>
                    <a:lnTo>
                      <a:pt x="7439" y="2222"/>
                    </a:lnTo>
                    <a:lnTo>
                      <a:pt x="7415" y="2317"/>
                    </a:lnTo>
                    <a:lnTo>
                      <a:pt x="7368" y="2400"/>
                    </a:lnTo>
                    <a:lnTo>
                      <a:pt x="7284" y="2471"/>
                    </a:lnTo>
                    <a:lnTo>
                      <a:pt x="7261" y="2531"/>
                    </a:lnTo>
                    <a:lnTo>
                      <a:pt x="7249" y="2567"/>
                    </a:lnTo>
                    <a:lnTo>
                      <a:pt x="7249" y="2662"/>
                    </a:lnTo>
                    <a:lnTo>
                      <a:pt x="7237" y="2697"/>
                    </a:lnTo>
                    <a:lnTo>
                      <a:pt x="7261" y="2780"/>
                    </a:lnTo>
                    <a:lnTo>
                      <a:pt x="7237" y="2816"/>
                    </a:lnTo>
                    <a:lnTo>
                      <a:pt x="7237" y="2875"/>
                    </a:lnTo>
                    <a:lnTo>
                      <a:pt x="7225" y="2875"/>
                    </a:lnTo>
                    <a:lnTo>
                      <a:pt x="7213" y="2887"/>
                    </a:lnTo>
                    <a:lnTo>
                      <a:pt x="7189" y="2887"/>
                    </a:lnTo>
                    <a:lnTo>
                      <a:pt x="7178" y="2887"/>
                    </a:lnTo>
                    <a:lnTo>
                      <a:pt x="7166" y="2911"/>
                    </a:lnTo>
                    <a:lnTo>
                      <a:pt x="7189" y="2923"/>
                    </a:lnTo>
                    <a:lnTo>
                      <a:pt x="7237" y="2947"/>
                    </a:lnTo>
                    <a:lnTo>
                      <a:pt x="7261" y="2971"/>
                    </a:lnTo>
                    <a:lnTo>
                      <a:pt x="7249" y="2994"/>
                    </a:lnTo>
                    <a:lnTo>
                      <a:pt x="7201" y="3042"/>
                    </a:lnTo>
                    <a:lnTo>
                      <a:pt x="7189" y="3066"/>
                    </a:lnTo>
                    <a:lnTo>
                      <a:pt x="7189" y="3125"/>
                    </a:lnTo>
                    <a:lnTo>
                      <a:pt x="7201" y="3184"/>
                    </a:lnTo>
                    <a:lnTo>
                      <a:pt x="7201" y="3196"/>
                    </a:lnTo>
                    <a:lnTo>
                      <a:pt x="7225" y="3232"/>
                    </a:lnTo>
                    <a:lnTo>
                      <a:pt x="7213" y="3303"/>
                    </a:lnTo>
                    <a:lnTo>
                      <a:pt x="7284" y="3363"/>
                    </a:lnTo>
                    <a:lnTo>
                      <a:pt x="7439" y="3434"/>
                    </a:lnTo>
                    <a:lnTo>
                      <a:pt x="7463" y="3434"/>
                    </a:lnTo>
                    <a:lnTo>
                      <a:pt x="7486" y="3493"/>
                    </a:lnTo>
                    <a:lnTo>
                      <a:pt x="7498" y="3565"/>
                    </a:lnTo>
                    <a:lnTo>
                      <a:pt x="7451" y="3600"/>
                    </a:lnTo>
                    <a:lnTo>
                      <a:pt x="7439" y="3600"/>
                    </a:lnTo>
                    <a:lnTo>
                      <a:pt x="7427" y="3624"/>
                    </a:lnTo>
                    <a:lnTo>
                      <a:pt x="7415" y="3648"/>
                    </a:lnTo>
                    <a:lnTo>
                      <a:pt x="7451" y="3684"/>
                    </a:lnTo>
                    <a:lnTo>
                      <a:pt x="7510" y="3707"/>
                    </a:lnTo>
                    <a:lnTo>
                      <a:pt x="7522" y="3719"/>
                    </a:lnTo>
                    <a:lnTo>
                      <a:pt x="7522" y="3755"/>
                    </a:lnTo>
                    <a:lnTo>
                      <a:pt x="7486" y="3814"/>
                    </a:lnTo>
                    <a:lnTo>
                      <a:pt x="7510" y="3874"/>
                    </a:lnTo>
                    <a:lnTo>
                      <a:pt x="7558" y="3897"/>
                    </a:lnTo>
                    <a:lnTo>
                      <a:pt x="7605" y="3897"/>
                    </a:lnTo>
                    <a:lnTo>
                      <a:pt x="7641" y="3897"/>
                    </a:lnTo>
                    <a:lnTo>
                      <a:pt x="7724" y="3838"/>
                    </a:lnTo>
                    <a:lnTo>
                      <a:pt x="7736" y="3838"/>
                    </a:lnTo>
                    <a:lnTo>
                      <a:pt x="7748" y="3850"/>
                    </a:lnTo>
                    <a:lnTo>
                      <a:pt x="7760" y="3886"/>
                    </a:lnTo>
                    <a:lnTo>
                      <a:pt x="7760" y="3897"/>
                    </a:lnTo>
                    <a:lnTo>
                      <a:pt x="7843" y="3897"/>
                    </a:lnTo>
                    <a:lnTo>
                      <a:pt x="7855" y="3897"/>
                    </a:lnTo>
                    <a:lnTo>
                      <a:pt x="7855" y="3886"/>
                    </a:lnTo>
                    <a:lnTo>
                      <a:pt x="7902" y="3874"/>
                    </a:lnTo>
                    <a:lnTo>
                      <a:pt x="7962" y="3802"/>
                    </a:lnTo>
                    <a:lnTo>
                      <a:pt x="7986" y="3802"/>
                    </a:lnTo>
                    <a:lnTo>
                      <a:pt x="7997" y="3862"/>
                    </a:lnTo>
                    <a:lnTo>
                      <a:pt x="8021" y="3874"/>
                    </a:lnTo>
                    <a:lnTo>
                      <a:pt x="8069" y="3886"/>
                    </a:lnTo>
                    <a:lnTo>
                      <a:pt x="8188" y="3814"/>
                    </a:lnTo>
                    <a:lnTo>
                      <a:pt x="8223" y="3802"/>
                    </a:lnTo>
                    <a:lnTo>
                      <a:pt x="8223" y="3779"/>
                    </a:lnTo>
                    <a:lnTo>
                      <a:pt x="8235" y="3767"/>
                    </a:lnTo>
                    <a:lnTo>
                      <a:pt x="8211" y="3743"/>
                    </a:lnTo>
                    <a:lnTo>
                      <a:pt x="8128" y="3719"/>
                    </a:lnTo>
                    <a:lnTo>
                      <a:pt x="8116" y="3695"/>
                    </a:lnTo>
                    <a:lnTo>
                      <a:pt x="8140" y="3660"/>
                    </a:lnTo>
                    <a:lnTo>
                      <a:pt x="8211" y="3648"/>
                    </a:lnTo>
                    <a:lnTo>
                      <a:pt x="8235" y="3624"/>
                    </a:lnTo>
                    <a:lnTo>
                      <a:pt x="8235" y="3612"/>
                    </a:lnTo>
                    <a:lnTo>
                      <a:pt x="8295" y="3565"/>
                    </a:lnTo>
                    <a:lnTo>
                      <a:pt x="8342" y="3589"/>
                    </a:lnTo>
                    <a:lnTo>
                      <a:pt x="8390" y="3589"/>
                    </a:lnTo>
                    <a:lnTo>
                      <a:pt x="8437" y="3636"/>
                    </a:lnTo>
                    <a:lnTo>
                      <a:pt x="8449" y="3636"/>
                    </a:lnTo>
                    <a:lnTo>
                      <a:pt x="8544" y="3589"/>
                    </a:lnTo>
                    <a:lnTo>
                      <a:pt x="8580" y="3612"/>
                    </a:lnTo>
                    <a:lnTo>
                      <a:pt x="8615" y="3612"/>
                    </a:lnTo>
                    <a:lnTo>
                      <a:pt x="8699" y="3589"/>
                    </a:lnTo>
                    <a:lnTo>
                      <a:pt x="8770" y="3553"/>
                    </a:lnTo>
                    <a:lnTo>
                      <a:pt x="8853" y="3493"/>
                    </a:lnTo>
                    <a:lnTo>
                      <a:pt x="8936" y="3470"/>
                    </a:lnTo>
                    <a:lnTo>
                      <a:pt x="9008" y="3458"/>
                    </a:lnTo>
                    <a:lnTo>
                      <a:pt x="9079" y="3422"/>
                    </a:lnTo>
                    <a:lnTo>
                      <a:pt x="9186" y="3386"/>
                    </a:lnTo>
                    <a:lnTo>
                      <a:pt x="9233" y="3375"/>
                    </a:lnTo>
                    <a:lnTo>
                      <a:pt x="9233" y="3375"/>
                    </a:lnTo>
                    <a:lnTo>
                      <a:pt x="9269" y="3398"/>
                    </a:lnTo>
                    <a:lnTo>
                      <a:pt x="9328" y="3410"/>
                    </a:lnTo>
                    <a:lnTo>
                      <a:pt x="9352" y="3446"/>
                    </a:lnTo>
                    <a:lnTo>
                      <a:pt x="9376" y="3517"/>
                    </a:lnTo>
                    <a:lnTo>
                      <a:pt x="9388" y="3553"/>
                    </a:lnTo>
                    <a:lnTo>
                      <a:pt x="9447" y="3624"/>
                    </a:lnTo>
                    <a:lnTo>
                      <a:pt x="9495" y="3660"/>
                    </a:lnTo>
                    <a:lnTo>
                      <a:pt x="9519" y="3672"/>
                    </a:lnTo>
                    <a:lnTo>
                      <a:pt x="9685" y="3636"/>
                    </a:lnTo>
                    <a:lnTo>
                      <a:pt x="9780" y="3636"/>
                    </a:lnTo>
                    <a:lnTo>
                      <a:pt x="9887" y="3660"/>
                    </a:lnTo>
                    <a:lnTo>
                      <a:pt x="9935" y="3707"/>
                    </a:lnTo>
                    <a:lnTo>
                      <a:pt x="9946" y="3731"/>
                    </a:lnTo>
                    <a:lnTo>
                      <a:pt x="9946" y="3767"/>
                    </a:lnTo>
                    <a:lnTo>
                      <a:pt x="9923" y="3802"/>
                    </a:lnTo>
                    <a:lnTo>
                      <a:pt x="9875" y="3850"/>
                    </a:lnTo>
                    <a:lnTo>
                      <a:pt x="9851" y="3874"/>
                    </a:lnTo>
                    <a:lnTo>
                      <a:pt x="9851" y="3897"/>
                    </a:lnTo>
                    <a:lnTo>
                      <a:pt x="9816" y="3933"/>
                    </a:lnTo>
                    <a:lnTo>
                      <a:pt x="9816" y="3945"/>
                    </a:lnTo>
                    <a:lnTo>
                      <a:pt x="9661" y="3981"/>
                    </a:lnTo>
                    <a:lnTo>
                      <a:pt x="9626" y="3969"/>
                    </a:lnTo>
                    <a:lnTo>
                      <a:pt x="9602" y="3957"/>
                    </a:lnTo>
                    <a:lnTo>
                      <a:pt x="9566" y="3957"/>
                    </a:lnTo>
                    <a:lnTo>
                      <a:pt x="9519" y="3981"/>
                    </a:lnTo>
                    <a:lnTo>
                      <a:pt x="9305" y="4028"/>
                    </a:lnTo>
                    <a:lnTo>
                      <a:pt x="9245" y="4088"/>
                    </a:lnTo>
                    <a:lnTo>
                      <a:pt x="9222" y="4135"/>
                    </a:lnTo>
                    <a:lnTo>
                      <a:pt x="9222" y="4183"/>
                    </a:lnTo>
                    <a:lnTo>
                      <a:pt x="9198" y="4254"/>
                    </a:lnTo>
                    <a:lnTo>
                      <a:pt x="9150" y="4290"/>
                    </a:lnTo>
                    <a:lnTo>
                      <a:pt x="9150" y="4337"/>
                    </a:lnTo>
                    <a:lnTo>
                      <a:pt x="9162" y="4373"/>
                    </a:lnTo>
                    <a:lnTo>
                      <a:pt x="9233" y="4456"/>
                    </a:lnTo>
                    <a:lnTo>
                      <a:pt x="9269" y="4515"/>
                    </a:lnTo>
                    <a:lnTo>
                      <a:pt x="9269" y="4515"/>
                    </a:lnTo>
                    <a:close/>
                  </a:path>
                </a:pathLst>
              </a:custGeom>
              <a:solidFill>
                <a:srgbClr val="EAEAEA"/>
              </a:solidFill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22" name="Freeform 430"/>
              <p:cNvSpPr>
                <a:spLocks/>
              </p:cNvSpPr>
              <p:nvPr/>
            </p:nvSpPr>
            <p:spPr bwMode="auto">
              <a:xfrm>
                <a:off x="20554950" y="21813838"/>
                <a:ext cx="415925" cy="452438"/>
              </a:xfrm>
              <a:custGeom>
                <a:avLst/>
                <a:gdLst/>
                <a:ahLst/>
                <a:cxnLst>
                  <a:cxn ang="0">
                    <a:pos x="131" y="24"/>
                  </a:cxn>
                  <a:cxn ang="0">
                    <a:pos x="191" y="0"/>
                  </a:cxn>
                  <a:cxn ang="0">
                    <a:pos x="214" y="12"/>
                  </a:cxn>
                  <a:cxn ang="0">
                    <a:pos x="250" y="60"/>
                  </a:cxn>
                  <a:cxn ang="0">
                    <a:pos x="250" y="131"/>
                  </a:cxn>
                  <a:cxn ang="0">
                    <a:pos x="226" y="167"/>
                  </a:cxn>
                  <a:cxn ang="0">
                    <a:pos x="262" y="226"/>
                  </a:cxn>
                  <a:cxn ang="0">
                    <a:pos x="262" y="250"/>
                  </a:cxn>
                  <a:cxn ang="0">
                    <a:pos x="250" y="274"/>
                  </a:cxn>
                  <a:cxn ang="0">
                    <a:pos x="226" y="285"/>
                  </a:cxn>
                  <a:cxn ang="0">
                    <a:pos x="202" y="262"/>
                  </a:cxn>
                  <a:cxn ang="0">
                    <a:pos x="179" y="250"/>
                  </a:cxn>
                  <a:cxn ang="0">
                    <a:pos x="36" y="250"/>
                  </a:cxn>
                  <a:cxn ang="0">
                    <a:pos x="12" y="226"/>
                  </a:cxn>
                  <a:cxn ang="0">
                    <a:pos x="0" y="202"/>
                  </a:cxn>
                  <a:cxn ang="0">
                    <a:pos x="24" y="179"/>
                  </a:cxn>
                  <a:cxn ang="0">
                    <a:pos x="72" y="143"/>
                  </a:cxn>
                  <a:cxn ang="0">
                    <a:pos x="131" y="24"/>
                  </a:cxn>
                </a:cxnLst>
                <a:rect l="0" t="0" r="r" b="b"/>
                <a:pathLst>
                  <a:path w="262" h="285">
                    <a:moveTo>
                      <a:pt x="131" y="24"/>
                    </a:moveTo>
                    <a:lnTo>
                      <a:pt x="191" y="0"/>
                    </a:lnTo>
                    <a:lnTo>
                      <a:pt x="214" y="12"/>
                    </a:lnTo>
                    <a:lnTo>
                      <a:pt x="250" y="60"/>
                    </a:lnTo>
                    <a:lnTo>
                      <a:pt x="250" y="131"/>
                    </a:lnTo>
                    <a:lnTo>
                      <a:pt x="226" y="167"/>
                    </a:lnTo>
                    <a:lnTo>
                      <a:pt x="262" y="226"/>
                    </a:lnTo>
                    <a:lnTo>
                      <a:pt x="262" y="250"/>
                    </a:lnTo>
                    <a:lnTo>
                      <a:pt x="250" y="274"/>
                    </a:lnTo>
                    <a:lnTo>
                      <a:pt x="226" y="285"/>
                    </a:lnTo>
                    <a:lnTo>
                      <a:pt x="202" y="262"/>
                    </a:lnTo>
                    <a:lnTo>
                      <a:pt x="179" y="250"/>
                    </a:lnTo>
                    <a:lnTo>
                      <a:pt x="36" y="250"/>
                    </a:lnTo>
                    <a:lnTo>
                      <a:pt x="12" y="226"/>
                    </a:lnTo>
                    <a:lnTo>
                      <a:pt x="0" y="202"/>
                    </a:lnTo>
                    <a:lnTo>
                      <a:pt x="24" y="179"/>
                    </a:lnTo>
                    <a:lnTo>
                      <a:pt x="72" y="143"/>
                    </a:lnTo>
                    <a:lnTo>
                      <a:pt x="131" y="2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23" name="Freeform 432"/>
              <p:cNvSpPr>
                <a:spLocks/>
              </p:cNvSpPr>
              <p:nvPr/>
            </p:nvSpPr>
            <p:spPr bwMode="auto">
              <a:xfrm>
                <a:off x="16235363" y="23550563"/>
                <a:ext cx="773113" cy="584200"/>
              </a:xfrm>
              <a:custGeom>
                <a:avLst/>
                <a:gdLst/>
                <a:ahLst/>
                <a:cxnLst>
                  <a:cxn ang="0">
                    <a:pos x="487" y="0"/>
                  </a:cxn>
                  <a:cxn ang="0">
                    <a:pos x="475" y="11"/>
                  </a:cxn>
                  <a:cxn ang="0">
                    <a:pos x="345" y="95"/>
                  </a:cxn>
                  <a:cxn ang="0">
                    <a:pos x="273" y="142"/>
                  </a:cxn>
                  <a:cxn ang="0">
                    <a:pos x="155" y="225"/>
                  </a:cxn>
                  <a:cxn ang="0">
                    <a:pos x="24" y="368"/>
                  </a:cxn>
                  <a:cxn ang="0">
                    <a:pos x="12" y="368"/>
                  </a:cxn>
                  <a:cxn ang="0">
                    <a:pos x="0" y="368"/>
                  </a:cxn>
                  <a:cxn ang="0">
                    <a:pos x="0" y="332"/>
                  </a:cxn>
                  <a:cxn ang="0">
                    <a:pos x="59" y="237"/>
                  </a:cxn>
                  <a:cxn ang="0">
                    <a:pos x="83" y="225"/>
                  </a:cxn>
                  <a:cxn ang="0">
                    <a:pos x="143" y="202"/>
                  </a:cxn>
                  <a:cxn ang="0">
                    <a:pos x="166" y="166"/>
                  </a:cxn>
                  <a:cxn ang="0">
                    <a:pos x="202" y="154"/>
                  </a:cxn>
                  <a:cxn ang="0">
                    <a:pos x="238" y="107"/>
                  </a:cxn>
                  <a:cxn ang="0">
                    <a:pos x="285" y="95"/>
                  </a:cxn>
                  <a:cxn ang="0">
                    <a:pos x="333" y="47"/>
                  </a:cxn>
                  <a:cxn ang="0">
                    <a:pos x="380" y="23"/>
                  </a:cxn>
                  <a:cxn ang="0">
                    <a:pos x="487" y="0"/>
                  </a:cxn>
                </a:cxnLst>
                <a:rect l="0" t="0" r="r" b="b"/>
                <a:pathLst>
                  <a:path w="487" h="368">
                    <a:moveTo>
                      <a:pt x="487" y="0"/>
                    </a:moveTo>
                    <a:lnTo>
                      <a:pt x="475" y="11"/>
                    </a:lnTo>
                    <a:lnTo>
                      <a:pt x="345" y="95"/>
                    </a:lnTo>
                    <a:lnTo>
                      <a:pt x="273" y="142"/>
                    </a:lnTo>
                    <a:lnTo>
                      <a:pt x="155" y="225"/>
                    </a:lnTo>
                    <a:lnTo>
                      <a:pt x="24" y="368"/>
                    </a:lnTo>
                    <a:lnTo>
                      <a:pt x="12" y="368"/>
                    </a:lnTo>
                    <a:lnTo>
                      <a:pt x="0" y="368"/>
                    </a:lnTo>
                    <a:lnTo>
                      <a:pt x="0" y="332"/>
                    </a:lnTo>
                    <a:lnTo>
                      <a:pt x="59" y="237"/>
                    </a:lnTo>
                    <a:lnTo>
                      <a:pt x="83" y="225"/>
                    </a:lnTo>
                    <a:lnTo>
                      <a:pt x="143" y="202"/>
                    </a:lnTo>
                    <a:lnTo>
                      <a:pt x="166" y="166"/>
                    </a:lnTo>
                    <a:lnTo>
                      <a:pt x="202" y="154"/>
                    </a:lnTo>
                    <a:lnTo>
                      <a:pt x="238" y="107"/>
                    </a:lnTo>
                    <a:lnTo>
                      <a:pt x="285" y="95"/>
                    </a:lnTo>
                    <a:lnTo>
                      <a:pt x="333" y="47"/>
                    </a:lnTo>
                    <a:lnTo>
                      <a:pt x="380" y="23"/>
                    </a:lnTo>
                    <a:lnTo>
                      <a:pt x="487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</p:grpSp>
        <p:sp>
          <p:nvSpPr>
            <p:cNvPr id="29" name="Freeform 434"/>
            <p:cNvSpPr>
              <a:spLocks/>
            </p:cNvSpPr>
            <p:nvPr/>
          </p:nvSpPr>
          <p:spPr bwMode="auto">
            <a:xfrm>
              <a:off x="10990263" y="3778250"/>
              <a:ext cx="20583525" cy="16375063"/>
            </a:xfrm>
            <a:custGeom>
              <a:avLst/>
              <a:gdLst/>
              <a:ahLst/>
              <a:cxnLst>
                <a:cxn ang="0">
                  <a:pos x="737" y="6477"/>
                </a:cxn>
                <a:cxn ang="0">
                  <a:pos x="1688" y="6584"/>
                </a:cxn>
                <a:cxn ang="0">
                  <a:pos x="2056" y="7107"/>
                </a:cxn>
                <a:cxn ang="0">
                  <a:pos x="2389" y="7214"/>
                </a:cxn>
                <a:cxn ang="0">
                  <a:pos x="2936" y="6893"/>
                </a:cxn>
                <a:cxn ang="0">
                  <a:pos x="3375" y="6905"/>
                </a:cxn>
                <a:cxn ang="0">
                  <a:pos x="3791" y="6822"/>
                </a:cxn>
                <a:cxn ang="0">
                  <a:pos x="4231" y="7012"/>
                </a:cxn>
                <a:cxn ang="0">
                  <a:pos x="4385" y="7654"/>
                </a:cxn>
                <a:cxn ang="0">
                  <a:pos x="4397" y="8271"/>
                </a:cxn>
                <a:cxn ang="0">
                  <a:pos x="4932" y="8580"/>
                </a:cxn>
                <a:cxn ang="0">
                  <a:pos x="4849" y="9293"/>
                </a:cxn>
                <a:cxn ang="0">
                  <a:pos x="4813" y="9602"/>
                </a:cxn>
                <a:cxn ang="0">
                  <a:pos x="5063" y="10102"/>
                </a:cxn>
                <a:cxn ang="0">
                  <a:pos x="5372" y="10315"/>
                </a:cxn>
                <a:cxn ang="0">
                  <a:pos x="5847" y="10185"/>
                </a:cxn>
                <a:cxn ang="0">
                  <a:pos x="6156" y="10007"/>
                </a:cxn>
                <a:cxn ang="0">
                  <a:pos x="6845" y="9793"/>
                </a:cxn>
                <a:cxn ang="0">
                  <a:pos x="7713" y="9543"/>
                </a:cxn>
                <a:cxn ang="0">
                  <a:pos x="8711" y="9507"/>
                </a:cxn>
                <a:cxn ang="0">
                  <a:pos x="9721" y="9151"/>
                </a:cxn>
                <a:cxn ang="0">
                  <a:pos x="9804" y="8699"/>
                </a:cxn>
                <a:cxn ang="0">
                  <a:pos x="10066" y="8260"/>
                </a:cxn>
                <a:cxn ang="0">
                  <a:pos x="10327" y="7630"/>
                </a:cxn>
                <a:cxn ang="0">
                  <a:pos x="10933" y="7249"/>
                </a:cxn>
                <a:cxn ang="0">
                  <a:pos x="11456" y="6192"/>
                </a:cxn>
                <a:cxn ang="0">
                  <a:pos x="11338" y="5764"/>
                </a:cxn>
                <a:cxn ang="0">
                  <a:pos x="11444" y="5301"/>
                </a:cxn>
                <a:cxn ang="0">
                  <a:pos x="11694" y="4932"/>
                </a:cxn>
                <a:cxn ang="0">
                  <a:pos x="11908" y="4730"/>
                </a:cxn>
                <a:cxn ang="0">
                  <a:pos x="12395" y="4718"/>
                </a:cxn>
                <a:cxn ang="0">
                  <a:pos x="12134" y="4267"/>
                </a:cxn>
                <a:cxn ang="0">
                  <a:pos x="11979" y="4041"/>
                </a:cxn>
                <a:cxn ang="0">
                  <a:pos x="12443" y="3470"/>
                </a:cxn>
                <a:cxn ang="0">
                  <a:pos x="12716" y="2900"/>
                </a:cxn>
                <a:cxn ang="0">
                  <a:pos x="12740" y="2294"/>
                </a:cxn>
                <a:cxn ang="0">
                  <a:pos x="12039" y="2009"/>
                </a:cxn>
                <a:cxn ang="0">
                  <a:pos x="11670" y="1937"/>
                </a:cxn>
                <a:cxn ang="0">
                  <a:pos x="10826" y="1189"/>
                </a:cxn>
                <a:cxn ang="0">
                  <a:pos x="9983" y="1010"/>
                </a:cxn>
                <a:cxn ang="0">
                  <a:pos x="9175" y="535"/>
                </a:cxn>
                <a:cxn ang="0">
                  <a:pos x="8580" y="547"/>
                </a:cxn>
                <a:cxn ang="0">
                  <a:pos x="7891" y="12"/>
                </a:cxn>
                <a:cxn ang="0">
                  <a:pos x="6810" y="618"/>
                </a:cxn>
                <a:cxn ang="0">
                  <a:pos x="5859" y="1070"/>
                </a:cxn>
                <a:cxn ang="0">
                  <a:pos x="5598" y="606"/>
                </a:cxn>
                <a:cxn ang="0">
                  <a:pos x="5289" y="927"/>
                </a:cxn>
                <a:cxn ang="0">
                  <a:pos x="4873" y="1129"/>
                </a:cxn>
                <a:cxn ang="0">
                  <a:pos x="4932" y="1878"/>
                </a:cxn>
                <a:cxn ang="0">
                  <a:pos x="4314" y="2341"/>
                </a:cxn>
                <a:cxn ang="0">
                  <a:pos x="4469" y="3054"/>
                </a:cxn>
                <a:cxn ang="0">
                  <a:pos x="4231" y="3470"/>
                </a:cxn>
                <a:cxn ang="0">
                  <a:pos x="4374" y="3922"/>
                </a:cxn>
                <a:cxn ang="0">
                  <a:pos x="4207" y="4504"/>
                </a:cxn>
                <a:cxn ang="0">
                  <a:pos x="3768" y="4813"/>
                </a:cxn>
                <a:cxn ang="0">
                  <a:pos x="3435" y="4873"/>
                </a:cxn>
                <a:cxn ang="0">
                  <a:pos x="2698" y="4742"/>
                </a:cxn>
                <a:cxn ang="0">
                  <a:pos x="2092" y="4896"/>
                </a:cxn>
                <a:cxn ang="0">
                  <a:pos x="1723" y="4908"/>
                </a:cxn>
                <a:cxn ang="0">
                  <a:pos x="1272" y="5039"/>
                </a:cxn>
                <a:cxn ang="0">
                  <a:pos x="642" y="5419"/>
                </a:cxn>
                <a:cxn ang="0">
                  <a:pos x="202" y="5942"/>
                </a:cxn>
                <a:cxn ang="0">
                  <a:pos x="24" y="6394"/>
                </a:cxn>
              </a:cxnLst>
              <a:rect l="0" t="0" r="r" b="b"/>
              <a:pathLst>
                <a:path w="12966" h="10315">
                  <a:moveTo>
                    <a:pt x="12" y="6786"/>
                  </a:moveTo>
                  <a:lnTo>
                    <a:pt x="72" y="6750"/>
                  </a:lnTo>
                  <a:lnTo>
                    <a:pt x="107" y="6715"/>
                  </a:lnTo>
                  <a:lnTo>
                    <a:pt x="179" y="6679"/>
                  </a:lnTo>
                  <a:lnTo>
                    <a:pt x="226" y="6655"/>
                  </a:lnTo>
                  <a:lnTo>
                    <a:pt x="321" y="6608"/>
                  </a:lnTo>
                  <a:lnTo>
                    <a:pt x="464" y="6536"/>
                  </a:lnTo>
                  <a:lnTo>
                    <a:pt x="488" y="6501"/>
                  </a:lnTo>
                  <a:lnTo>
                    <a:pt x="559" y="6465"/>
                  </a:lnTo>
                  <a:lnTo>
                    <a:pt x="654" y="6418"/>
                  </a:lnTo>
                  <a:lnTo>
                    <a:pt x="678" y="6429"/>
                  </a:lnTo>
                  <a:lnTo>
                    <a:pt x="725" y="6453"/>
                  </a:lnTo>
                  <a:lnTo>
                    <a:pt x="737" y="6477"/>
                  </a:lnTo>
                  <a:lnTo>
                    <a:pt x="773" y="6513"/>
                  </a:lnTo>
                  <a:lnTo>
                    <a:pt x="856" y="6525"/>
                  </a:lnTo>
                  <a:lnTo>
                    <a:pt x="915" y="6525"/>
                  </a:lnTo>
                  <a:lnTo>
                    <a:pt x="1070" y="6536"/>
                  </a:lnTo>
                  <a:lnTo>
                    <a:pt x="1094" y="6536"/>
                  </a:lnTo>
                  <a:lnTo>
                    <a:pt x="1141" y="6584"/>
                  </a:lnTo>
                  <a:lnTo>
                    <a:pt x="1189" y="6596"/>
                  </a:lnTo>
                  <a:lnTo>
                    <a:pt x="1260" y="6608"/>
                  </a:lnTo>
                  <a:lnTo>
                    <a:pt x="1367" y="6608"/>
                  </a:lnTo>
                  <a:lnTo>
                    <a:pt x="1415" y="6596"/>
                  </a:lnTo>
                  <a:lnTo>
                    <a:pt x="1569" y="6596"/>
                  </a:lnTo>
                  <a:lnTo>
                    <a:pt x="1640" y="6584"/>
                  </a:lnTo>
                  <a:lnTo>
                    <a:pt x="1688" y="6584"/>
                  </a:lnTo>
                  <a:lnTo>
                    <a:pt x="1723" y="6608"/>
                  </a:lnTo>
                  <a:lnTo>
                    <a:pt x="1759" y="6655"/>
                  </a:lnTo>
                  <a:lnTo>
                    <a:pt x="1807" y="6679"/>
                  </a:lnTo>
                  <a:lnTo>
                    <a:pt x="1949" y="6655"/>
                  </a:lnTo>
                  <a:lnTo>
                    <a:pt x="1961" y="6667"/>
                  </a:lnTo>
                  <a:lnTo>
                    <a:pt x="2009" y="6738"/>
                  </a:lnTo>
                  <a:lnTo>
                    <a:pt x="1985" y="6738"/>
                  </a:lnTo>
                  <a:lnTo>
                    <a:pt x="1949" y="6750"/>
                  </a:lnTo>
                  <a:lnTo>
                    <a:pt x="1926" y="6798"/>
                  </a:lnTo>
                  <a:lnTo>
                    <a:pt x="1937" y="6929"/>
                  </a:lnTo>
                  <a:lnTo>
                    <a:pt x="1973" y="6988"/>
                  </a:lnTo>
                  <a:lnTo>
                    <a:pt x="1997" y="7071"/>
                  </a:lnTo>
                  <a:lnTo>
                    <a:pt x="2056" y="7107"/>
                  </a:lnTo>
                  <a:lnTo>
                    <a:pt x="2068" y="7119"/>
                  </a:lnTo>
                  <a:lnTo>
                    <a:pt x="2092" y="7083"/>
                  </a:lnTo>
                  <a:lnTo>
                    <a:pt x="2139" y="7047"/>
                  </a:lnTo>
                  <a:lnTo>
                    <a:pt x="2175" y="6940"/>
                  </a:lnTo>
                  <a:lnTo>
                    <a:pt x="2187" y="6929"/>
                  </a:lnTo>
                  <a:lnTo>
                    <a:pt x="2223" y="6929"/>
                  </a:lnTo>
                  <a:lnTo>
                    <a:pt x="2258" y="6917"/>
                  </a:lnTo>
                  <a:lnTo>
                    <a:pt x="2306" y="6988"/>
                  </a:lnTo>
                  <a:lnTo>
                    <a:pt x="2318" y="7083"/>
                  </a:lnTo>
                  <a:lnTo>
                    <a:pt x="2306" y="7178"/>
                  </a:lnTo>
                  <a:lnTo>
                    <a:pt x="2330" y="7226"/>
                  </a:lnTo>
                  <a:lnTo>
                    <a:pt x="2365" y="7238"/>
                  </a:lnTo>
                  <a:lnTo>
                    <a:pt x="2389" y="7214"/>
                  </a:lnTo>
                  <a:lnTo>
                    <a:pt x="2401" y="7166"/>
                  </a:lnTo>
                  <a:lnTo>
                    <a:pt x="2389" y="7071"/>
                  </a:lnTo>
                  <a:lnTo>
                    <a:pt x="2413" y="7036"/>
                  </a:lnTo>
                  <a:lnTo>
                    <a:pt x="2425" y="6976"/>
                  </a:lnTo>
                  <a:lnTo>
                    <a:pt x="2448" y="6952"/>
                  </a:lnTo>
                  <a:lnTo>
                    <a:pt x="2543" y="6929"/>
                  </a:lnTo>
                  <a:lnTo>
                    <a:pt x="2650" y="6952"/>
                  </a:lnTo>
                  <a:lnTo>
                    <a:pt x="2757" y="6905"/>
                  </a:lnTo>
                  <a:lnTo>
                    <a:pt x="2793" y="6917"/>
                  </a:lnTo>
                  <a:lnTo>
                    <a:pt x="2841" y="6917"/>
                  </a:lnTo>
                  <a:lnTo>
                    <a:pt x="2864" y="6905"/>
                  </a:lnTo>
                  <a:lnTo>
                    <a:pt x="2900" y="6893"/>
                  </a:lnTo>
                  <a:lnTo>
                    <a:pt x="2936" y="6893"/>
                  </a:lnTo>
                  <a:lnTo>
                    <a:pt x="3007" y="6893"/>
                  </a:lnTo>
                  <a:lnTo>
                    <a:pt x="3031" y="6893"/>
                  </a:lnTo>
                  <a:lnTo>
                    <a:pt x="3054" y="6917"/>
                  </a:lnTo>
                  <a:lnTo>
                    <a:pt x="3090" y="6929"/>
                  </a:lnTo>
                  <a:lnTo>
                    <a:pt x="3102" y="6917"/>
                  </a:lnTo>
                  <a:lnTo>
                    <a:pt x="3114" y="6893"/>
                  </a:lnTo>
                  <a:lnTo>
                    <a:pt x="3114" y="6845"/>
                  </a:lnTo>
                  <a:lnTo>
                    <a:pt x="3114" y="6822"/>
                  </a:lnTo>
                  <a:lnTo>
                    <a:pt x="3150" y="6822"/>
                  </a:lnTo>
                  <a:lnTo>
                    <a:pt x="3245" y="6917"/>
                  </a:lnTo>
                  <a:lnTo>
                    <a:pt x="3268" y="6929"/>
                  </a:lnTo>
                  <a:lnTo>
                    <a:pt x="3340" y="6917"/>
                  </a:lnTo>
                  <a:lnTo>
                    <a:pt x="3375" y="6905"/>
                  </a:lnTo>
                  <a:lnTo>
                    <a:pt x="3399" y="6834"/>
                  </a:lnTo>
                  <a:lnTo>
                    <a:pt x="3411" y="6822"/>
                  </a:lnTo>
                  <a:lnTo>
                    <a:pt x="3459" y="6834"/>
                  </a:lnTo>
                  <a:lnTo>
                    <a:pt x="3494" y="6893"/>
                  </a:lnTo>
                  <a:lnTo>
                    <a:pt x="3506" y="6893"/>
                  </a:lnTo>
                  <a:lnTo>
                    <a:pt x="3530" y="6893"/>
                  </a:lnTo>
                  <a:lnTo>
                    <a:pt x="3542" y="6881"/>
                  </a:lnTo>
                  <a:lnTo>
                    <a:pt x="3554" y="6798"/>
                  </a:lnTo>
                  <a:lnTo>
                    <a:pt x="3565" y="6774"/>
                  </a:lnTo>
                  <a:lnTo>
                    <a:pt x="3589" y="6738"/>
                  </a:lnTo>
                  <a:lnTo>
                    <a:pt x="3637" y="6727"/>
                  </a:lnTo>
                  <a:lnTo>
                    <a:pt x="3732" y="6750"/>
                  </a:lnTo>
                  <a:lnTo>
                    <a:pt x="3791" y="6822"/>
                  </a:lnTo>
                  <a:lnTo>
                    <a:pt x="3815" y="6822"/>
                  </a:lnTo>
                  <a:lnTo>
                    <a:pt x="3863" y="6786"/>
                  </a:lnTo>
                  <a:lnTo>
                    <a:pt x="3981" y="6750"/>
                  </a:lnTo>
                  <a:lnTo>
                    <a:pt x="4041" y="6762"/>
                  </a:lnTo>
                  <a:lnTo>
                    <a:pt x="4053" y="6786"/>
                  </a:lnTo>
                  <a:lnTo>
                    <a:pt x="4029" y="6857"/>
                  </a:lnTo>
                  <a:lnTo>
                    <a:pt x="4041" y="6881"/>
                  </a:lnTo>
                  <a:lnTo>
                    <a:pt x="4076" y="6893"/>
                  </a:lnTo>
                  <a:lnTo>
                    <a:pt x="4088" y="6929"/>
                  </a:lnTo>
                  <a:lnTo>
                    <a:pt x="4172" y="6940"/>
                  </a:lnTo>
                  <a:lnTo>
                    <a:pt x="4231" y="6952"/>
                  </a:lnTo>
                  <a:lnTo>
                    <a:pt x="4231" y="6964"/>
                  </a:lnTo>
                  <a:lnTo>
                    <a:pt x="4231" y="7012"/>
                  </a:lnTo>
                  <a:lnTo>
                    <a:pt x="4243" y="7059"/>
                  </a:lnTo>
                  <a:lnTo>
                    <a:pt x="4243" y="7143"/>
                  </a:lnTo>
                  <a:lnTo>
                    <a:pt x="4219" y="7190"/>
                  </a:lnTo>
                  <a:lnTo>
                    <a:pt x="4207" y="7285"/>
                  </a:lnTo>
                  <a:lnTo>
                    <a:pt x="4219" y="7333"/>
                  </a:lnTo>
                  <a:lnTo>
                    <a:pt x="4243" y="7368"/>
                  </a:lnTo>
                  <a:lnTo>
                    <a:pt x="4290" y="7416"/>
                  </a:lnTo>
                  <a:lnTo>
                    <a:pt x="4350" y="7451"/>
                  </a:lnTo>
                  <a:lnTo>
                    <a:pt x="4385" y="7499"/>
                  </a:lnTo>
                  <a:lnTo>
                    <a:pt x="4397" y="7582"/>
                  </a:lnTo>
                  <a:lnTo>
                    <a:pt x="4409" y="7582"/>
                  </a:lnTo>
                  <a:lnTo>
                    <a:pt x="4409" y="7642"/>
                  </a:lnTo>
                  <a:lnTo>
                    <a:pt x="4385" y="7654"/>
                  </a:lnTo>
                  <a:lnTo>
                    <a:pt x="4374" y="7642"/>
                  </a:lnTo>
                  <a:lnTo>
                    <a:pt x="4350" y="7630"/>
                  </a:lnTo>
                  <a:lnTo>
                    <a:pt x="4314" y="7677"/>
                  </a:lnTo>
                  <a:lnTo>
                    <a:pt x="4279" y="7784"/>
                  </a:lnTo>
                  <a:lnTo>
                    <a:pt x="4267" y="7820"/>
                  </a:lnTo>
                  <a:lnTo>
                    <a:pt x="4267" y="7879"/>
                  </a:lnTo>
                  <a:lnTo>
                    <a:pt x="4290" y="7927"/>
                  </a:lnTo>
                  <a:lnTo>
                    <a:pt x="4350" y="7951"/>
                  </a:lnTo>
                  <a:lnTo>
                    <a:pt x="4350" y="8069"/>
                  </a:lnTo>
                  <a:lnTo>
                    <a:pt x="4385" y="8117"/>
                  </a:lnTo>
                  <a:lnTo>
                    <a:pt x="4374" y="8141"/>
                  </a:lnTo>
                  <a:lnTo>
                    <a:pt x="4374" y="8212"/>
                  </a:lnTo>
                  <a:lnTo>
                    <a:pt x="4397" y="8271"/>
                  </a:lnTo>
                  <a:lnTo>
                    <a:pt x="4445" y="8307"/>
                  </a:lnTo>
                  <a:lnTo>
                    <a:pt x="4492" y="8521"/>
                  </a:lnTo>
                  <a:lnTo>
                    <a:pt x="4516" y="8557"/>
                  </a:lnTo>
                  <a:lnTo>
                    <a:pt x="4540" y="8557"/>
                  </a:lnTo>
                  <a:lnTo>
                    <a:pt x="4576" y="8545"/>
                  </a:lnTo>
                  <a:lnTo>
                    <a:pt x="4635" y="8474"/>
                  </a:lnTo>
                  <a:lnTo>
                    <a:pt x="4671" y="8462"/>
                  </a:lnTo>
                  <a:lnTo>
                    <a:pt x="4766" y="8474"/>
                  </a:lnTo>
                  <a:lnTo>
                    <a:pt x="4861" y="8474"/>
                  </a:lnTo>
                  <a:lnTo>
                    <a:pt x="4885" y="8485"/>
                  </a:lnTo>
                  <a:lnTo>
                    <a:pt x="4896" y="8497"/>
                  </a:lnTo>
                  <a:lnTo>
                    <a:pt x="4920" y="8557"/>
                  </a:lnTo>
                  <a:lnTo>
                    <a:pt x="4932" y="8580"/>
                  </a:lnTo>
                  <a:lnTo>
                    <a:pt x="5015" y="8580"/>
                  </a:lnTo>
                  <a:lnTo>
                    <a:pt x="5039" y="8592"/>
                  </a:lnTo>
                  <a:lnTo>
                    <a:pt x="5051" y="8640"/>
                  </a:lnTo>
                  <a:lnTo>
                    <a:pt x="5027" y="8735"/>
                  </a:lnTo>
                  <a:lnTo>
                    <a:pt x="4980" y="8818"/>
                  </a:lnTo>
                  <a:lnTo>
                    <a:pt x="4896" y="8889"/>
                  </a:lnTo>
                  <a:lnTo>
                    <a:pt x="4873" y="8949"/>
                  </a:lnTo>
                  <a:lnTo>
                    <a:pt x="4861" y="8985"/>
                  </a:lnTo>
                  <a:lnTo>
                    <a:pt x="4861" y="9080"/>
                  </a:lnTo>
                  <a:lnTo>
                    <a:pt x="4849" y="9115"/>
                  </a:lnTo>
                  <a:lnTo>
                    <a:pt x="4873" y="9198"/>
                  </a:lnTo>
                  <a:lnTo>
                    <a:pt x="4849" y="9234"/>
                  </a:lnTo>
                  <a:lnTo>
                    <a:pt x="4849" y="9293"/>
                  </a:lnTo>
                  <a:lnTo>
                    <a:pt x="4837" y="9293"/>
                  </a:lnTo>
                  <a:lnTo>
                    <a:pt x="4825" y="9305"/>
                  </a:lnTo>
                  <a:lnTo>
                    <a:pt x="4801" y="9305"/>
                  </a:lnTo>
                  <a:lnTo>
                    <a:pt x="4790" y="9305"/>
                  </a:lnTo>
                  <a:lnTo>
                    <a:pt x="4778" y="9329"/>
                  </a:lnTo>
                  <a:lnTo>
                    <a:pt x="4801" y="9341"/>
                  </a:lnTo>
                  <a:lnTo>
                    <a:pt x="4849" y="9365"/>
                  </a:lnTo>
                  <a:lnTo>
                    <a:pt x="4873" y="9389"/>
                  </a:lnTo>
                  <a:lnTo>
                    <a:pt x="4861" y="9412"/>
                  </a:lnTo>
                  <a:lnTo>
                    <a:pt x="4813" y="9460"/>
                  </a:lnTo>
                  <a:lnTo>
                    <a:pt x="4801" y="9484"/>
                  </a:lnTo>
                  <a:lnTo>
                    <a:pt x="4801" y="9543"/>
                  </a:lnTo>
                  <a:lnTo>
                    <a:pt x="4813" y="9602"/>
                  </a:lnTo>
                  <a:lnTo>
                    <a:pt x="4813" y="9614"/>
                  </a:lnTo>
                  <a:lnTo>
                    <a:pt x="4837" y="9650"/>
                  </a:lnTo>
                  <a:lnTo>
                    <a:pt x="4825" y="9721"/>
                  </a:lnTo>
                  <a:lnTo>
                    <a:pt x="4896" y="9781"/>
                  </a:lnTo>
                  <a:lnTo>
                    <a:pt x="5051" y="9852"/>
                  </a:lnTo>
                  <a:lnTo>
                    <a:pt x="5075" y="9852"/>
                  </a:lnTo>
                  <a:lnTo>
                    <a:pt x="5098" y="9911"/>
                  </a:lnTo>
                  <a:lnTo>
                    <a:pt x="5110" y="9983"/>
                  </a:lnTo>
                  <a:lnTo>
                    <a:pt x="5063" y="10018"/>
                  </a:lnTo>
                  <a:lnTo>
                    <a:pt x="5051" y="10018"/>
                  </a:lnTo>
                  <a:lnTo>
                    <a:pt x="5039" y="10042"/>
                  </a:lnTo>
                  <a:lnTo>
                    <a:pt x="5027" y="10066"/>
                  </a:lnTo>
                  <a:lnTo>
                    <a:pt x="5063" y="10102"/>
                  </a:lnTo>
                  <a:lnTo>
                    <a:pt x="5122" y="10125"/>
                  </a:lnTo>
                  <a:lnTo>
                    <a:pt x="5134" y="10137"/>
                  </a:lnTo>
                  <a:lnTo>
                    <a:pt x="5134" y="10173"/>
                  </a:lnTo>
                  <a:lnTo>
                    <a:pt x="5098" y="10232"/>
                  </a:lnTo>
                  <a:lnTo>
                    <a:pt x="5122" y="10292"/>
                  </a:lnTo>
                  <a:lnTo>
                    <a:pt x="5170" y="10315"/>
                  </a:lnTo>
                  <a:lnTo>
                    <a:pt x="5217" y="10315"/>
                  </a:lnTo>
                  <a:lnTo>
                    <a:pt x="5253" y="10315"/>
                  </a:lnTo>
                  <a:lnTo>
                    <a:pt x="5336" y="10256"/>
                  </a:lnTo>
                  <a:lnTo>
                    <a:pt x="5348" y="10256"/>
                  </a:lnTo>
                  <a:lnTo>
                    <a:pt x="5360" y="10268"/>
                  </a:lnTo>
                  <a:lnTo>
                    <a:pt x="5372" y="10304"/>
                  </a:lnTo>
                  <a:lnTo>
                    <a:pt x="5372" y="10315"/>
                  </a:lnTo>
                  <a:lnTo>
                    <a:pt x="5455" y="10315"/>
                  </a:lnTo>
                  <a:lnTo>
                    <a:pt x="5467" y="10315"/>
                  </a:lnTo>
                  <a:lnTo>
                    <a:pt x="5467" y="10304"/>
                  </a:lnTo>
                  <a:lnTo>
                    <a:pt x="5514" y="10292"/>
                  </a:lnTo>
                  <a:lnTo>
                    <a:pt x="5574" y="10220"/>
                  </a:lnTo>
                  <a:lnTo>
                    <a:pt x="5598" y="10220"/>
                  </a:lnTo>
                  <a:lnTo>
                    <a:pt x="5609" y="10280"/>
                  </a:lnTo>
                  <a:lnTo>
                    <a:pt x="5633" y="10292"/>
                  </a:lnTo>
                  <a:lnTo>
                    <a:pt x="5681" y="10304"/>
                  </a:lnTo>
                  <a:lnTo>
                    <a:pt x="5800" y="10232"/>
                  </a:lnTo>
                  <a:lnTo>
                    <a:pt x="5835" y="10220"/>
                  </a:lnTo>
                  <a:lnTo>
                    <a:pt x="5835" y="10197"/>
                  </a:lnTo>
                  <a:lnTo>
                    <a:pt x="5847" y="10185"/>
                  </a:lnTo>
                  <a:lnTo>
                    <a:pt x="5823" y="10161"/>
                  </a:lnTo>
                  <a:lnTo>
                    <a:pt x="5740" y="10137"/>
                  </a:lnTo>
                  <a:lnTo>
                    <a:pt x="5728" y="10113"/>
                  </a:lnTo>
                  <a:lnTo>
                    <a:pt x="5752" y="10078"/>
                  </a:lnTo>
                  <a:lnTo>
                    <a:pt x="5823" y="10066"/>
                  </a:lnTo>
                  <a:lnTo>
                    <a:pt x="5847" y="10042"/>
                  </a:lnTo>
                  <a:lnTo>
                    <a:pt x="5847" y="10030"/>
                  </a:lnTo>
                  <a:lnTo>
                    <a:pt x="5907" y="9983"/>
                  </a:lnTo>
                  <a:lnTo>
                    <a:pt x="5954" y="10007"/>
                  </a:lnTo>
                  <a:lnTo>
                    <a:pt x="6002" y="10007"/>
                  </a:lnTo>
                  <a:lnTo>
                    <a:pt x="6049" y="10054"/>
                  </a:lnTo>
                  <a:lnTo>
                    <a:pt x="6061" y="10054"/>
                  </a:lnTo>
                  <a:lnTo>
                    <a:pt x="6156" y="10007"/>
                  </a:lnTo>
                  <a:lnTo>
                    <a:pt x="6192" y="10030"/>
                  </a:lnTo>
                  <a:lnTo>
                    <a:pt x="6227" y="10030"/>
                  </a:lnTo>
                  <a:lnTo>
                    <a:pt x="6311" y="10007"/>
                  </a:lnTo>
                  <a:lnTo>
                    <a:pt x="6382" y="9971"/>
                  </a:lnTo>
                  <a:lnTo>
                    <a:pt x="6465" y="9911"/>
                  </a:lnTo>
                  <a:lnTo>
                    <a:pt x="6548" y="9888"/>
                  </a:lnTo>
                  <a:lnTo>
                    <a:pt x="6620" y="9876"/>
                  </a:lnTo>
                  <a:lnTo>
                    <a:pt x="6691" y="9840"/>
                  </a:lnTo>
                  <a:lnTo>
                    <a:pt x="6798" y="9804"/>
                  </a:lnTo>
                  <a:lnTo>
                    <a:pt x="6845" y="9793"/>
                  </a:lnTo>
                  <a:lnTo>
                    <a:pt x="6845" y="9793"/>
                  </a:lnTo>
                  <a:lnTo>
                    <a:pt x="6881" y="9816"/>
                  </a:lnTo>
                  <a:lnTo>
                    <a:pt x="6845" y="9793"/>
                  </a:lnTo>
                  <a:lnTo>
                    <a:pt x="6905" y="9757"/>
                  </a:lnTo>
                  <a:lnTo>
                    <a:pt x="7012" y="9733"/>
                  </a:lnTo>
                  <a:lnTo>
                    <a:pt x="7047" y="9733"/>
                  </a:lnTo>
                  <a:lnTo>
                    <a:pt x="7083" y="9721"/>
                  </a:lnTo>
                  <a:lnTo>
                    <a:pt x="7119" y="9698"/>
                  </a:lnTo>
                  <a:lnTo>
                    <a:pt x="7143" y="9709"/>
                  </a:lnTo>
                  <a:lnTo>
                    <a:pt x="7178" y="9709"/>
                  </a:lnTo>
                  <a:lnTo>
                    <a:pt x="7297" y="9638"/>
                  </a:lnTo>
                  <a:lnTo>
                    <a:pt x="7345" y="9650"/>
                  </a:lnTo>
                  <a:lnTo>
                    <a:pt x="7416" y="9650"/>
                  </a:lnTo>
                  <a:lnTo>
                    <a:pt x="7499" y="9650"/>
                  </a:lnTo>
                  <a:lnTo>
                    <a:pt x="7618" y="9602"/>
                  </a:lnTo>
                  <a:lnTo>
                    <a:pt x="7713" y="9543"/>
                  </a:lnTo>
                  <a:lnTo>
                    <a:pt x="7796" y="9543"/>
                  </a:lnTo>
                  <a:lnTo>
                    <a:pt x="8010" y="9460"/>
                  </a:lnTo>
                  <a:lnTo>
                    <a:pt x="8046" y="9472"/>
                  </a:lnTo>
                  <a:lnTo>
                    <a:pt x="8069" y="9484"/>
                  </a:lnTo>
                  <a:lnTo>
                    <a:pt x="8105" y="9484"/>
                  </a:lnTo>
                  <a:lnTo>
                    <a:pt x="8141" y="9496"/>
                  </a:lnTo>
                  <a:lnTo>
                    <a:pt x="8188" y="9472"/>
                  </a:lnTo>
                  <a:lnTo>
                    <a:pt x="8224" y="9496"/>
                  </a:lnTo>
                  <a:lnTo>
                    <a:pt x="8248" y="9507"/>
                  </a:lnTo>
                  <a:lnTo>
                    <a:pt x="8355" y="9484"/>
                  </a:lnTo>
                  <a:lnTo>
                    <a:pt x="8473" y="9436"/>
                  </a:lnTo>
                  <a:lnTo>
                    <a:pt x="8533" y="9448"/>
                  </a:lnTo>
                  <a:lnTo>
                    <a:pt x="8711" y="9507"/>
                  </a:lnTo>
                  <a:lnTo>
                    <a:pt x="8735" y="9531"/>
                  </a:lnTo>
                  <a:lnTo>
                    <a:pt x="8782" y="9543"/>
                  </a:lnTo>
                  <a:lnTo>
                    <a:pt x="8806" y="9531"/>
                  </a:lnTo>
                  <a:lnTo>
                    <a:pt x="8889" y="9472"/>
                  </a:lnTo>
                  <a:lnTo>
                    <a:pt x="8996" y="9412"/>
                  </a:lnTo>
                  <a:lnTo>
                    <a:pt x="9103" y="9377"/>
                  </a:lnTo>
                  <a:lnTo>
                    <a:pt x="9187" y="9329"/>
                  </a:lnTo>
                  <a:lnTo>
                    <a:pt x="9305" y="9305"/>
                  </a:lnTo>
                  <a:lnTo>
                    <a:pt x="9365" y="9270"/>
                  </a:lnTo>
                  <a:lnTo>
                    <a:pt x="9436" y="9258"/>
                  </a:lnTo>
                  <a:lnTo>
                    <a:pt x="9543" y="9198"/>
                  </a:lnTo>
                  <a:lnTo>
                    <a:pt x="9650" y="9175"/>
                  </a:lnTo>
                  <a:lnTo>
                    <a:pt x="9721" y="9151"/>
                  </a:lnTo>
                  <a:lnTo>
                    <a:pt x="9721" y="9127"/>
                  </a:lnTo>
                  <a:lnTo>
                    <a:pt x="9709" y="9091"/>
                  </a:lnTo>
                  <a:lnTo>
                    <a:pt x="9650" y="9080"/>
                  </a:lnTo>
                  <a:lnTo>
                    <a:pt x="9638" y="9044"/>
                  </a:lnTo>
                  <a:lnTo>
                    <a:pt x="9662" y="9008"/>
                  </a:lnTo>
                  <a:lnTo>
                    <a:pt x="9698" y="8985"/>
                  </a:lnTo>
                  <a:lnTo>
                    <a:pt x="9709" y="8961"/>
                  </a:lnTo>
                  <a:lnTo>
                    <a:pt x="9745" y="8925"/>
                  </a:lnTo>
                  <a:lnTo>
                    <a:pt x="9757" y="8842"/>
                  </a:lnTo>
                  <a:lnTo>
                    <a:pt x="9781" y="8818"/>
                  </a:lnTo>
                  <a:lnTo>
                    <a:pt x="9793" y="8794"/>
                  </a:lnTo>
                  <a:lnTo>
                    <a:pt x="9804" y="8771"/>
                  </a:lnTo>
                  <a:lnTo>
                    <a:pt x="9804" y="8699"/>
                  </a:lnTo>
                  <a:lnTo>
                    <a:pt x="9852" y="8604"/>
                  </a:lnTo>
                  <a:lnTo>
                    <a:pt x="9888" y="8533"/>
                  </a:lnTo>
                  <a:lnTo>
                    <a:pt x="9923" y="8474"/>
                  </a:lnTo>
                  <a:lnTo>
                    <a:pt x="9995" y="8414"/>
                  </a:lnTo>
                  <a:lnTo>
                    <a:pt x="9995" y="8390"/>
                  </a:lnTo>
                  <a:lnTo>
                    <a:pt x="9983" y="8355"/>
                  </a:lnTo>
                  <a:lnTo>
                    <a:pt x="9935" y="8331"/>
                  </a:lnTo>
                  <a:lnTo>
                    <a:pt x="9935" y="8307"/>
                  </a:lnTo>
                  <a:lnTo>
                    <a:pt x="9935" y="8283"/>
                  </a:lnTo>
                  <a:lnTo>
                    <a:pt x="9935" y="8260"/>
                  </a:lnTo>
                  <a:lnTo>
                    <a:pt x="9971" y="8248"/>
                  </a:lnTo>
                  <a:lnTo>
                    <a:pt x="10018" y="8236"/>
                  </a:lnTo>
                  <a:lnTo>
                    <a:pt x="10066" y="8260"/>
                  </a:lnTo>
                  <a:lnTo>
                    <a:pt x="10137" y="8260"/>
                  </a:lnTo>
                  <a:lnTo>
                    <a:pt x="10197" y="8117"/>
                  </a:lnTo>
                  <a:lnTo>
                    <a:pt x="10268" y="8058"/>
                  </a:lnTo>
                  <a:lnTo>
                    <a:pt x="10280" y="8093"/>
                  </a:lnTo>
                  <a:lnTo>
                    <a:pt x="10268" y="8058"/>
                  </a:lnTo>
                  <a:lnTo>
                    <a:pt x="10304" y="8034"/>
                  </a:lnTo>
                  <a:lnTo>
                    <a:pt x="10339" y="7986"/>
                  </a:lnTo>
                  <a:lnTo>
                    <a:pt x="10351" y="7951"/>
                  </a:lnTo>
                  <a:lnTo>
                    <a:pt x="10363" y="7867"/>
                  </a:lnTo>
                  <a:lnTo>
                    <a:pt x="10375" y="7808"/>
                  </a:lnTo>
                  <a:lnTo>
                    <a:pt x="10363" y="7737"/>
                  </a:lnTo>
                  <a:lnTo>
                    <a:pt x="10339" y="7677"/>
                  </a:lnTo>
                  <a:lnTo>
                    <a:pt x="10327" y="7630"/>
                  </a:lnTo>
                  <a:lnTo>
                    <a:pt x="10363" y="7570"/>
                  </a:lnTo>
                  <a:lnTo>
                    <a:pt x="10422" y="7463"/>
                  </a:lnTo>
                  <a:lnTo>
                    <a:pt x="10482" y="7416"/>
                  </a:lnTo>
                  <a:lnTo>
                    <a:pt x="10541" y="7416"/>
                  </a:lnTo>
                  <a:lnTo>
                    <a:pt x="10541" y="7404"/>
                  </a:lnTo>
                  <a:lnTo>
                    <a:pt x="10601" y="7404"/>
                  </a:lnTo>
                  <a:lnTo>
                    <a:pt x="10601" y="7416"/>
                  </a:lnTo>
                  <a:lnTo>
                    <a:pt x="10636" y="7428"/>
                  </a:lnTo>
                  <a:lnTo>
                    <a:pt x="10826" y="7440"/>
                  </a:lnTo>
                  <a:lnTo>
                    <a:pt x="10862" y="7428"/>
                  </a:lnTo>
                  <a:lnTo>
                    <a:pt x="10898" y="7392"/>
                  </a:lnTo>
                  <a:lnTo>
                    <a:pt x="10922" y="7356"/>
                  </a:lnTo>
                  <a:lnTo>
                    <a:pt x="10933" y="7249"/>
                  </a:lnTo>
                  <a:lnTo>
                    <a:pt x="10969" y="7190"/>
                  </a:lnTo>
                  <a:lnTo>
                    <a:pt x="11040" y="7119"/>
                  </a:lnTo>
                  <a:lnTo>
                    <a:pt x="11147" y="7024"/>
                  </a:lnTo>
                  <a:lnTo>
                    <a:pt x="11183" y="6964"/>
                  </a:lnTo>
                  <a:lnTo>
                    <a:pt x="11147" y="6917"/>
                  </a:lnTo>
                  <a:lnTo>
                    <a:pt x="11147" y="6834"/>
                  </a:lnTo>
                  <a:lnTo>
                    <a:pt x="11183" y="6786"/>
                  </a:lnTo>
                  <a:lnTo>
                    <a:pt x="11266" y="6727"/>
                  </a:lnTo>
                  <a:lnTo>
                    <a:pt x="11326" y="6643"/>
                  </a:lnTo>
                  <a:lnTo>
                    <a:pt x="11409" y="6525"/>
                  </a:lnTo>
                  <a:lnTo>
                    <a:pt x="11409" y="6429"/>
                  </a:lnTo>
                  <a:lnTo>
                    <a:pt x="11456" y="6299"/>
                  </a:lnTo>
                  <a:lnTo>
                    <a:pt x="11456" y="6192"/>
                  </a:lnTo>
                  <a:lnTo>
                    <a:pt x="11444" y="6144"/>
                  </a:lnTo>
                  <a:lnTo>
                    <a:pt x="11361" y="6073"/>
                  </a:lnTo>
                  <a:lnTo>
                    <a:pt x="11349" y="6049"/>
                  </a:lnTo>
                  <a:lnTo>
                    <a:pt x="11326" y="5918"/>
                  </a:lnTo>
                  <a:lnTo>
                    <a:pt x="11314" y="5883"/>
                  </a:lnTo>
                  <a:lnTo>
                    <a:pt x="11290" y="5871"/>
                  </a:lnTo>
                  <a:lnTo>
                    <a:pt x="11195" y="5859"/>
                  </a:lnTo>
                  <a:lnTo>
                    <a:pt x="11159" y="5847"/>
                  </a:lnTo>
                  <a:lnTo>
                    <a:pt x="11147" y="5776"/>
                  </a:lnTo>
                  <a:lnTo>
                    <a:pt x="11183" y="5740"/>
                  </a:lnTo>
                  <a:lnTo>
                    <a:pt x="11207" y="5728"/>
                  </a:lnTo>
                  <a:lnTo>
                    <a:pt x="11242" y="5728"/>
                  </a:lnTo>
                  <a:lnTo>
                    <a:pt x="11338" y="5764"/>
                  </a:lnTo>
                  <a:lnTo>
                    <a:pt x="11373" y="5776"/>
                  </a:lnTo>
                  <a:lnTo>
                    <a:pt x="11409" y="5776"/>
                  </a:lnTo>
                  <a:lnTo>
                    <a:pt x="11468" y="5740"/>
                  </a:lnTo>
                  <a:lnTo>
                    <a:pt x="11504" y="5716"/>
                  </a:lnTo>
                  <a:lnTo>
                    <a:pt x="11516" y="5681"/>
                  </a:lnTo>
                  <a:lnTo>
                    <a:pt x="11528" y="5621"/>
                  </a:lnTo>
                  <a:lnTo>
                    <a:pt x="11504" y="5586"/>
                  </a:lnTo>
                  <a:lnTo>
                    <a:pt x="11492" y="5574"/>
                  </a:lnTo>
                  <a:lnTo>
                    <a:pt x="11433" y="5562"/>
                  </a:lnTo>
                  <a:lnTo>
                    <a:pt x="11409" y="5526"/>
                  </a:lnTo>
                  <a:lnTo>
                    <a:pt x="11409" y="5479"/>
                  </a:lnTo>
                  <a:lnTo>
                    <a:pt x="11444" y="5348"/>
                  </a:lnTo>
                  <a:lnTo>
                    <a:pt x="11444" y="5301"/>
                  </a:lnTo>
                  <a:lnTo>
                    <a:pt x="11421" y="5229"/>
                  </a:lnTo>
                  <a:lnTo>
                    <a:pt x="11397" y="5205"/>
                  </a:lnTo>
                  <a:lnTo>
                    <a:pt x="11314" y="5217"/>
                  </a:lnTo>
                  <a:lnTo>
                    <a:pt x="11314" y="5146"/>
                  </a:lnTo>
                  <a:lnTo>
                    <a:pt x="11326" y="5099"/>
                  </a:lnTo>
                  <a:lnTo>
                    <a:pt x="11361" y="5027"/>
                  </a:lnTo>
                  <a:lnTo>
                    <a:pt x="11385" y="4992"/>
                  </a:lnTo>
                  <a:lnTo>
                    <a:pt x="11409" y="4956"/>
                  </a:lnTo>
                  <a:lnTo>
                    <a:pt x="11444" y="4932"/>
                  </a:lnTo>
                  <a:lnTo>
                    <a:pt x="11516" y="4896"/>
                  </a:lnTo>
                  <a:lnTo>
                    <a:pt x="11587" y="4896"/>
                  </a:lnTo>
                  <a:lnTo>
                    <a:pt x="11646" y="4920"/>
                  </a:lnTo>
                  <a:lnTo>
                    <a:pt x="11694" y="4932"/>
                  </a:lnTo>
                  <a:lnTo>
                    <a:pt x="11730" y="4920"/>
                  </a:lnTo>
                  <a:lnTo>
                    <a:pt x="11730" y="4896"/>
                  </a:lnTo>
                  <a:lnTo>
                    <a:pt x="11694" y="4861"/>
                  </a:lnTo>
                  <a:lnTo>
                    <a:pt x="11635" y="4825"/>
                  </a:lnTo>
                  <a:lnTo>
                    <a:pt x="11587" y="4778"/>
                  </a:lnTo>
                  <a:lnTo>
                    <a:pt x="11587" y="4742"/>
                  </a:lnTo>
                  <a:lnTo>
                    <a:pt x="11599" y="4730"/>
                  </a:lnTo>
                  <a:lnTo>
                    <a:pt x="11623" y="4742"/>
                  </a:lnTo>
                  <a:lnTo>
                    <a:pt x="11658" y="4754"/>
                  </a:lnTo>
                  <a:lnTo>
                    <a:pt x="11694" y="4766"/>
                  </a:lnTo>
                  <a:lnTo>
                    <a:pt x="11789" y="4742"/>
                  </a:lnTo>
                  <a:lnTo>
                    <a:pt x="11849" y="4754"/>
                  </a:lnTo>
                  <a:lnTo>
                    <a:pt x="11908" y="4730"/>
                  </a:lnTo>
                  <a:lnTo>
                    <a:pt x="11908" y="4706"/>
                  </a:lnTo>
                  <a:lnTo>
                    <a:pt x="11944" y="4659"/>
                  </a:lnTo>
                  <a:lnTo>
                    <a:pt x="11979" y="4659"/>
                  </a:lnTo>
                  <a:lnTo>
                    <a:pt x="12086" y="4730"/>
                  </a:lnTo>
                  <a:lnTo>
                    <a:pt x="12205" y="4730"/>
                  </a:lnTo>
                  <a:lnTo>
                    <a:pt x="12264" y="4754"/>
                  </a:lnTo>
                  <a:lnTo>
                    <a:pt x="12288" y="4778"/>
                  </a:lnTo>
                  <a:lnTo>
                    <a:pt x="12336" y="4778"/>
                  </a:lnTo>
                  <a:lnTo>
                    <a:pt x="12360" y="4778"/>
                  </a:lnTo>
                  <a:lnTo>
                    <a:pt x="12395" y="4754"/>
                  </a:lnTo>
                  <a:lnTo>
                    <a:pt x="12395" y="4754"/>
                  </a:lnTo>
                  <a:lnTo>
                    <a:pt x="12383" y="4754"/>
                  </a:lnTo>
                  <a:lnTo>
                    <a:pt x="12395" y="4718"/>
                  </a:lnTo>
                  <a:lnTo>
                    <a:pt x="12443" y="4659"/>
                  </a:lnTo>
                  <a:lnTo>
                    <a:pt x="12443" y="4611"/>
                  </a:lnTo>
                  <a:lnTo>
                    <a:pt x="12431" y="4587"/>
                  </a:lnTo>
                  <a:lnTo>
                    <a:pt x="12419" y="4564"/>
                  </a:lnTo>
                  <a:lnTo>
                    <a:pt x="12371" y="4516"/>
                  </a:lnTo>
                  <a:lnTo>
                    <a:pt x="12360" y="4504"/>
                  </a:lnTo>
                  <a:lnTo>
                    <a:pt x="12336" y="4481"/>
                  </a:lnTo>
                  <a:lnTo>
                    <a:pt x="12324" y="4457"/>
                  </a:lnTo>
                  <a:lnTo>
                    <a:pt x="12276" y="4397"/>
                  </a:lnTo>
                  <a:lnTo>
                    <a:pt x="12253" y="4314"/>
                  </a:lnTo>
                  <a:lnTo>
                    <a:pt x="12205" y="4302"/>
                  </a:lnTo>
                  <a:lnTo>
                    <a:pt x="12169" y="4290"/>
                  </a:lnTo>
                  <a:lnTo>
                    <a:pt x="12134" y="4267"/>
                  </a:lnTo>
                  <a:lnTo>
                    <a:pt x="12134" y="4207"/>
                  </a:lnTo>
                  <a:lnTo>
                    <a:pt x="12157" y="4112"/>
                  </a:lnTo>
                  <a:lnTo>
                    <a:pt x="12146" y="4112"/>
                  </a:lnTo>
                  <a:lnTo>
                    <a:pt x="12122" y="4124"/>
                  </a:lnTo>
                  <a:lnTo>
                    <a:pt x="12086" y="4112"/>
                  </a:lnTo>
                  <a:lnTo>
                    <a:pt x="12074" y="4076"/>
                  </a:lnTo>
                  <a:lnTo>
                    <a:pt x="12098" y="4029"/>
                  </a:lnTo>
                  <a:lnTo>
                    <a:pt x="12086" y="4017"/>
                  </a:lnTo>
                  <a:lnTo>
                    <a:pt x="12074" y="4029"/>
                  </a:lnTo>
                  <a:lnTo>
                    <a:pt x="12039" y="4065"/>
                  </a:lnTo>
                  <a:lnTo>
                    <a:pt x="12015" y="4088"/>
                  </a:lnTo>
                  <a:lnTo>
                    <a:pt x="11991" y="4065"/>
                  </a:lnTo>
                  <a:lnTo>
                    <a:pt x="11979" y="4041"/>
                  </a:lnTo>
                  <a:lnTo>
                    <a:pt x="12003" y="4005"/>
                  </a:lnTo>
                  <a:lnTo>
                    <a:pt x="12039" y="3981"/>
                  </a:lnTo>
                  <a:lnTo>
                    <a:pt x="12051" y="3958"/>
                  </a:lnTo>
                  <a:lnTo>
                    <a:pt x="12039" y="3910"/>
                  </a:lnTo>
                  <a:lnTo>
                    <a:pt x="12062" y="3874"/>
                  </a:lnTo>
                  <a:lnTo>
                    <a:pt x="12062" y="3791"/>
                  </a:lnTo>
                  <a:lnTo>
                    <a:pt x="12074" y="3661"/>
                  </a:lnTo>
                  <a:lnTo>
                    <a:pt x="12122" y="3542"/>
                  </a:lnTo>
                  <a:lnTo>
                    <a:pt x="12157" y="3494"/>
                  </a:lnTo>
                  <a:lnTo>
                    <a:pt x="12181" y="3482"/>
                  </a:lnTo>
                  <a:lnTo>
                    <a:pt x="12264" y="3482"/>
                  </a:lnTo>
                  <a:lnTo>
                    <a:pt x="12371" y="3482"/>
                  </a:lnTo>
                  <a:lnTo>
                    <a:pt x="12443" y="3470"/>
                  </a:lnTo>
                  <a:lnTo>
                    <a:pt x="12478" y="3435"/>
                  </a:lnTo>
                  <a:lnTo>
                    <a:pt x="12478" y="3399"/>
                  </a:lnTo>
                  <a:lnTo>
                    <a:pt x="12443" y="3316"/>
                  </a:lnTo>
                  <a:lnTo>
                    <a:pt x="12443" y="3233"/>
                  </a:lnTo>
                  <a:lnTo>
                    <a:pt x="12455" y="3173"/>
                  </a:lnTo>
                  <a:lnTo>
                    <a:pt x="12490" y="3102"/>
                  </a:lnTo>
                  <a:lnTo>
                    <a:pt x="12526" y="3054"/>
                  </a:lnTo>
                  <a:lnTo>
                    <a:pt x="12562" y="3054"/>
                  </a:lnTo>
                  <a:lnTo>
                    <a:pt x="12633" y="3078"/>
                  </a:lnTo>
                  <a:lnTo>
                    <a:pt x="12645" y="3054"/>
                  </a:lnTo>
                  <a:lnTo>
                    <a:pt x="12657" y="2971"/>
                  </a:lnTo>
                  <a:lnTo>
                    <a:pt x="12680" y="2948"/>
                  </a:lnTo>
                  <a:lnTo>
                    <a:pt x="12716" y="2900"/>
                  </a:lnTo>
                  <a:lnTo>
                    <a:pt x="12787" y="2864"/>
                  </a:lnTo>
                  <a:lnTo>
                    <a:pt x="12823" y="2852"/>
                  </a:lnTo>
                  <a:lnTo>
                    <a:pt x="12847" y="2829"/>
                  </a:lnTo>
                  <a:lnTo>
                    <a:pt x="12966" y="2650"/>
                  </a:lnTo>
                  <a:lnTo>
                    <a:pt x="12966" y="2567"/>
                  </a:lnTo>
                  <a:lnTo>
                    <a:pt x="12930" y="2508"/>
                  </a:lnTo>
                  <a:lnTo>
                    <a:pt x="12918" y="2460"/>
                  </a:lnTo>
                  <a:lnTo>
                    <a:pt x="12859" y="2425"/>
                  </a:lnTo>
                  <a:lnTo>
                    <a:pt x="12859" y="2401"/>
                  </a:lnTo>
                  <a:lnTo>
                    <a:pt x="12787" y="2377"/>
                  </a:lnTo>
                  <a:lnTo>
                    <a:pt x="12752" y="2318"/>
                  </a:lnTo>
                  <a:lnTo>
                    <a:pt x="12740" y="2306"/>
                  </a:lnTo>
                  <a:lnTo>
                    <a:pt x="12740" y="2294"/>
                  </a:lnTo>
                  <a:lnTo>
                    <a:pt x="12633" y="2235"/>
                  </a:lnTo>
                  <a:lnTo>
                    <a:pt x="12562" y="2163"/>
                  </a:lnTo>
                  <a:lnTo>
                    <a:pt x="12443" y="2151"/>
                  </a:lnTo>
                  <a:lnTo>
                    <a:pt x="12371" y="2128"/>
                  </a:lnTo>
                  <a:lnTo>
                    <a:pt x="12348" y="2116"/>
                  </a:lnTo>
                  <a:lnTo>
                    <a:pt x="12324" y="2104"/>
                  </a:lnTo>
                  <a:lnTo>
                    <a:pt x="12300" y="2068"/>
                  </a:lnTo>
                  <a:lnTo>
                    <a:pt x="12264" y="2080"/>
                  </a:lnTo>
                  <a:lnTo>
                    <a:pt x="12205" y="2104"/>
                  </a:lnTo>
                  <a:lnTo>
                    <a:pt x="12157" y="2104"/>
                  </a:lnTo>
                  <a:lnTo>
                    <a:pt x="12122" y="2021"/>
                  </a:lnTo>
                  <a:lnTo>
                    <a:pt x="12086" y="2009"/>
                  </a:lnTo>
                  <a:lnTo>
                    <a:pt x="12039" y="2009"/>
                  </a:lnTo>
                  <a:lnTo>
                    <a:pt x="11991" y="2032"/>
                  </a:lnTo>
                  <a:lnTo>
                    <a:pt x="11979" y="2032"/>
                  </a:lnTo>
                  <a:lnTo>
                    <a:pt x="11944" y="2032"/>
                  </a:lnTo>
                  <a:lnTo>
                    <a:pt x="11920" y="2009"/>
                  </a:lnTo>
                  <a:lnTo>
                    <a:pt x="11896" y="1949"/>
                  </a:lnTo>
                  <a:lnTo>
                    <a:pt x="11872" y="1949"/>
                  </a:lnTo>
                  <a:lnTo>
                    <a:pt x="11849" y="1961"/>
                  </a:lnTo>
                  <a:lnTo>
                    <a:pt x="11825" y="1985"/>
                  </a:lnTo>
                  <a:lnTo>
                    <a:pt x="11801" y="1985"/>
                  </a:lnTo>
                  <a:lnTo>
                    <a:pt x="11765" y="1961"/>
                  </a:lnTo>
                  <a:lnTo>
                    <a:pt x="11730" y="1914"/>
                  </a:lnTo>
                  <a:lnTo>
                    <a:pt x="11706" y="1914"/>
                  </a:lnTo>
                  <a:lnTo>
                    <a:pt x="11670" y="1937"/>
                  </a:lnTo>
                  <a:lnTo>
                    <a:pt x="11635" y="1997"/>
                  </a:lnTo>
                  <a:lnTo>
                    <a:pt x="11528" y="2021"/>
                  </a:lnTo>
                  <a:lnTo>
                    <a:pt x="11468" y="2044"/>
                  </a:lnTo>
                  <a:lnTo>
                    <a:pt x="11456" y="2044"/>
                  </a:lnTo>
                  <a:lnTo>
                    <a:pt x="11373" y="1997"/>
                  </a:lnTo>
                  <a:lnTo>
                    <a:pt x="11314" y="1985"/>
                  </a:lnTo>
                  <a:lnTo>
                    <a:pt x="11278" y="1949"/>
                  </a:lnTo>
                  <a:lnTo>
                    <a:pt x="11290" y="1795"/>
                  </a:lnTo>
                  <a:lnTo>
                    <a:pt x="11290" y="1735"/>
                  </a:lnTo>
                  <a:lnTo>
                    <a:pt x="11266" y="1688"/>
                  </a:lnTo>
                  <a:lnTo>
                    <a:pt x="11231" y="1640"/>
                  </a:lnTo>
                  <a:lnTo>
                    <a:pt x="11219" y="1628"/>
                  </a:lnTo>
                  <a:lnTo>
                    <a:pt x="10826" y="1189"/>
                  </a:lnTo>
                  <a:lnTo>
                    <a:pt x="10743" y="1189"/>
                  </a:lnTo>
                  <a:lnTo>
                    <a:pt x="10696" y="1248"/>
                  </a:lnTo>
                  <a:lnTo>
                    <a:pt x="10613" y="1260"/>
                  </a:lnTo>
                  <a:lnTo>
                    <a:pt x="10565" y="1236"/>
                  </a:lnTo>
                  <a:lnTo>
                    <a:pt x="10446" y="1224"/>
                  </a:lnTo>
                  <a:lnTo>
                    <a:pt x="10387" y="1201"/>
                  </a:lnTo>
                  <a:lnTo>
                    <a:pt x="10339" y="1153"/>
                  </a:lnTo>
                  <a:lnTo>
                    <a:pt x="10304" y="1141"/>
                  </a:lnTo>
                  <a:lnTo>
                    <a:pt x="10268" y="1165"/>
                  </a:lnTo>
                  <a:lnTo>
                    <a:pt x="10232" y="1165"/>
                  </a:lnTo>
                  <a:lnTo>
                    <a:pt x="10066" y="1058"/>
                  </a:lnTo>
                  <a:lnTo>
                    <a:pt x="10018" y="1034"/>
                  </a:lnTo>
                  <a:lnTo>
                    <a:pt x="9983" y="1010"/>
                  </a:lnTo>
                  <a:lnTo>
                    <a:pt x="9971" y="1010"/>
                  </a:lnTo>
                  <a:lnTo>
                    <a:pt x="9947" y="975"/>
                  </a:lnTo>
                  <a:lnTo>
                    <a:pt x="9816" y="915"/>
                  </a:lnTo>
                  <a:lnTo>
                    <a:pt x="9686" y="832"/>
                  </a:lnTo>
                  <a:lnTo>
                    <a:pt x="9674" y="761"/>
                  </a:lnTo>
                  <a:lnTo>
                    <a:pt x="9638" y="725"/>
                  </a:lnTo>
                  <a:lnTo>
                    <a:pt x="9507" y="630"/>
                  </a:lnTo>
                  <a:lnTo>
                    <a:pt x="9484" y="630"/>
                  </a:lnTo>
                  <a:lnTo>
                    <a:pt x="9448" y="606"/>
                  </a:lnTo>
                  <a:lnTo>
                    <a:pt x="9317" y="583"/>
                  </a:lnTo>
                  <a:lnTo>
                    <a:pt x="9293" y="571"/>
                  </a:lnTo>
                  <a:lnTo>
                    <a:pt x="9234" y="535"/>
                  </a:lnTo>
                  <a:lnTo>
                    <a:pt x="9175" y="535"/>
                  </a:lnTo>
                  <a:lnTo>
                    <a:pt x="9115" y="547"/>
                  </a:lnTo>
                  <a:lnTo>
                    <a:pt x="9080" y="583"/>
                  </a:lnTo>
                  <a:lnTo>
                    <a:pt x="9044" y="583"/>
                  </a:lnTo>
                  <a:lnTo>
                    <a:pt x="9008" y="595"/>
                  </a:lnTo>
                  <a:lnTo>
                    <a:pt x="8973" y="606"/>
                  </a:lnTo>
                  <a:lnTo>
                    <a:pt x="8949" y="630"/>
                  </a:lnTo>
                  <a:lnTo>
                    <a:pt x="8925" y="642"/>
                  </a:lnTo>
                  <a:lnTo>
                    <a:pt x="8889" y="701"/>
                  </a:lnTo>
                  <a:lnTo>
                    <a:pt x="8854" y="713"/>
                  </a:lnTo>
                  <a:lnTo>
                    <a:pt x="8818" y="713"/>
                  </a:lnTo>
                  <a:lnTo>
                    <a:pt x="8782" y="654"/>
                  </a:lnTo>
                  <a:lnTo>
                    <a:pt x="8676" y="618"/>
                  </a:lnTo>
                  <a:lnTo>
                    <a:pt x="8580" y="547"/>
                  </a:lnTo>
                  <a:lnTo>
                    <a:pt x="8485" y="523"/>
                  </a:lnTo>
                  <a:lnTo>
                    <a:pt x="8462" y="499"/>
                  </a:lnTo>
                  <a:lnTo>
                    <a:pt x="8438" y="404"/>
                  </a:lnTo>
                  <a:lnTo>
                    <a:pt x="8450" y="321"/>
                  </a:lnTo>
                  <a:lnTo>
                    <a:pt x="8533" y="107"/>
                  </a:lnTo>
                  <a:lnTo>
                    <a:pt x="8497" y="119"/>
                  </a:lnTo>
                  <a:lnTo>
                    <a:pt x="8450" y="107"/>
                  </a:lnTo>
                  <a:lnTo>
                    <a:pt x="8343" y="60"/>
                  </a:lnTo>
                  <a:lnTo>
                    <a:pt x="8200" y="48"/>
                  </a:lnTo>
                  <a:lnTo>
                    <a:pt x="8046" y="0"/>
                  </a:lnTo>
                  <a:lnTo>
                    <a:pt x="7986" y="12"/>
                  </a:lnTo>
                  <a:lnTo>
                    <a:pt x="7951" y="12"/>
                  </a:lnTo>
                  <a:lnTo>
                    <a:pt x="7891" y="12"/>
                  </a:lnTo>
                  <a:lnTo>
                    <a:pt x="7832" y="36"/>
                  </a:lnTo>
                  <a:lnTo>
                    <a:pt x="7749" y="72"/>
                  </a:lnTo>
                  <a:lnTo>
                    <a:pt x="7618" y="131"/>
                  </a:lnTo>
                  <a:lnTo>
                    <a:pt x="7547" y="190"/>
                  </a:lnTo>
                  <a:lnTo>
                    <a:pt x="7487" y="202"/>
                  </a:lnTo>
                  <a:lnTo>
                    <a:pt x="7428" y="262"/>
                  </a:lnTo>
                  <a:lnTo>
                    <a:pt x="7380" y="274"/>
                  </a:lnTo>
                  <a:lnTo>
                    <a:pt x="7333" y="333"/>
                  </a:lnTo>
                  <a:lnTo>
                    <a:pt x="7285" y="381"/>
                  </a:lnTo>
                  <a:lnTo>
                    <a:pt x="7107" y="476"/>
                  </a:lnTo>
                  <a:lnTo>
                    <a:pt x="7036" y="559"/>
                  </a:lnTo>
                  <a:lnTo>
                    <a:pt x="6917" y="571"/>
                  </a:lnTo>
                  <a:lnTo>
                    <a:pt x="6810" y="618"/>
                  </a:lnTo>
                  <a:lnTo>
                    <a:pt x="6762" y="654"/>
                  </a:lnTo>
                  <a:lnTo>
                    <a:pt x="6691" y="749"/>
                  </a:lnTo>
                  <a:lnTo>
                    <a:pt x="6655" y="773"/>
                  </a:lnTo>
                  <a:lnTo>
                    <a:pt x="6572" y="820"/>
                  </a:lnTo>
                  <a:lnTo>
                    <a:pt x="6429" y="832"/>
                  </a:lnTo>
                  <a:lnTo>
                    <a:pt x="6323" y="939"/>
                  </a:lnTo>
                  <a:lnTo>
                    <a:pt x="6251" y="987"/>
                  </a:lnTo>
                  <a:lnTo>
                    <a:pt x="6132" y="1010"/>
                  </a:lnTo>
                  <a:lnTo>
                    <a:pt x="6073" y="1034"/>
                  </a:lnTo>
                  <a:lnTo>
                    <a:pt x="5990" y="1022"/>
                  </a:lnTo>
                  <a:lnTo>
                    <a:pt x="5930" y="1082"/>
                  </a:lnTo>
                  <a:lnTo>
                    <a:pt x="5907" y="1094"/>
                  </a:lnTo>
                  <a:lnTo>
                    <a:pt x="5859" y="1070"/>
                  </a:lnTo>
                  <a:lnTo>
                    <a:pt x="5907" y="999"/>
                  </a:lnTo>
                  <a:lnTo>
                    <a:pt x="5930" y="951"/>
                  </a:lnTo>
                  <a:lnTo>
                    <a:pt x="5978" y="904"/>
                  </a:lnTo>
                  <a:lnTo>
                    <a:pt x="5978" y="832"/>
                  </a:lnTo>
                  <a:lnTo>
                    <a:pt x="5978" y="749"/>
                  </a:lnTo>
                  <a:lnTo>
                    <a:pt x="5942" y="690"/>
                  </a:lnTo>
                  <a:lnTo>
                    <a:pt x="5942" y="690"/>
                  </a:lnTo>
                  <a:lnTo>
                    <a:pt x="5883" y="737"/>
                  </a:lnTo>
                  <a:lnTo>
                    <a:pt x="5859" y="749"/>
                  </a:lnTo>
                  <a:lnTo>
                    <a:pt x="5693" y="761"/>
                  </a:lnTo>
                  <a:lnTo>
                    <a:pt x="5609" y="713"/>
                  </a:lnTo>
                  <a:lnTo>
                    <a:pt x="5598" y="690"/>
                  </a:lnTo>
                  <a:lnTo>
                    <a:pt x="5598" y="606"/>
                  </a:lnTo>
                  <a:lnTo>
                    <a:pt x="5574" y="606"/>
                  </a:lnTo>
                  <a:lnTo>
                    <a:pt x="5455" y="499"/>
                  </a:lnTo>
                  <a:lnTo>
                    <a:pt x="5431" y="476"/>
                  </a:lnTo>
                  <a:lnTo>
                    <a:pt x="5396" y="464"/>
                  </a:lnTo>
                  <a:lnTo>
                    <a:pt x="5384" y="476"/>
                  </a:lnTo>
                  <a:lnTo>
                    <a:pt x="5301" y="583"/>
                  </a:lnTo>
                  <a:lnTo>
                    <a:pt x="5336" y="642"/>
                  </a:lnTo>
                  <a:lnTo>
                    <a:pt x="5336" y="725"/>
                  </a:lnTo>
                  <a:lnTo>
                    <a:pt x="5324" y="797"/>
                  </a:lnTo>
                  <a:lnTo>
                    <a:pt x="5348" y="844"/>
                  </a:lnTo>
                  <a:lnTo>
                    <a:pt x="5336" y="880"/>
                  </a:lnTo>
                  <a:lnTo>
                    <a:pt x="5324" y="904"/>
                  </a:lnTo>
                  <a:lnTo>
                    <a:pt x="5289" y="927"/>
                  </a:lnTo>
                  <a:lnTo>
                    <a:pt x="5229" y="927"/>
                  </a:lnTo>
                  <a:lnTo>
                    <a:pt x="5205" y="915"/>
                  </a:lnTo>
                  <a:lnTo>
                    <a:pt x="5158" y="892"/>
                  </a:lnTo>
                  <a:lnTo>
                    <a:pt x="5075" y="844"/>
                  </a:lnTo>
                  <a:lnTo>
                    <a:pt x="5003" y="832"/>
                  </a:lnTo>
                  <a:lnTo>
                    <a:pt x="4908" y="844"/>
                  </a:lnTo>
                  <a:lnTo>
                    <a:pt x="4885" y="868"/>
                  </a:lnTo>
                  <a:lnTo>
                    <a:pt x="4885" y="880"/>
                  </a:lnTo>
                  <a:lnTo>
                    <a:pt x="4908" y="975"/>
                  </a:lnTo>
                  <a:lnTo>
                    <a:pt x="4908" y="987"/>
                  </a:lnTo>
                  <a:lnTo>
                    <a:pt x="4849" y="1034"/>
                  </a:lnTo>
                  <a:lnTo>
                    <a:pt x="4837" y="1070"/>
                  </a:lnTo>
                  <a:lnTo>
                    <a:pt x="4873" y="1129"/>
                  </a:lnTo>
                  <a:lnTo>
                    <a:pt x="4908" y="1177"/>
                  </a:lnTo>
                  <a:lnTo>
                    <a:pt x="4932" y="1177"/>
                  </a:lnTo>
                  <a:lnTo>
                    <a:pt x="4932" y="1236"/>
                  </a:lnTo>
                  <a:lnTo>
                    <a:pt x="4920" y="1272"/>
                  </a:lnTo>
                  <a:lnTo>
                    <a:pt x="4861" y="1319"/>
                  </a:lnTo>
                  <a:lnTo>
                    <a:pt x="4849" y="1391"/>
                  </a:lnTo>
                  <a:lnTo>
                    <a:pt x="4849" y="1462"/>
                  </a:lnTo>
                  <a:lnTo>
                    <a:pt x="4885" y="1545"/>
                  </a:lnTo>
                  <a:lnTo>
                    <a:pt x="4885" y="1640"/>
                  </a:lnTo>
                  <a:lnTo>
                    <a:pt x="4920" y="1724"/>
                  </a:lnTo>
                  <a:lnTo>
                    <a:pt x="4944" y="1830"/>
                  </a:lnTo>
                  <a:lnTo>
                    <a:pt x="4956" y="1854"/>
                  </a:lnTo>
                  <a:lnTo>
                    <a:pt x="4932" y="1878"/>
                  </a:lnTo>
                  <a:lnTo>
                    <a:pt x="4861" y="1902"/>
                  </a:lnTo>
                  <a:lnTo>
                    <a:pt x="4730" y="1914"/>
                  </a:lnTo>
                  <a:lnTo>
                    <a:pt x="4730" y="1926"/>
                  </a:lnTo>
                  <a:lnTo>
                    <a:pt x="4587" y="1949"/>
                  </a:lnTo>
                  <a:lnTo>
                    <a:pt x="4540" y="1973"/>
                  </a:lnTo>
                  <a:lnTo>
                    <a:pt x="4492" y="2021"/>
                  </a:lnTo>
                  <a:lnTo>
                    <a:pt x="4445" y="2021"/>
                  </a:lnTo>
                  <a:lnTo>
                    <a:pt x="4421" y="2021"/>
                  </a:lnTo>
                  <a:lnTo>
                    <a:pt x="4350" y="2104"/>
                  </a:lnTo>
                  <a:lnTo>
                    <a:pt x="4326" y="2199"/>
                  </a:lnTo>
                  <a:lnTo>
                    <a:pt x="4338" y="2246"/>
                  </a:lnTo>
                  <a:lnTo>
                    <a:pt x="4302" y="2306"/>
                  </a:lnTo>
                  <a:lnTo>
                    <a:pt x="4314" y="2341"/>
                  </a:lnTo>
                  <a:lnTo>
                    <a:pt x="4302" y="2353"/>
                  </a:lnTo>
                  <a:lnTo>
                    <a:pt x="4207" y="2448"/>
                  </a:lnTo>
                  <a:lnTo>
                    <a:pt x="4183" y="2520"/>
                  </a:lnTo>
                  <a:lnTo>
                    <a:pt x="4183" y="2579"/>
                  </a:lnTo>
                  <a:lnTo>
                    <a:pt x="4195" y="2615"/>
                  </a:lnTo>
                  <a:lnTo>
                    <a:pt x="4219" y="2662"/>
                  </a:lnTo>
                  <a:lnTo>
                    <a:pt x="4279" y="2710"/>
                  </a:lnTo>
                  <a:lnTo>
                    <a:pt x="4350" y="2757"/>
                  </a:lnTo>
                  <a:lnTo>
                    <a:pt x="4397" y="2817"/>
                  </a:lnTo>
                  <a:lnTo>
                    <a:pt x="4421" y="2864"/>
                  </a:lnTo>
                  <a:lnTo>
                    <a:pt x="4421" y="2948"/>
                  </a:lnTo>
                  <a:lnTo>
                    <a:pt x="4457" y="2995"/>
                  </a:lnTo>
                  <a:lnTo>
                    <a:pt x="4469" y="3054"/>
                  </a:lnTo>
                  <a:lnTo>
                    <a:pt x="4516" y="3126"/>
                  </a:lnTo>
                  <a:lnTo>
                    <a:pt x="4528" y="3185"/>
                  </a:lnTo>
                  <a:lnTo>
                    <a:pt x="4516" y="3209"/>
                  </a:lnTo>
                  <a:lnTo>
                    <a:pt x="4492" y="3245"/>
                  </a:lnTo>
                  <a:lnTo>
                    <a:pt x="4445" y="3257"/>
                  </a:lnTo>
                  <a:lnTo>
                    <a:pt x="4421" y="3292"/>
                  </a:lnTo>
                  <a:lnTo>
                    <a:pt x="4362" y="3316"/>
                  </a:lnTo>
                  <a:lnTo>
                    <a:pt x="4350" y="3363"/>
                  </a:lnTo>
                  <a:lnTo>
                    <a:pt x="4326" y="3387"/>
                  </a:lnTo>
                  <a:lnTo>
                    <a:pt x="4302" y="3387"/>
                  </a:lnTo>
                  <a:lnTo>
                    <a:pt x="4279" y="3387"/>
                  </a:lnTo>
                  <a:lnTo>
                    <a:pt x="4267" y="3387"/>
                  </a:lnTo>
                  <a:lnTo>
                    <a:pt x="4231" y="3470"/>
                  </a:lnTo>
                  <a:lnTo>
                    <a:pt x="4195" y="3482"/>
                  </a:lnTo>
                  <a:lnTo>
                    <a:pt x="4183" y="3506"/>
                  </a:lnTo>
                  <a:lnTo>
                    <a:pt x="4160" y="3530"/>
                  </a:lnTo>
                  <a:lnTo>
                    <a:pt x="4148" y="3589"/>
                  </a:lnTo>
                  <a:lnTo>
                    <a:pt x="4136" y="3649"/>
                  </a:lnTo>
                  <a:lnTo>
                    <a:pt x="4124" y="3684"/>
                  </a:lnTo>
                  <a:lnTo>
                    <a:pt x="4112" y="3744"/>
                  </a:lnTo>
                  <a:lnTo>
                    <a:pt x="4148" y="3791"/>
                  </a:lnTo>
                  <a:lnTo>
                    <a:pt x="4172" y="3803"/>
                  </a:lnTo>
                  <a:lnTo>
                    <a:pt x="4255" y="3791"/>
                  </a:lnTo>
                  <a:lnTo>
                    <a:pt x="4326" y="3839"/>
                  </a:lnTo>
                  <a:lnTo>
                    <a:pt x="4374" y="3886"/>
                  </a:lnTo>
                  <a:lnTo>
                    <a:pt x="4374" y="3922"/>
                  </a:lnTo>
                  <a:lnTo>
                    <a:pt x="4362" y="3970"/>
                  </a:lnTo>
                  <a:lnTo>
                    <a:pt x="4338" y="3993"/>
                  </a:lnTo>
                  <a:lnTo>
                    <a:pt x="4290" y="4017"/>
                  </a:lnTo>
                  <a:lnTo>
                    <a:pt x="4255" y="4065"/>
                  </a:lnTo>
                  <a:lnTo>
                    <a:pt x="4255" y="4088"/>
                  </a:lnTo>
                  <a:lnTo>
                    <a:pt x="4267" y="4136"/>
                  </a:lnTo>
                  <a:lnTo>
                    <a:pt x="4219" y="4183"/>
                  </a:lnTo>
                  <a:lnTo>
                    <a:pt x="4231" y="4243"/>
                  </a:lnTo>
                  <a:lnTo>
                    <a:pt x="4290" y="4397"/>
                  </a:lnTo>
                  <a:lnTo>
                    <a:pt x="4290" y="4421"/>
                  </a:lnTo>
                  <a:lnTo>
                    <a:pt x="4279" y="4445"/>
                  </a:lnTo>
                  <a:lnTo>
                    <a:pt x="4231" y="4457"/>
                  </a:lnTo>
                  <a:lnTo>
                    <a:pt x="4207" y="4504"/>
                  </a:lnTo>
                  <a:lnTo>
                    <a:pt x="4183" y="4528"/>
                  </a:lnTo>
                  <a:lnTo>
                    <a:pt x="4088" y="4576"/>
                  </a:lnTo>
                  <a:lnTo>
                    <a:pt x="4065" y="4576"/>
                  </a:lnTo>
                  <a:lnTo>
                    <a:pt x="4029" y="4635"/>
                  </a:lnTo>
                  <a:lnTo>
                    <a:pt x="4005" y="4623"/>
                  </a:lnTo>
                  <a:lnTo>
                    <a:pt x="3958" y="4635"/>
                  </a:lnTo>
                  <a:lnTo>
                    <a:pt x="3946" y="4647"/>
                  </a:lnTo>
                  <a:lnTo>
                    <a:pt x="3922" y="4671"/>
                  </a:lnTo>
                  <a:lnTo>
                    <a:pt x="3910" y="4694"/>
                  </a:lnTo>
                  <a:lnTo>
                    <a:pt x="3910" y="4718"/>
                  </a:lnTo>
                  <a:lnTo>
                    <a:pt x="3922" y="4754"/>
                  </a:lnTo>
                  <a:lnTo>
                    <a:pt x="3827" y="4801"/>
                  </a:lnTo>
                  <a:lnTo>
                    <a:pt x="3768" y="4813"/>
                  </a:lnTo>
                  <a:lnTo>
                    <a:pt x="3744" y="4849"/>
                  </a:lnTo>
                  <a:lnTo>
                    <a:pt x="3732" y="4849"/>
                  </a:lnTo>
                  <a:lnTo>
                    <a:pt x="3708" y="4849"/>
                  </a:lnTo>
                  <a:lnTo>
                    <a:pt x="3672" y="4861"/>
                  </a:lnTo>
                  <a:lnTo>
                    <a:pt x="3672" y="4885"/>
                  </a:lnTo>
                  <a:lnTo>
                    <a:pt x="3637" y="4885"/>
                  </a:lnTo>
                  <a:lnTo>
                    <a:pt x="3613" y="4920"/>
                  </a:lnTo>
                  <a:lnTo>
                    <a:pt x="3577" y="4908"/>
                  </a:lnTo>
                  <a:lnTo>
                    <a:pt x="3565" y="4932"/>
                  </a:lnTo>
                  <a:lnTo>
                    <a:pt x="3542" y="4944"/>
                  </a:lnTo>
                  <a:lnTo>
                    <a:pt x="3506" y="4932"/>
                  </a:lnTo>
                  <a:lnTo>
                    <a:pt x="3470" y="4896"/>
                  </a:lnTo>
                  <a:lnTo>
                    <a:pt x="3435" y="4873"/>
                  </a:lnTo>
                  <a:lnTo>
                    <a:pt x="3411" y="4873"/>
                  </a:lnTo>
                  <a:lnTo>
                    <a:pt x="3387" y="4837"/>
                  </a:lnTo>
                  <a:lnTo>
                    <a:pt x="3352" y="4825"/>
                  </a:lnTo>
                  <a:lnTo>
                    <a:pt x="3221" y="4766"/>
                  </a:lnTo>
                  <a:lnTo>
                    <a:pt x="3173" y="4766"/>
                  </a:lnTo>
                  <a:lnTo>
                    <a:pt x="3138" y="4790"/>
                  </a:lnTo>
                  <a:lnTo>
                    <a:pt x="3054" y="4790"/>
                  </a:lnTo>
                  <a:lnTo>
                    <a:pt x="3031" y="4778"/>
                  </a:lnTo>
                  <a:lnTo>
                    <a:pt x="2971" y="4778"/>
                  </a:lnTo>
                  <a:lnTo>
                    <a:pt x="2876" y="4754"/>
                  </a:lnTo>
                  <a:lnTo>
                    <a:pt x="2841" y="4730"/>
                  </a:lnTo>
                  <a:lnTo>
                    <a:pt x="2793" y="4730"/>
                  </a:lnTo>
                  <a:lnTo>
                    <a:pt x="2698" y="4742"/>
                  </a:lnTo>
                  <a:lnTo>
                    <a:pt x="2650" y="4742"/>
                  </a:lnTo>
                  <a:lnTo>
                    <a:pt x="2591" y="4742"/>
                  </a:lnTo>
                  <a:lnTo>
                    <a:pt x="2555" y="4742"/>
                  </a:lnTo>
                  <a:lnTo>
                    <a:pt x="2508" y="4730"/>
                  </a:lnTo>
                  <a:lnTo>
                    <a:pt x="2460" y="4706"/>
                  </a:lnTo>
                  <a:lnTo>
                    <a:pt x="2425" y="4718"/>
                  </a:lnTo>
                  <a:lnTo>
                    <a:pt x="2377" y="4730"/>
                  </a:lnTo>
                  <a:lnTo>
                    <a:pt x="2318" y="4742"/>
                  </a:lnTo>
                  <a:lnTo>
                    <a:pt x="2306" y="4790"/>
                  </a:lnTo>
                  <a:lnTo>
                    <a:pt x="2175" y="4790"/>
                  </a:lnTo>
                  <a:lnTo>
                    <a:pt x="2151" y="4813"/>
                  </a:lnTo>
                  <a:lnTo>
                    <a:pt x="2116" y="4837"/>
                  </a:lnTo>
                  <a:lnTo>
                    <a:pt x="2092" y="4896"/>
                  </a:lnTo>
                  <a:lnTo>
                    <a:pt x="2056" y="4956"/>
                  </a:lnTo>
                  <a:lnTo>
                    <a:pt x="2021" y="4980"/>
                  </a:lnTo>
                  <a:lnTo>
                    <a:pt x="1973" y="4992"/>
                  </a:lnTo>
                  <a:lnTo>
                    <a:pt x="1949" y="5039"/>
                  </a:lnTo>
                  <a:lnTo>
                    <a:pt x="1937" y="5051"/>
                  </a:lnTo>
                  <a:lnTo>
                    <a:pt x="1902" y="5051"/>
                  </a:lnTo>
                  <a:lnTo>
                    <a:pt x="1878" y="5039"/>
                  </a:lnTo>
                  <a:lnTo>
                    <a:pt x="1842" y="4980"/>
                  </a:lnTo>
                  <a:lnTo>
                    <a:pt x="1819" y="4968"/>
                  </a:lnTo>
                  <a:lnTo>
                    <a:pt x="1795" y="4932"/>
                  </a:lnTo>
                  <a:lnTo>
                    <a:pt x="1771" y="4896"/>
                  </a:lnTo>
                  <a:lnTo>
                    <a:pt x="1747" y="4896"/>
                  </a:lnTo>
                  <a:lnTo>
                    <a:pt x="1723" y="4908"/>
                  </a:lnTo>
                  <a:lnTo>
                    <a:pt x="1712" y="4944"/>
                  </a:lnTo>
                  <a:lnTo>
                    <a:pt x="1652" y="4944"/>
                  </a:lnTo>
                  <a:lnTo>
                    <a:pt x="1628" y="4968"/>
                  </a:lnTo>
                  <a:lnTo>
                    <a:pt x="1640" y="4992"/>
                  </a:lnTo>
                  <a:lnTo>
                    <a:pt x="1628" y="5003"/>
                  </a:lnTo>
                  <a:lnTo>
                    <a:pt x="1605" y="5015"/>
                  </a:lnTo>
                  <a:lnTo>
                    <a:pt x="1581" y="5015"/>
                  </a:lnTo>
                  <a:lnTo>
                    <a:pt x="1545" y="5015"/>
                  </a:lnTo>
                  <a:lnTo>
                    <a:pt x="1521" y="5027"/>
                  </a:lnTo>
                  <a:lnTo>
                    <a:pt x="1498" y="5039"/>
                  </a:lnTo>
                  <a:lnTo>
                    <a:pt x="1391" y="5039"/>
                  </a:lnTo>
                  <a:lnTo>
                    <a:pt x="1319" y="5027"/>
                  </a:lnTo>
                  <a:lnTo>
                    <a:pt x="1272" y="5039"/>
                  </a:lnTo>
                  <a:lnTo>
                    <a:pt x="1189" y="5027"/>
                  </a:lnTo>
                  <a:lnTo>
                    <a:pt x="1165" y="5039"/>
                  </a:lnTo>
                  <a:lnTo>
                    <a:pt x="1141" y="5075"/>
                  </a:lnTo>
                  <a:lnTo>
                    <a:pt x="1094" y="5099"/>
                  </a:lnTo>
                  <a:lnTo>
                    <a:pt x="939" y="5087"/>
                  </a:lnTo>
                  <a:lnTo>
                    <a:pt x="903" y="5110"/>
                  </a:lnTo>
                  <a:lnTo>
                    <a:pt x="880" y="5110"/>
                  </a:lnTo>
                  <a:lnTo>
                    <a:pt x="832" y="5134"/>
                  </a:lnTo>
                  <a:lnTo>
                    <a:pt x="797" y="5229"/>
                  </a:lnTo>
                  <a:lnTo>
                    <a:pt x="761" y="5265"/>
                  </a:lnTo>
                  <a:lnTo>
                    <a:pt x="713" y="5289"/>
                  </a:lnTo>
                  <a:lnTo>
                    <a:pt x="701" y="5324"/>
                  </a:lnTo>
                  <a:lnTo>
                    <a:pt x="642" y="5419"/>
                  </a:lnTo>
                  <a:lnTo>
                    <a:pt x="642" y="5491"/>
                  </a:lnTo>
                  <a:lnTo>
                    <a:pt x="618" y="5550"/>
                  </a:lnTo>
                  <a:lnTo>
                    <a:pt x="559" y="5621"/>
                  </a:lnTo>
                  <a:lnTo>
                    <a:pt x="523" y="5633"/>
                  </a:lnTo>
                  <a:lnTo>
                    <a:pt x="464" y="5633"/>
                  </a:lnTo>
                  <a:lnTo>
                    <a:pt x="440" y="5645"/>
                  </a:lnTo>
                  <a:lnTo>
                    <a:pt x="416" y="5681"/>
                  </a:lnTo>
                  <a:lnTo>
                    <a:pt x="381" y="5693"/>
                  </a:lnTo>
                  <a:lnTo>
                    <a:pt x="357" y="5716"/>
                  </a:lnTo>
                  <a:lnTo>
                    <a:pt x="333" y="5764"/>
                  </a:lnTo>
                  <a:lnTo>
                    <a:pt x="262" y="5835"/>
                  </a:lnTo>
                  <a:lnTo>
                    <a:pt x="238" y="5907"/>
                  </a:lnTo>
                  <a:lnTo>
                    <a:pt x="202" y="5942"/>
                  </a:lnTo>
                  <a:lnTo>
                    <a:pt x="202" y="6014"/>
                  </a:lnTo>
                  <a:lnTo>
                    <a:pt x="131" y="6037"/>
                  </a:lnTo>
                  <a:lnTo>
                    <a:pt x="131" y="6037"/>
                  </a:lnTo>
                  <a:lnTo>
                    <a:pt x="131" y="6037"/>
                  </a:lnTo>
                  <a:lnTo>
                    <a:pt x="119" y="6073"/>
                  </a:lnTo>
                  <a:lnTo>
                    <a:pt x="131" y="6109"/>
                  </a:lnTo>
                  <a:lnTo>
                    <a:pt x="131" y="6144"/>
                  </a:lnTo>
                  <a:lnTo>
                    <a:pt x="131" y="6156"/>
                  </a:lnTo>
                  <a:lnTo>
                    <a:pt x="84" y="6180"/>
                  </a:lnTo>
                  <a:lnTo>
                    <a:pt x="36" y="6251"/>
                  </a:lnTo>
                  <a:lnTo>
                    <a:pt x="12" y="6299"/>
                  </a:lnTo>
                  <a:lnTo>
                    <a:pt x="0" y="6358"/>
                  </a:lnTo>
                  <a:lnTo>
                    <a:pt x="24" y="6394"/>
                  </a:lnTo>
                  <a:lnTo>
                    <a:pt x="36" y="6465"/>
                  </a:lnTo>
                  <a:lnTo>
                    <a:pt x="36" y="6489"/>
                  </a:lnTo>
                  <a:lnTo>
                    <a:pt x="36" y="6632"/>
                  </a:lnTo>
                  <a:lnTo>
                    <a:pt x="12" y="6774"/>
                  </a:lnTo>
                  <a:lnTo>
                    <a:pt x="12" y="6786"/>
                  </a:lnTo>
                  <a:lnTo>
                    <a:pt x="12" y="678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1920" tIns="35960" rIns="71920" bIns="3596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</a:pPr>
              <a:endParaRPr lang="en-US" sz="1416" kern="0" dirty="0">
                <a:solidFill>
                  <a:srgbClr val="292929"/>
                </a:solidFill>
              </a:endParaRPr>
            </a:p>
          </p:txBody>
        </p:sp>
        <p:grpSp>
          <p:nvGrpSpPr>
            <p:cNvPr id="30" name="Group 684"/>
            <p:cNvGrpSpPr/>
            <p:nvPr/>
          </p:nvGrpSpPr>
          <p:grpSpPr>
            <a:xfrm>
              <a:off x="4689475" y="19173825"/>
              <a:ext cx="11244263" cy="7959725"/>
              <a:chOff x="4689475" y="19173825"/>
              <a:chExt cx="11244263" cy="7959725"/>
            </a:xfrm>
            <a:grpFill/>
          </p:grpSpPr>
          <p:sp>
            <p:nvSpPr>
              <p:cNvPr id="118" name="Freeform 436"/>
              <p:cNvSpPr>
                <a:spLocks/>
              </p:cNvSpPr>
              <p:nvPr/>
            </p:nvSpPr>
            <p:spPr bwMode="auto">
              <a:xfrm>
                <a:off x="4689475" y="19173825"/>
                <a:ext cx="11244263" cy="7959725"/>
              </a:xfrm>
              <a:custGeom>
                <a:avLst/>
                <a:gdLst/>
                <a:ahLst/>
                <a:cxnLst>
                  <a:cxn ang="0">
                    <a:pos x="6857" y="3565"/>
                  </a:cxn>
                  <a:cxn ang="0">
                    <a:pos x="6869" y="3446"/>
                  </a:cxn>
                  <a:cxn ang="0">
                    <a:pos x="6738" y="3386"/>
                  </a:cxn>
                  <a:cxn ang="0">
                    <a:pos x="6667" y="3434"/>
                  </a:cxn>
                  <a:cxn ang="0">
                    <a:pos x="6619" y="3612"/>
                  </a:cxn>
                  <a:cxn ang="0">
                    <a:pos x="6394" y="3660"/>
                  </a:cxn>
                  <a:cxn ang="0">
                    <a:pos x="6714" y="3767"/>
                  </a:cxn>
                  <a:cxn ang="0">
                    <a:pos x="6477" y="4064"/>
                  </a:cxn>
                  <a:cxn ang="0">
                    <a:pos x="6465" y="4099"/>
                  </a:cxn>
                  <a:cxn ang="0">
                    <a:pos x="6168" y="4183"/>
                  </a:cxn>
                  <a:cxn ang="0">
                    <a:pos x="5692" y="4325"/>
                  </a:cxn>
                  <a:cxn ang="0">
                    <a:pos x="5372" y="4480"/>
                  </a:cxn>
                  <a:cxn ang="0">
                    <a:pos x="4920" y="4218"/>
                  </a:cxn>
                  <a:cxn ang="0">
                    <a:pos x="4706" y="4254"/>
                  </a:cxn>
                  <a:cxn ang="0">
                    <a:pos x="4516" y="4242"/>
                  </a:cxn>
                  <a:cxn ang="0">
                    <a:pos x="4314" y="4183"/>
                  </a:cxn>
                  <a:cxn ang="0">
                    <a:pos x="4064" y="4444"/>
                  </a:cxn>
                  <a:cxn ang="0">
                    <a:pos x="3910" y="4492"/>
                  </a:cxn>
                  <a:cxn ang="0">
                    <a:pos x="3732" y="4515"/>
                  </a:cxn>
                  <a:cxn ang="0">
                    <a:pos x="3530" y="4789"/>
                  </a:cxn>
                  <a:cxn ang="0">
                    <a:pos x="3423" y="5014"/>
                  </a:cxn>
                  <a:cxn ang="0">
                    <a:pos x="2971" y="4896"/>
                  </a:cxn>
                  <a:cxn ang="0">
                    <a:pos x="2365" y="4646"/>
                  </a:cxn>
                  <a:cxn ang="0">
                    <a:pos x="1628" y="4563"/>
                  </a:cxn>
                  <a:cxn ang="0">
                    <a:pos x="1189" y="4456"/>
                  </a:cxn>
                  <a:cxn ang="0">
                    <a:pos x="868" y="4099"/>
                  </a:cxn>
                  <a:cxn ang="0">
                    <a:pos x="796" y="3826"/>
                  </a:cxn>
                  <a:cxn ang="0">
                    <a:pos x="630" y="3600"/>
                  </a:cxn>
                  <a:cxn ang="0">
                    <a:pos x="511" y="3517"/>
                  </a:cxn>
                  <a:cxn ang="0">
                    <a:pos x="416" y="3624"/>
                  </a:cxn>
                  <a:cxn ang="0">
                    <a:pos x="190" y="3648"/>
                  </a:cxn>
                  <a:cxn ang="0">
                    <a:pos x="0" y="3624"/>
                  </a:cxn>
                  <a:cxn ang="0">
                    <a:pos x="190" y="3113"/>
                  </a:cxn>
                  <a:cxn ang="0">
                    <a:pos x="309" y="2448"/>
                  </a:cxn>
                  <a:cxn ang="0">
                    <a:pos x="333" y="2186"/>
                  </a:cxn>
                  <a:cxn ang="0">
                    <a:pos x="273" y="1806"/>
                  </a:cxn>
                  <a:cxn ang="0">
                    <a:pos x="499" y="1461"/>
                  </a:cxn>
                  <a:cxn ang="0">
                    <a:pos x="737" y="950"/>
                  </a:cxn>
                  <a:cxn ang="0">
                    <a:pos x="1022" y="534"/>
                  </a:cxn>
                  <a:cxn ang="0">
                    <a:pos x="1402" y="225"/>
                  </a:cxn>
                  <a:cxn ang="0">
                    <a:pos x="1664" y="83"/>
                  </a:cxn>
                  <a:cxn ang="0">
                    <a:pos x="2175" y="47"/>
                  </a:cxn>
                  <a:cxn ang="0">
                    <a:pos x="2460" y="130"/>
                  </a:cxn>
                  <a:cxn ang="0">
                    <a:pos x="2638" y="118"/>
                  </a:cxn>
                  <a:cxn ang="0">
                    <a:pos x="2995" y="106"/>
                  </a:cxn>
                  <a:cxn ang="0">
                    <a:pos x="3435" y="142"/>
                  </a:cxn>
                  <a:cxn ang="0">
                    <a:pos x="3744" y="261"/>
                  </a:cxn>
                  <a:cxn ang="0">
                    <a:pos x="4064" y="344"/>
                  </a:cxn>
                  <a:cxn ang="0">
                    <a:pos x="4302" y="451"/>
                  </a:cxn>
                  <a:cxn ang="0">
                    <a:pos x="4825" y="522"/>
                  </a:cxn>
                  <a:cxn ang="0">
                    <a:pos x="5158" y="653"/>
                  </a:cxn>
                  <a:cxn ang="0">
                    <a:pos x="5443" y="1033"/>
                  </a:cxn>
                  <a:cxn ang="0">
                    <a:pos x="5467" y="1331"/>
                  </a:cxn>
                  <a:cxn ang="0">
                    <a:pos x="5467" y="1592"/>
                  </a:cxn>
                  <a:cxn ang="0">
                    <a:pos x="5716" y="1996"/>
                  </a:cxn>
                  <a:cxn ang="0">
                    <a:pos x="5859" y="2269"/>
                  </a:cxn>
                  <a:cxn ang="0">
                    <a:pos x="5776" y="2662"/>
                  </a:cxn>
                  <a:cxn ang="0">
                    <a:pos x="6382" y="2662"/>
                  </a:cxn>
                  <a:cxn ang="0">
                    <a:pos x="6524" y="2864"/>
                  </a:cxn>
                  <a:cxn ang="0">
                    <a:pos x="6584" y="3173"/>
                  </a:cxn>
                  <a:cxn ang="0">
                    <a:pos x="6821" y="3137"/>
                  </a:cxn>
                  <a:cxn ang="0">
                    <a:pos x="6976" y="3339"/>
                  </a:cxn>
                </a:cxnLst>
                <a:rect l="0" t="0" r="r" b="b"/>
                <a:pathLst>
                  <a:path w="7083" h="5014">
                    <a:moveTo>
                      <a:pt x="7047" y="3422"/>
                    </a:moveTo>
                    <a:lnTo>
                      <a:pt x="7000" y="3481"/>
                    </a:lnTo>
                    <a:lnTo>
                      <a:pt x="6952" y="3517"/>
                    </a:lnTo>
                    <a:lnTo>
                      <a:pt x="6881" y="3612"/>
                    </a:lnTo>
                    <a:lnTo>
                      <a:pt x="6869" y="3624"/>
                    </a:lnTo>
                    <a:lnTo>
                      <a:pt x="6857" y="3612"/>
                    </a:lnTo>
                    <a:lnTo>
                      <a:pt x="6857" y="3565"/>
                    </a:lnTo>
                    <a:lnTo>
                      <a:pt x="6881" y="3505"/>
                    </a:lnTo>
                    <a:lnTo>
                      <a:pt x="6893" y="3470"/>
                    </a:lnTo>
                    <a:lnTo>
                      <a:pt x="6940" y="3446"/>
                    </a:lnTo>
                    <a:lnTo>
                      <a:pt x="6952" y="3422"/>
                    </a:lnTo>
                    <a:lnTo>
                      <a:pt x="6952" y="3398"/>
                    </a:lnTo>
                    <a:lnTo>
                      <a:pt x="6928" y="3398"/>
                    </a:lnTo>
                    <a:lnTo>
                      <a:pt x="6869" y="3446"/>
                    </a:lnTo>
                    <a:lnTo>
                      <a:pt x="6821" y="3446"/>
                    </a:lnTo>
                    <a:lnTo>
                      <a:pt x="6798" y="3458"/>
                    </a:lnTo>
                    <a:lnTo>
                      <a:pt x="6786" y="3458"/>
                    </a:lnTo>
                    <a:lnTo>
                      <a:pt x="6774" y="3434"/>
                    </a:lnTo>
                    <a:lnTo>
                      <a:pt x="6774" y="3351"/>
                    </a:lnTo>
                    <a:lnTo>
                      <a:pt x="6762" y="3351"/>
                    </a:lnTo>
                    <a:lnTo>
                      <a:pt x="6738" y="3386"/>
                    </a:lnTo>
                    <a:lnTo>
                      <a:pt x="6726" y="3398"/>
                    </a:lnTo>
                    <a:lnTo>
                      <a:pt x="6714" y="3398"/>
                    </a:lnTo>
                    <a:lnTo>
                      <a:pt x="6691" y="3363"/>
                    </a:lnTo>
                    <a:lnTo>
                      <a:pt x="6667" y="3351"/>
                    </a:lnTo>
                    <a:lnTo>
                      <a:pt x="6655" y="3363"/>
                    </a:lnTo>
                    <a:lnTo>
                      <a:pt x="6655" y="3386"/>
                    </a:lnTo>
                    <a:lnTo>
                      <a:pt x="6667" y="3434"/>
                    </a:lnTo>
                    <a:lnTo>
                      <a:pt x="6643" y="3434"/>
                    </a:lnTo>
                    <a:lnTo>
                      <a:pt x="6631" y="3458"/>
                    </a:lnTo>
                    <a:lnTo>
                      <a:pt x="6679" y="3541"/>
                    </a:lnTo>
                    <a:lnTo>
                      <a:pt x="6679" y="3565"/>
                    </a:lnTo>
                    <a:lnTo>
                      <a:pt x="6667" y="3577"/>
                    </a:lnTo>
                    <a:lnTo>
                      <a:pt x="6643" y="3588"/>
                    </a:lnTo>
                    <a:lnTo>
                      <a:pt x="6619" y="3612"/>
                    </a:lnTo>
                    <a:lnTo>
                      <a:pt x="6584" y="3612"/>
                    </a:lnTo>
                    <a:lnTo>
                      <a:pt x="6417" y="3577"/>
                    </a:lnTo>
                    <a:lnTo>
                      <a:pt x="6370" y="3541"/>
                    </a:lnTo>
                    <a:lnTo>
                      <a:pt x="6346" y="3529"/>
                    </a:lnTo>
                    <a:lnTo>
                      <a:pt x="6346" y="3553"/>
                    </a:lnTo>
                    <a:lnTo>
                      <a:pt x="6370" y="3588"/>
                    </a:lnTo>
                    <a:lnTo>
                      <a:pt x="6394" y="3660"/>
                    </a:lnTo>
                    <a:lnTo>
                      <a:pt x="6441" y="3684"/>
                    </a:lnTo>
                    <a:lnTo>
                      <a:pt x="6489" y="3672"/>
                    </a:lnTo>
                    <a:lnTo>
                      <a:pt x="6524" y="3672"/>
                    </a:lnTo>
                    <a:lnTo>
                      <a:pt x="6608" y="3707"/>
                    </a:lnTo>
                    <a:lnTo>
                      <a:pt x="6679" y="3719"/>
                    </a:lnTo>
                    <a:lnTo>
                      <a:pt x="6703" y="3743"/>
                    </a:lnTo>
                    <a:lnTo>
                      <a:pt x="6714" y="3767"/>
                    </a:lnTo>
                    <a:lnTo>
                      <a:pt x="6691" y="3790"/>
                    </a:lnTo>
                    <a:lnTo>
                      <a:pt x="6631" y="3814"/>
                    </a:lnTo>
                    <a:lnTo>
                      <a:pt x="6572" y="3886"/>
                    </a:lnTo>
                    <a:lnTo>
                      <a:pt x="6536" y="3969"/>
                    </a:lnTo>
                    <a:lnTo>
                      <a:pt x="6512" y="4052"/>
                    </a:lnTo>
                    <a:lnTo>
                      <a:pt x="6501" y="4064"/>
                    </a:lnTo>
                    <a:lnTo>
                      <a:pt x="6477" y="4064"/>
                    </a:lnTo>
                    <a:lnTo>
                      <a:pt x="6417" y="4052"/>
                    </a:lnTo>
                    <a:lnTo>
                      <a:pt x="6358" y="4064"/>
                    </a:lnTo>
                    <a:lnTo>
                      <a:pt x="6334" y="4076"/>
                    </a:lnTo>
                    <a:lnTo>
                      <a:pt x="6322" y="4088"/>
                    </a:lnTo>
                    <a:lnTo>
                      <a:pt x="6322" y="4099"/>
                    </a:lnTo>
                    <a:lnTo>
                      <a:pt x="6406" y="4123"/>
                    </a:lnTo>
                    <a:lnTo>
                      <a:pt x="6465" y="4099"/>
                    </a:lnTo>
                    <a:lnTo>
                      <a:pt x="6477" y="4099"/>
                    </a:lnTo>
                    <a:lnTo>
                      <a:pt x="6477" y="4135"/>
                    </a:lnTo>
                    <a:lnTo>
                      <a:pt x="6441" y="4218"/>
                    </a:lnTo>
                    <a:lnTo>
                      <a:pt x="6394" y="4206"/>
                    </a:lnTo>
                    <a:lnTo>
                      <a:pt x="6358" y="4206"/>
                    </a:lnTo>
                    <a:lnTo>
                      <a:pt x="6275" y="4195"/>
                    </a:lnTo>
                    <a:lnTo>
                      <a:pt x="6168" y="4183"/>
                    </a:lnTo>
                    <a:lnTo>
                      <a:pt x="6037" y="4195"/>
                    </a:lnTo>
                    <a:lnTo>
                      <a:pt x="6013" y="4242"/>
                    </a:lnTo>
                    <a:lnTo>
                      <a:pt x="5930" y="4242"/>
                    </a:lnTo>
                    <a:lnTo>
                      <a:pt x="5835" y="4230"/>
                    </a:lnTo>
                    <a:lnTo>
                      <a:pt x="5776" y="4242"/>
                    </a:lnTo>
                    <a:lnTo>
                      <a:pt x="5728" y="4278"/>
                    </a:lnTo>
                    <a:lnTo>
                      <a:pt x="5692" y="4325"/>
                    </a:lnTo>
                    <a:lnTo>
                      <a:pt x="5681" y="4349"/>
                    </a:lnTo>
                    <a:lnTo>
                      <a:pt x="5633" y="4361"/>
                    </a:lnTo>
                    <a:lnTo>
                      <a:pt x="5586" y="4397"/>
                    </a:lnTo>
                    <a:lnTo>
                      <a:pt x="5514" y="4408"/>
                    </a:lnTo>
                    <a:lnTo>
                      <a:pt x="5467" y="4456"/>
                    </a:lnTo>
                    <a:lnTo>
                      <a:pt x="5443" y="4468"/>
                    </a:lnTo>
                    <a:lnTo>
                      <a:pt x="5372" y="4480"/>
                    </a:lnTo>
                    <a:lnTo>
                      <a:pt x="5336" y="4468"/>
                    </a:lnTo>
                    <a:lnTo>
                      <a:pt x="5098" y="4266"/>
                    </a:lnTo>
                    <a:lnTo>
                      <a:pt x="5027" y="4218"/>
                    </a:lnTo>
                    <a:lnTo>
                      <a:pt x="5015" y="4218"/>
                    </a:lnTo>
                    <a:lnTo>
                      <a:pt x="4979" y="4230"/>
                    </a:lnTo>
                    <a:lnTo>
                      <a:pt x="4944" y="4206"/>
                    </a:lnTo>
                    <a:lnTo>
                      <a:pt x="4920" y="4218"/>
                    </a:lnTo>
                    <a:lnTo>
                      <a:pt x="4884" y="4206"/>
                    </a:lnTo>
                    <a:lnTo>
                      <a:pt x="4849" y="4230"/>
                    </a:lnTo>
                    <a:lnTo>
                      <a:pt x="4813" y="4242"/>
                    </a:lnTo>
                    <a:lnTo>
                      <a:pt x="4766" y="4218"/>
                    </a:lnTo>
                    <a:lnTo>
                      <a:pt x="4754" y="4218"/>
                    </a:lnTo>
                    <a:lnTo>
                      <a:pt x="4718" y="4266"/>
                    </a:lnTo>
                    <a:lnTo>
                      <a:pt x="4706" y="4254"/>
                    </a:lnTo>
                    <a:lnTo>
                      <a:pt x="4694" y="4218"/>
                    </a:lnTo>
                    <a:lnTo>
                      <a:pt x="4682" y="4218"/>
                    </a:lnTo>
                    <a:lnTo>
                      <a:pt x="4670" y="4230"/>
                    </a:lnTo>
                    <a:lnTo>
                      <a:pt x="4635" y="4218"/>
                    </a:lnTo>
                    <a:lnTo>
                      <a:pt x="4587" y="4290"/>
                    </a:lnTo>
                    <a:lnTo>
                      <a:pt x="4540" y="4290"/>
                    </a:lnTo>
                    <a:lnTo>
                      <a:pt x="4516" y="4242"/>
                    </a:lnTo>
                    <a:lnTo>
                      <a:pt x="4480" y="4218"/>
                    </a:lnTo>
                    <a:lnTo>
                      <a:pt x="4457" y="4218"/>
                    </a:lnTo>
                    <a:lnTo>
                      <a:pt x="4421" y="4195"/>
                    </a:lnTo>
                    <a:lnTo>
                      <a:pt x="4385" y="4195"/>
                    </a:lnTo>
                    <a:lnTo>
                      <a:pt x="4361" y="4206"/>
                    </a:lnTo>
                    <a:lnTo>
                      <a:pt x="4350" y="4195"/>
                    </a:lnTo>
                    <a:lnTo>
                      <a:pt x="4314" y="4183"/>
                    </a:lnTo>
                    <a:lnTo>
                      <a:pt x="4290" y="4195"/>
                    </a:lnTo>
                    <a:lnTo>
                      <a:pt x="4290" y="4230"/>
                    </a:lnTo>
                    <a:lnTo>
                      <a:pt x="4255" y="4242"/>
                    </a:lnTo>
                    <a:lnTo>
                      <a:pt x="4219" y="4290"/>
                    </a:lnTo>
                    <a:lnTo>
                      <a:pt x="4159" y="4385"/>
                    </a:lnTo>
                    <a:lnTo>
                      <a:pt x="4136" y="4444"/>
                    </a:lnTo>
                    <a:lnTo>
                      <a:pt x="4064" y="4444"/>
                    </a:lnTo>
                    <a:lnTo>
                      <a:pt x="4041" y="4468"/>
                    </a:lnTo>
                    <a:lnTo>
                      <a:pt x="4017" y="4456"/>
                    </a:lnTo>
                    <a:lnTo>
                      <a:pt x="3969" y="4492"/>
                    </a:lnTo>
                    <a:lnTo>
                      <a:pt x="3957" y="4480"/>
                    </a:lnTo>
                    <a:lnTo>
                      <a:pt x="3946" y="4456"/>
                    </a:lnTo>
                    <a:lnTo>
                      <a:pt x="3934" y="4456"/>
                    </a:lnTo>
                    <a:lnTo>
                      <a:pt x="3910" y="4492"/>
                    </a:lnTo>
                    <a:lnTo>
                      <a:pt x="3898" y="4492"/>
                    </a:lnTo>
                    <a:lnTo>
                      <a:pt x="3839" y="4432"/>
                    </a:lnTo>
                    <a:lnTo>
                      <a:pt x="3779" y="4432"/>
                    </a:lnTo>
                    <a:lnTo>
                      <a:pt x="3755" y="4503"/>
                    </a:lnTo>
                    <a:lnTo>
                      <a:pt x="3755" y="4515"/>
                    </a:lnTo>
                    <a:lnTo>
                      <a:pt x="3744" y="4515"/>
                    </a:lnTo>
                    <a:lnTo>
                      <a:pt x="3732" y="4515"/>
                    </a:lnTo>
                    <a:lnTo>
                      <a:pt x="3660" y="4503"/>
                    </a:lnTo>
                    <a:lnTo>
                      <a:pt x="3625" y="4492"/>
                    </a:lnTo>
                    <a:lnTo>
                      <a:pt x="3601" y="4515"/>
                    </a:lnTo>
                    <a:lnTo>
                      <a:pt x="3553" y="4575"/>
                    </a:lnTo>
                    <a:lnTo>
                      <a:pt x="3530" y="4717"/>
                    </a:lnTo>
                    <a:lnTo>
                      <a:pt x="3542" y="4753"/>
                    </a:lnTo>
                    <a:lnTo>
                      <a:pt x="3530" y="4789"/>
                    </a:lnTo>
                    <a:lnTo>
                      <a:pt x="3542" y="4812"/>
                    </a:lnTo>
                    <a:lnTo>
                      <a:pt x="3601" y="4812"/>
                    </a:lnTo>
                    <a:lnTo>
                      <a:pt x="3637" y="4860"/>
                    </a:lnTo>
                    <a:lnTo>
                      <a:pt x="3589" y="4931"/>
                    </a:lnTo>
                    <a:lnTo>
                      <a:pt x="3553" y="4943"/>
                    </a:lnTo>
                    <a:lnTo>
                      <a:pt x="3470" y="4955"/>
                    </a:lnTo>
                    <a:lnTo>
                      <a:pt x="3423" y="5014"/>
                    </a:lnTo>
                    <a:lnTo>
                      <a:pt x="3387" y="4991"/>
                    </a:lnTo>
                    <a:lnTo>
                      <a:pt x="3316" y="4908"/>
                    </a:lnTo>
                    <a:lnTo>
                      <a:pt x="3304" y="4908"/>
                    </a:lnTo>
                    <a:lnTo>
                      <a:pt x="3268" y="4884"/>
                    </a:lnTo>
                    <a:lnTo>
                      <a:pt x="3149" y="4860"/>
                    </a:lnTo>
                    <a:lnTo>
                      <a:pt x="3090" y="4860"/>
                    </a:lnTo>
                    <a:lnTo>
                      <a:pt x="2971" y="4896"/>
                    </a:lnTo>
                    <a:lnTo>
                      <a:pt x="2876" y="4872"/>
                    </a:lnTo>
                    <a:lnTo>
                      <a:pt x="2840" y="4812"/>
                    </a:lnTo>
                    <a:lnTo>
                      <a:pt x="2805" y="4789"/>
                    </a:lnTo>
                    <a:lnTo>
                      <a:pt x="2722" y="4789"/>
                    </a:lnTo>
                    <a:lnTo>
                      <a:pt x="2579" y="4717"/>
                    </a:lnTo>
                    <a:lnTo>
                      <a:pt x="2531" y="4706"/>
                    </a:lnTo>
                    <a:lnTo>
                      <a:pt x="2365" y="4646"/>
                    </a:lnTo>
                    <a:lnTo>
                      <a:pt x="2199" y="4622"/>
                    </a:lnTo>
                    <a:lnTo>
                      <a:pt x="2104" y="4599"/>
                    </a:lnTo>
                    <a:lnTo>
                      <a:pt x="2044" y="4551"/>
                    </a:lnTo>
                    <a:lnTo>
                      <a:pt x="2008" y="4539"/>
                    </a:lnTo>
                    <a:lnTo>
                      <a:pt x="1913" y="4563"/>
                    </a:lnTo>
                    <a:lnTo>
                      <a:pt x="1771" y="4539"/>
                    </a:lnTo>
                    <a:lnTo>
                      <a:pt x="1628" y="4563"/>
                    </a:lnTo>
                    <a:lnTo>
                      <a:pt x="1569" y="4551"/>
                    </a:lnTo>
                    <a:lnTo>
                      <a:pt x="1521" y="4527"/>
                    </a:lnTo>
                    <a:lnTo>
                      <a:pt x="1450" y="4492"/>
                    </a:lnTo>
                    <a:lnTo>
                      <a:pt x="1402" y="4397"/>
                    </a:lnTo>
                    <a:lnTo>
                      <a:pt x="1331" y="4397"/>
                    </a:lnTo>
                    <a:lnTo>
                      <a:pt x="1236" y="4444"/>
                    </a:lnTo>
                    <a:lnTo>
                      <a:pt x="1189" y="4456"/>
                    </a:lnTo>
                    <a:lnTo>
                      <a:pt x="1093" y="4444"/>
                    </a:lnTo>
                    <a:lnTo>
                      <a:pt x="975" y="4397"/>
                    </a:lnTo>
                    <a:lnTo>
                      <a:pt x="939" y="4290"/>
                    </a:lnTo>
                    <a:lnTo>
                      <a:pt x="915" y="4278"/>
                    </a:lnTo>
                    <a:lnTo>
                      <a:pt x="891" y="4230"/>
                    </a:lnTo>
                    <a:lnTo>
                      <a:pt x="891" y="4135"/>
                    </a:lnTo>
                    <a:lnTo>
                      <a:pt x="868" y="4099"/>
                    </a:lnTo>
                    <a:lnTo>
                      <a:pt x="820" y="4076"/>
                    </a:lnTo>
                    <a:lnTo>
                      <a:pt x="808" y="4052"/>
                    </a:lnTo>
                    <a:lnTo>
                      <a:pt x="808" y="4016"/>
                    </a:lnTo>
                    <a:lnTo>
                      <a:pt x="820" y="3969"/>
                    </a:lnTo>
                    <a:lnTo>
                      <a:pt x="796" y="3921"/>
                    </a:lnTo>
                    <a:lnTo>
                      <a:pt x="808" y="3838"/>
                    </a:lnTo>
                    <a:lnTo>
                      <a:pt x="796" y="3826"/>
                    </a:lnTo>
                    <a:lnTo>
                      <a:pt x="773" y="3802"/>
                    </a:lnTo>
                    <a:lnTo>
                      <a:pt x="761" y="3790"/>
                    </a:lnTo>
                    <a:lnTo>
                      <a:pt x="773" y="3743"/>
                    </a:lnTo>
                    <a:lnTo>
                      <a:pt x="761" y="3684"/>
                    </a:lnTo>
                    <a:lnTo>
                      <a:pt x="749" y="3672"/>
                    </a:lnTo>
                    <a:lnTo>
                      <a:pt x="701" y="3684"/>
                    </a:lnTo>
                    <a:lnTo>
                      <a:pt x="630" y="3600"/>
                    </a:lnTo>
                    <a:lnTo>
                      <a:pt x="571" y="3600"/>
                    </a:lnTo>
                    <a:lnTo>
                      <a:pt x="523" y="3612"/>
                    </a:lnTo>
                    <a:lnTo>
                      <a:pt x="499" y="3612"/>
                    </a:lnTo>
                    <a:lnTo>
                      <a:pt x="475" y="3588"/>
                    </a:lnTo>
                    <a:lnTo>
                      <a:pt x="475" y="3577"/>
                    </a:lnTo>
                    <a:lnTo>
                      <a:pt x="511" y="3529"/>
                    </a:lnTo>
                    <a:lnTo>
                      <a:pt x="511" y="3517"/>
                    </a:lnTo>
                    <a:lnTo>
                      <a:pt x="487" y="3517"/>
                    </a:lnTo>
                    <a:lnTo>
                      <a:pt x="440" y="3553"/>
                    </a:lnTo>
                    <a:lnTo>
                      <a:pt x="404" y="3553"/>
                    </a:lnTo>
                    <a:lnTo>
                      <a:pt x="404" y="3577"/>
                    </a:lnTo>
                    <a:lnTo>
                      <a:pt x="452" y="3600"/>
                    </a:lnTo>
                    <a:lnTo>
                      <a:pt x="440" y="3624"/>
                    </a:lnTo>
                    <a:lnTo>
                      <a:pt x="416" y="3624"/>
                    </a:lnTo>
                    <a:lnTo>
                      <a:pt x="380" y="3600"/>
                    </a:lnTo>
                    <a:lnTo>
                      <a:pt x="333" y="3612"/>
                    </a:lnTo>
                    <a:lnTo>
                      <a:pt x="321" y="3588"/>
                    </a:lnTo>
                    <a:lnTo>
                      <a:pt x="297" y="3588"/>
                    </a:lnTo>
                    <a:lnTo>
                      <a:pt x="262" y="3600"/>
                    </a:lnTo>
                    <a:lnTo>
                      <a:pt x="226" y="3648"/>
                    </a:lnTo>
                    <a:lnTo>
                      <a:pt x="190" y="3648"/>
                    </a:lnTo>
                    <a:lnTo>
                      <a:pt x="155" y="3672"/>
                    </a:lnTo>
                    <a:lnTo>
                      <a:pt x="143" y="3684"/>
                    </a:lnTo>
                    <a:lnTo>
                      <a:pt x="95" y="3695"/>
                    </a:lnTo>
                    <a:lnTo>
                      <a:pt x="83" y="3672"/>
                    </a:lnTo>
                    <a:lnTo>
                      <a:pt x="60" y="3636"/>
                    </a:lnTo>
                    <a:lnTo>
                      <a:pt x="24" y="3624"/>
                    </a:lnTo>
                    <a:lnTo>
                      <a:pt x="0" y="3624"/>
                    </a:lnTo>
                    <a:lnTo>
                      <a:pt x="12" y="3600"/>
                    </a:lnTo>
                    <a:lnTo>
                      <a:pt x="12" y="3505"/>
                    </a:lnTo>
                    <a:lnTo>
                      <a:pt x="36" y="3446"/>
                    </a:lnTo>
                    <a:lnTo>
                      <a:pt x="143" y="3279"/>
                    </a:lnTo>
                    <a:lnTo>
                      <a:pt x="167" y="3196"/>
                    </a:lnTo>
                    <a:lnTo>
                      <a:pt x="190" y="3173"/>
                    </a:lnTo>
                    <a:lnTo>
                      <a:pt x="190" y="3113"/>
                    </a:lnTo>
                    <a:lnTo>
                      <a:pt x="167" y="3030"/>
                    </a:lnTo>
                    <a:lnTo>
                      <a:pt x="178" y="2959"/>
                    </a:lnTo>
                    <a:lnTo>
                      <a:pt x="178" y="2840"/>
                    </a:lnTo>
                    <a:lnTo>
                      <a:pt x="226" y="2733"/>
                    </a:lnTo>
                    <a:lnTo>
                      <a:pt x="297" y="2519"/>
                    </a:lnTo>
                    <a:lnTo>
                      <a:pt x="285" y="2483"/>
                    </a:lnTo>
                    <a:lnTo>
                      <a:pt x="309" y="2448"/>
                    </a:lnTo>
                    <a:lnTo>
                      <a:pt x="309" y="2412"/>
                    </a:lnTo>
                    <a:lnTo>
                      <a:pt x="273" y="2353"/>
                    </a:lnTo>
                    <a:lnTo>
                      <a:pt x="273" y="2341"/>
                    </a:lnTo>
                    <a:lnTo>
                      <a:pt x="285" y="2317"/>
                    </a:lnTo>
                    <a:lnTo>
                      <a:pt x="297" y="2281"/>
                    </a:lnTo>
                    <a:lnTo>
                      <a:pt x="297" y="2281"/>
                    </a:lnTo>
                    <a:lnTo>
                      <a:pt x="333" y="2186"/>
                    </a:lnTo>
                    <a:lnTo>
                      <a:pt x="345" y="2127"/>
                    </a:lnTo>
                    <a:lnTo>
                      <a:pt x="297" y="2032"/>
                    </a:lnTo>
                    <a:lnTo>
                      <a:pt x="273" y="1925"/>
                    </a:lnTo>
                    <a:lnTo>
                      <a:pt x="273" y="1901"/>
                    </a:lnTo>
                    <a:lnTo>
                      <a:pt x="285" y="1877"/>
                    </a:lnTo>
                    <a:lnTo>
                      <a:pt x="297" y="1842"/>
                    </a:lnTo>
                    <a:lnTo>
                      <a:pt x="273" y="1806"/>
                    </a:lnTo>
                    <a:lnTo>
                      <a:pt x="297" y="1782"/>
                    </a:lnTo>
                    <a:lnTo>
                      <a:pt x="297" y="1782"/>
                    </a:lnTo>
                    <a:lnTo>
                      <a:pt x="345" y="1770"/>
                    </a:lnTo>
                    <a:lnTo>
                      <a:pt x="404" y="1687"/>
                    </a:lnTo>
                    <a:lnTo>
                      <a:pt x="475" y="1604"/>
                    </a:lnTo>
                    <a:lnTo>
                      <a:pt x="487" y="1556"/>
                    </a:lnTo>
                    <a:lnTo>
                      <a:pt x="499" y="1461"/>
                    </a:lnTo>
                    <a:lnTo>
                      <a:pt x="535" y="1390"/>
                    </a:lnTo>
                    <a:lnTo>
                      <a:pt x="535" y="1295"/>
                    </a:lnTo>
                    <a:lnTo>
                      <a:pt x="571" y="1224"/>
                    </a:lnTo>
                    <a:lnTo>
                      <a:pt x="594" y="1152"/>
                    </a:lnTo>
                    <a:lnTo>
                      <a:pt x="630" y="1093"/>
                    </a:lnTo>
                    <a:lnTo>
                      <a:pt x="654" y="1057"/>
                    </a:lnTo>
                    <a:lnTo>
                      <a:pt x="737" y="950"/>
                    </a:lnTo>
                    <a:lnTo>
                      <a:pt x="773" y="926"/>
                    </a:lnTo>
                    <a:lnTo>
                      <a:pt x="796" y="915"/>
                    </a:lnTo>
                    <a:lnTo>
                      <a:pt x="832" y="903"/>
                    </a:lnTo>
                    <a:lnTo>
                      <a:pt x="880" y="867"/>
                    </a:lnTo>
                    <a:lnTo>
                      <a:pt x="927" y="820"/>
                    </a:lnTo>
                    <a:lnTo>
                      <a:pt x="986" y="713"/>
                    </a:lnTo>
                    <a:lnTo>
                      <a:pt x="1022" y="534"/>
                    </a:lnTo>
                    <a:lnTo>
                      <a:pt x="1046" y="499"/>
                    </a:lnTo>
                    <a:lnTo>
                      <a:pt x="1058" y="427"/>
                    </a:lnTo>
                    <a:lnTo>
                      <a:pt x="1082" y="404"/>
                    </a:lnTo>
                    <a:lnTo>
                      <a:pt x="1117" y="380"/>
                    </a:lnTo>
                    <a:lnTo>
                      <a:pt x="1165" y="332"/>
                    </a:lnTo>
                    <a:lnTo>
                      <a:pt x="1331" y="249"/>
                    </a:lnTo>
                    <a:lnTo>
                      <a:pt x="1402" y="225"/>
                    </a:lnTo>
                    <a:lnTo>
                      <a:pt x="1414" y="213"/>
                    </a:lnTo>
                    <a:lnTo>
                      <a:pt x="1509" y="178"/>
                    </a:lnTo>
                    <a:lnTo>
                      <a:pt x="1545" y="154"/>
                    </a:lnTo>
                    <a:lnTo>
                      <a:pt x="1581" y="95"/>
                    </a:lnTo>
                    <a:lnTo>
                      <a:pt x="1581" y="95"/>
                    </a:lnTo>
                    <a:lnTo>
                      <a:pt x="1628" y="95"/>
                    </a:lnTo>
                    <a:lnTo>
                      <a:pt x="1664" y="83"/>
                    </a:lnTo>
                    <a:lnTo>
                      <a:pt x="1806" y="23"/>
                    </a:lnTo>
                    <a:lnTo>
                      <a:pt x="1830" y="35"/>
                    </a:lnTo>
                    <a:lnTo>
                      <a:pt x="1866" y="59"/>
                    </a:lnTo>
                    <a:lnTo>
                      <a:pt x="1890" y="71"/>
                    </a:lnTo>
                    <a:lnTo>
                      <a:pt x="2020" y="83"/>
                    </a:lnTo>
                    <a:lnTo>
                      <a:pt x="2115" y="83"/>
                    </a:lnTo>
                    <a:lnTo>
                      <a:pt x="2175" y="47"/>
                    </a:lnTo>
                    <a:lnTo>
                      <a:pt x="2199" y="47"/>
                    </a:lnTo>
                    <a:lnTo>
                      <a:pt x="2234" y="71"/>
                    </a:lnTo>
                    <a:lnTo>
                      <a:pt x="2270" y="106"/>
                    </a:lnTo>
                    <a:lnTo>
                      <a:pt x="2282" y="118"/>
                    </a:lnTo>
                    <a:lnTo>
                      <a:pt x="2365" y="106"/>
                    </a:lnTo>
                    <a:lnTo>
                      <a:pt x="2424" y="130"/>
                    </a:lnTo>
                    <a:lnTo>
                      <a:pt x="2460" y="130"/>
                    </a:lnTo>
                    <a:lnTo>
                      <a:pt x="2519" y="95"/>
                    </a:lnTo>
                    <a:lnTo>
                      <a:pt x="2543" y="95"/>
                    </a:lnTo>
                    <a:lnTo>
                      <a:pt x="2567" y="118"/>
                    </a:lnTo>
                    <a:lnTo>
                      <a:pt x="2579" y="142"/>
                    </a:lnTo>
                    <a:lnTo>
                      <a:pt x="2603" y="142"/>
                    </a:lnTo>
                    <a:lnTo>
                      <a:pt x="2615" y="142"/>
                    </a:lnTo>
                    <a:lnTo>
                      <a:pt x="2638" y="118"/>
                    </a:lnTo>
                    <a:lnTo>
                      <a:pt x="2650" y="47"/>
                    </a:lnTo>
                    <a:lnTo>
                      <a:pt x="2674" y="11"/>
                    </a:lnTo>
                    <a:lnTo>
                      <a:pt x="2710" y="0"/>
                    </a:lnTo>
                    <a:lnTo>
                      <a:pt x="2805" y="11"/>
                    </a:lnTo>
                    <a:lnTo>
                      <a:pt x="2828" y="0"/>
                    </a:lnTo>
                    <a:lnTo>
                      <a:pt x="2876" y="23"/>
                    </a:lnTo>
                    <a:lnTo>
                      <a:pt x="2995" y="106"/>
                    </a:lnTo>
                    <a:lnTo>
                      <a:pt x="3102" y="106"/>
                    </a:lnTo>
                    <a:lnTo>
                      <a:pt x="3149" y="154"/>
                    </a:lnTo>
                    <a:lnTo>
                      <a:pt x="3256" y="154"/>
                    </a:lnTo>
                    <a:lnTo>
                      <a:pt x="3328" y="178"/>
                    </a:lnTo>
                    <a:lnTo>
                      <a:pt x="3363" y="166"/>
                    </a:lnTo>
                    <a:lnTo>
                      <a:pt x="3399" y="154"/>
                    </a:lnTo>
                    <a:lnTo>
                      <a:pt x="3435" y="142"/>
                    </a:lnTo>
                    <a:lnTo>
                      <a:pt x="3494" y="142"/>
                    </a:lnTo>
                    <a:lnTo>
                      <a:pt x="3542" y="166"/>
                    </a:lnTo>
                    <a:lnTo>
                      <a:pt x="3601" y="178"/>
                    </a:lnTo>
                    <a:lnTo>
                      <a:pt x="3613" y="166"/>
                    </a:lnTo>
                    <a:lnTo>
                      <a:pt x="3660" y="178"/>
                    </a:lnTo>
                    <a:lnTo>
                      <a:pt x="3684" y="213"/>
                    </a:lnTo>
                    <a:lnTo>
                      <a:pt x="3744" y="261"/>
                    </a:lnTo>
                    <a:lnTo>
                      <a:pt x="3779" y="273"/>
                    </a:lnTo>
                    <a:lnTo>
                      <a:pt x="3803" y="261"/>
                    </a:lnTo>
                    <a:lnTo>
                      <a:pt x="3839" y="261"/>
                    </a:lnTo>
                    <a:lnTo>
                      <a:pt x="3874" y="297"/>
                    </a:lnTo>
                    <a:lnTo>
                      <a:pt x="3934" y="309"/>
                    </a:lnTo>
                    <a:lnTo>
                      <a:pt x="4005" y="332"/>
                    </a:lnTo>
                    <a:lnTo>
                      <a:pt x="4064" y="344"/>
                    </a:lnTo>
                    <a:lnTo>
                      <a:pt x="4088" y="356"/>
                    </a:lnTo>
                    <a:lnTo>
                      <a:pt x="4100" y="380"/>
                    </a:lnTo>
                    <a:lnTo>
                      <a:pt x="4124" y="427"/>
                    </a:lnTo>
                    <a:lnTo>
                      <a:pt x="4171" y="463"/>
                    </a:lnTo>
                    <a:lnTo>
                      <a:pt x="4219" y="487"/>
                    </a:lnTo>
                    <a:lnTo>
                      <a:pt x="4266" y="451"/>
                    </a:lnTo>
                    <a:lnTo>
                      <a:pt x="4302" y="451"/>
                    </a:lnTo>
                    <a:lnTo>
                      <a:pt x="4338" y="463"/>
                    </a:lnTo>
                    <a:lnTo>
                      <a:pt x="4421" y="463"/>
                    </a:lnTo>
                    <a:lnTo>
                      <a:pt x="4504" y="499"/>
                    </a:lnTo>
                    <a:lnTo>
                      <a:pt x="4587" y="499"/>
                    </a:lnTo>
                    <a:lnTo>
                      <a:pt x="4659" y="511"/>
                    </a:lnTo>
                    <a:lnTo>
                      <a:pt x="4718" y="511"/>
                    </a:lnTo>
                    <a:lnTo>
                      <a:pt x="4825" y="522"/>
                    </a:lnTo>
                    <a:lnTo>
                      <a:pt x="4908" y="499"/>
                    </a:lnTo>
                    <a:lnTo>
                      <a:pt x="4944" y="487"/>
                    </a:lnTo>
                    <a:lnTo>
                      <a:pt x="4979" y="487"/>
                    </a:lnTo>
                    <a:lnTo>
                      <a:pt x="5003" y="487"/>
                    </a:lnTo>
                    <a:lnTo>
                      <a:pt x="5063" y="546"/>
                    </a:lnTo>
                    <a:lnTo>
                      <a:pt x="5086" y="582"/>
                    </a:lnTo>
                    <a:lnTo>
                      <a:pt x="5158" y="653"/>
                    </a:lnTo>
                    <a:lnTo>
                      <a:pt x="5241" y="689"/>
                    </a:lnTo>
                    <a:lnTo>
                      <a:pt x="5277" y="713"/>
                    </a:lnTo>
                    <a:lnTo>
                      <a:pt x="5324" y="713"/>
                    </a:lnTo>
                    <a:lnTo>
                      <a:pt x="5348" y="736"/>
                    </a:lnTo>
                    <a:lnTo>
                      <a:pt x="5419" y="831"/>
                    </a:lnTo>
                    <a:lnTo>
                      <a:pt x="5443" y="926"/>
                    </a:lnTo>
                    <a:lnTo>
                      <a:pt x="5443" y="1033"/>
                    </a:lnTo>
                    <a:lnTo>
                      <a:pt x="5467" y="1081"/>
                    </a:lnTo>
                    <a:lnTo>
                      <a:pt x="5479" y="1117"/>
                    </a:lnTo>
                    <a:lnTo>
                      <a:pt x="5455" y="1176"/>
                    </a:lnTo>
                    <a:lnTo>
                      <a:pt x="5443" y="1224"/>
                    </a:lnTo>
                    <a:lnTo>
                      <a:pt x="5455" y="1259"/>
                    </a:lnTo>
                    <a:lnTo>
                      <a:pt x="5455" y="1271"/>
                    </a:lnTo>
                    <a:lnTo>
                      <a:pt x="5467" y="1331"/>
                    </a:lnTo>
                    <a:lnTo>
                      <a:pt x="5502" y="1402"/>
                    </a:lnTo>
                    <a:lnTo>
                      <a:pt x="5514" y="1414"/>
                    </a:lnTo>
                    <a:lnTo>
                      <a:pt x="5514" y="1449"/>
                    </a:lnTo>
                    <a:lnTo>
                      <a:pt x="5502" y="1497"/>
                    </a:lnTo>
                    <a:lnTo>
                      <a:pt x="5502" y="1556"/>
                    </a:lnTo>
                    <a:lnTo>
                      <a:pt x="5490" y="1580"/>
                    </a:lnTo>
                    <a:lnTo>
                      <a:pt x="5467" y="1592"/>
                    </a:lnTo>
                    <a:lnTo>
                      <a:pt x="5467" y="1628"/>
                    </a:lnTo>
                    <a:lnTo>
                      <a:pt x="5550" y="1723"/>
                    </a:lnTo>
                    <a:lnTo>
                      <a:pt x="5538" y="1782"/>
                    </a:lnTo>
                    <a:lnTo>
                      <a:pt x="5562" y="1830"/>
                    </a:lnTo>
                    <a:lnTo>
                      <a:pt x="5657" y="1937"/>
                    </a:lnTo>
                    <a:lnTo>
                      <a:pt x="5704" y="1984"/>
                    </a:lnTo>
                    <a:lnTo>
                      <a:pt x="5716" y="1996"/>
                    </a:lnTo>
                    <a:lnTo>
                      <a:pt x="5716" y="2067"/>
                    </a:lnTo>
                    <a:lnTo>
                      <a:pt x="5740" y="2103"/>
                    </a:lnTo>
                    <a:lnTo>
                      <a:pt x="5752" y="2139"/>
                    </a:lnTo>
                    <a:lnTo>
                      <a:pt x="5776" y="2174"/>
                    </a:lnTo>
                    <a:lnTo>
                      <a:pt x="5835" y="2222"/>
                    </a:lnTo>
                    <a:lnTo>
                      <a:pt x="5859" y="2246"/>
                    </a:lnTo>
                    <a:lnTo>
                      <a:pt x="5859" y="2269"/>
                    </a:lnTo>
                    <a:lnTo>
                      <a:pt x="5788" y="2353"/>
                    </a:lnTo>
                    <a:lnTo>
                      <a:pt x="5740" y="2412"/>
                    </a:lnTo>
                    <a:lnTo>
                      <a:pt x="5728" y="2436"/>
                    </a:lnTo>
                    <a:lnTo>
                      <a:pt x="5716" y="2495"/>
                    </a:lnTo>
                    <a:lnTo>
                      <a:pt x="5728" y="2590"/>
                    </a:lnTo>
                    <a:lnTo>
                      <a:pt x="5740" y="2626"/>
                    </a:lnTo>
                    <a:lnTo>
                      <a:pt x="5776" y="2662"/>
                    </a:lnTo>
                    <a:lnTo>
                      <a:pt x="6001" y="2662"/>
                    </a:lnTo>
                    <a:lnTo>
                      <a:pt x="6085" y="2614"/>
                    </a:lnTo>
                    <a:lnTo>
                      <a:pt x="6120" y="2626"/>
                    </a:lnTo>
                    <a:lnTo>
                      <a:pt x="6168" y="2650"/>
                    </a:lnTo>
                    <a:lnTo>
                      <a:pt x="6239" y="2650"/>
                    </a:lnTo>
                    <a:lnTo>
                      <a:pt x="6334" y="2662"/>
                    </a:lnTo>
                    <a:lnTo>
                      <a:pt x="6382" y="2662"/>
                    </a:lnTo>
                    <a:lnTo>
                      <a:pt x="6465" y="2638"/>
                    </a:lnTo>
                    <a:lnTo>
                      <a:pt x="6465" y="2662"/>
                    </a:lnTo>
                    <a:lnTo>
                      <a:pt x="6477" y="2673"/>
                    </a:lnTo>
                    <a:lnTo>
                      <a:pt x="6572" y="2697"/>
                    </a:lnTo>
                    <a:lnTo>
                      <a:pt x="6596" y="2721"/>
                    </a:lnTo>
                    <a:lnTo>
                      <a:pt x="6584" y="2757"/>
                    </a:lnTo>
                    <a:lnTo>
                      <a:pt x="6524" y="2864"/>
                    </a:lnTo>
                    <a:lnTo>
                      <a:pt x="6512" y="2899"/>
                    </a:lnTo>
                    <a:lnTo>
                      <a:pt x="6524" y="2959"/>
                    </a:lnTo>
                    <a:lnTo>
                      <a:pt x="6501" y="2994"/>
                    </a:lnTo>
                    <a:lnTo>
                      <a:pt x="6489" y="3042"/>
                    </a:lnTo>
                    <a:lnTo>
                      <a:pt x="6465" y="3077"/>
                    </a:lnTo>
                    <a:lnTo>
                      <a:pt x="6489" y="3113"/>
                    </a:lnTo>
                    <a:lnTo>
                      <a:pt x="6584" y="3173"/>
                    </a:lnTo>
                    <a:lnTo>
                      <a:pt x="6619" y="3161"/>
                    </a:lnTo>
                    <a:lnTo>
                      <a:pt x="6643" y="3149"/>
                    </a:lnTo>
                    <a:lnTo>
                      <a:pt x="6691" y="3101"/>
                    </a:lnTo>
                    <a:lnTo>
                      <a:pt x="6703" y="3089"/>
                    </a:lnTo>
                    <a:lnTo>
                      <a:pt x="6774" y="3113"/>
                    </a:lnTo>
                    <a:lnTo>
                      <a:pt x="6798" y="3137"/>
                    </a:lnTo>
                    <a:lnTo>
                      <a:pt x="6821" y="3137"/>
                    </a:lnTo>
                    <a:lnTo>
                      <a:pt x="6917" y="3077"/>
                    </a:lnTo>
                    <a:lnTo>
                      <a:pt x="6940" y="3089"/>
                    </a:lnTo>
                    <a:lnTo>
                      <a:pt x="6952" y="3089"/>
                    </a:lnTo>
                    <a:lnTo>
                      <a:pt x="6952" y="3113"/>
                    </a:lnTo>
                    <a:lnTo>
                      <a:pt x="6952" y="3161"/>
                    </a:lnTo>
                    <a:lnTo>
                      <a:pt x="6988" y="3268"/>
                    </a:lnTo>
                    <a:lnTo>
                      <a:pt x="6976" y="3339"/>
                    </a:lnTo>
                    <a:lnTo>
                      <a:pt x="6976" y="3363"/>
                    </a:lnTo>
                    <a:lnTo>
                      <a:pt x="7012" y="3363"/>
                    </a:lnTo>
                    <a:lnTo>
                      <a:pt x="7047" y="3351"/>
                    </a:lnTo>
                    <a:lnTo>
                      <a:pt x="7083" y="3363"/>
                    </a:lnTo>
                    <a:lnTo>
                      <a:pt x="7083" y="3375"/>
                    </a:lnTo>
                    <a:lnTo>
                      <a:pt x="7047" y="342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19" name="Freeform 439"/>
              <p:cNvSpPr>
                <a:spLocks/>
              </p:cNvSpPr>
              <p:nvPr/>
            </p:nvSpPr>
            <p:spPr bwMode="auto">
              <a:xfrm>
                <a:off x="15424150" y="24738012"/>
                <a:ext cx="112713" cy="227013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71" y="72"/>
                  </a:cxn>
                  <a:cxn ang="0">
                    <a:pos x="59" y="131"/>
                  </a:cxn>
                  <a:cxn ang="0">
                    <a:pos x="24" y="143"/>
                  </a:cxn>
                  <a:cxn ang="0">
                    <a:pos x="0" y="119"/>
                  </a:cxn>
                  <a:cxn ang="0">
                    <a:pos x="0" y="60"/>
                  </a:cxn>
                  <a:cxn ang="0">
                    <a:pos x="0" y="36"/>
                  </a:cxn>
                  <a:cxn ang="0">
                    <a:pos x="36" y="0"/>
                  </a:cxn>
                  <a:cxn ang="0">
                    <a:pos x="59" y="0"/>
                  </a:cxn>
                </a:cxnLst>
                <a:rect l="0" t="0" r="r" b="b"/>
                <a:pathLst>
                  <a:path w="71" h="143">
                    <a:moveTo>
                      <a:pt x="59" y="0"/>
                    </a:moveTo>
                    <a:lnTo>
                      <a:pt x="71" y="72"/>
                    </a:lnTo>
                    <a:lnTo>
                      <a:pt x="59" y="131"/>
                    </a:lnTo>
                    <a:lnTo>
                      <a:pt x="24" y="143"/>
                    </a:lnTo>
                    <a:lnTo>
                      <a:pt x="0" y="119"/>
                    </a:lnTo>
                    <a:lnTo>
                      <a:pt x="0" y="60"/>
                    </a:lnTo>
                    <a:lnTo>
                      <a:pt x="0" y="36"/>
                    </a:lnTo>
                    <a:lnTo>
                      <a:pt x="36" y="0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20" name="Freeform 441"/>
              <p:cNvSpPr>
                <a:spLocks/>
              </p:cNvSpPr>
              <p:nvPr/>
            </p:nvSpPr>
            <p:spPr bwMode="auto">
              <a:xfrm>
                <a:off x="15330487" y="24984075"/>
                <a:ext cx="150813" cy="131763"/>
              </a:xfrm>
              <a:custGeom>
                <a:avLst/>
                <a:gdLst/>
                <a:ahLst/>
                <a:cxnLst>
                  <a:cxn ang="0">
                    <a:pos x="71" y="0"/>
                  </a:cxn>
                  <a:cxn ang="0">
                    <a:pos x="95" y="35"/>
                  </a:cxn>
                  <a:cxn ang="0">
                    <a:pos x="83" y="83"/>
                  </a:cxn>
                  <a:cxn ang="0">
                    <a:pos x="59" y="83"/>
                  </a:cxn>
                  <a:cxn ang="0">
                    <a:pos x="47" y="35"/>
                  </a:cxn>
                  <a:cxn ang="0">
                    <a:pos x="11" y="24"/>
                  </a:cxn>
                  <a:cxn ang="0">
                    <a:pos x="0" y="0"/>
                  </a:cxn>
                  <a:cxn ang="0">
                    <a:pos x="11" y="0"/>
                  </a:cxn>
                  <a:cxn ang="0">
                    <a:pos x="47" y="0"/>
                  </a:cxn>
                  <a:cxn ang="0">
                    <a:pos x="71" y="0"/>
                  </a:cxn>
                </a:cxnLst>
                <a:rect l="0" t="0" r="r" b="b"/>
                <a:pathLst>
                  <a:path w="95" h="83">
                    <a:moveTo>
                      <a:pt x="71" y="0"/>
                    </a:moveTo>
                    <a:lnTo>
                      <a:pt x="95" y="35"/>
                    </a:lnTo>
                    <a:lnTo>
                      <a:pt x="83" y="83"/>
                    </a:lnTo>
                    <a:lnTo>
                      <a:pt x="59" y="83"/>
                    </a:lnTo>
                    <a:lnTo>
                      <a:pt x="47" y="35"/>
                    </a:lnTo>
                    <a:lnTo>
                      <a:pt x="11" y="24"/>
                    </a:lnTo>
                    <a:lnTo>
                      <a:pt x="0" y="0"/>
                    </a:lnTo>
                    <a:lnTo>
                      <a:pt x="11" y="0"/>
                    </a:lnTo>
                    <a:lnTo>
                      <a:pt x="47" y="0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</p:grpSp>
        <p:grpSp>
          <p:nvGrpSpPr>
            <p:cNvPr id="31" name="Group 685"/>
            <p:cNvGrpSpPr/>
            <p:nvPr/>
          </p:nvGrpSpPr>
          <p:grpSpPr>
            <a:xfrm>
              <a:off x="5897562" y="25814337"/>
              <a:ext cx="9282113" cy="6375400"/>
              <a:chOff x="5897562" y="25814337"/>
              <a:chExt cx="9282113" cy="6375400"/>
            </a:xfrm>
            <a:grpFill/>
          </p:grpSpPr>
          <p:sp>
            <p:nvSpPr>
              <p:cNvPr id="115" name="Freeform 443"/>
              <p:cNvSpPr>
                <a:spLocks/>
              </p:cNvSpPr>
              <p:nvPr/>
            </p:nvSpPr>
            <p:spPr bwMode="auto">
              <a:xfrm>
                <a:off x="5897562" y="25814337"/>
                <a:ext cx="9129713" cy="6375400"/>
              </a:xfrm>
              <a:custGeom>
                <a:avLst/>
                <a:gdLst/>
                <a:ahLst/>
                <a:cxnLst>
                  <a:cxn ang="0">
                    <a:pos x="5573" y="344"/>
                  </a:cxn>
                  <a:cxn ang="0">
                    <a:pos x="5442" y="166"/>
                  </a:cxn>
                  <a:cxn ang="0">
                    <a:pos x="5633" y="677"/>
                  </a:cxn>
                  <a:cxn ang="0">
                    <a:pos x="5633" y="998"/>
                  </a:cxn>
                  <a:cxn ang="0">
                    <a:pos x="5609" y="1283"/>
                  </a:cxn>
                  <a:cxn ang="0">
                    <a:pos x="5751" y="1438"/>
                  </a:cxn>
                  <a:cxn ang="0">
                    <a:pos x="5597" y="1580"/>
                  </a:cxn>
                  <a:cxn ang="0">
                    <a:pos x="5645" y="1770"/>
                  </a:cxn>
                  <a:cxn ang="0">
                    <a:pos x="5561" y="1984"/>
                  </a:cxn>
                  <a:cxn ang="0">
                    <a:pos x="5549" y="2174"/>
                  </a:cxn>
                  <a:cxn ang="0">
                    <a:pos x="5538" y="2555"/>
                  </a:cxn>
                  <a:cxn ang="0">
                    <a:pos x="5466" y="2602"/>
                  </a:cxn>
                  <a:cxn ang="0">
                    <a:pos x="5383" y="3030"/>
                  </a:cxn>
                  <a:cxn ang="0">
                    <a:pos x="4979" y="3327"/>
                  </a:cxn>
                  <a:cxn ang="0">
                    <a:pos x="4278" y="3933"/>
                  </a:cxn>
                  <a:cxn ang="0">
                    <a:pos x="4064" y="3862"/>
                  </a:cxn>
                  <a:cxn ang="0">
                    <a:pos x="3957" y="3945"/>
                  </a:cxn>
                  <a:cxn ang="0">
                    <a:pos x="4040" y="3695"/>
                  </a:cxn>
                  <a:cxn ang="0">
                    <a:pos x="4135" y="3351"/>
                  </a:cxn>
                  <a:cxn ang="0">
                    <a:pos x="4325" y="3244"/>
                  </a:cxn>
                  <a:cxn ang="0">
                    <a:pos x="4444" y="3137"/>
                  </a:cxn>
                  <a:cxn ang="0">
                    <a:pos x="4230" y="2982"/>
                  </a:cxn>
                  <a:cxn ang="0">
                    <a:pos x="4005" y="2947"/>
                  </a:cxn>
                  <a:cxn ang="0">
                    <a:pos x="3660" y="2864"/>
                  </a:cxn>
                  <a:cxn ang="0">
                    <a:pos x="3149" y="2460"/>
                  </a:cxn>
                  <a:cxn ang="0">
                    <a:pos x="2852" y="2103"/>
                  </a:cxn>
                  <a:cxn ang="0">
                    <a:pos x="2626" y="1913"/>
                  </a:cxn>
                  <a:cxn ang="0">
                    <a:pos x="2388" y="1782"/>
                  </a:cxn>
                  <a:cxn ang="0">
                    <a:pos x="2329" y="1770"/>
                  </a:cxn>
                  <a:cxn ang="0">
                    <a:pos x="2174" y="1758"/>
                  </a:cxn>
                  <a:cxn ang="0">
                    <a:pos x="1984" y="1628"/>
                  </a:cxn>
                  <a:cxn ang="0">
                    <a:pos x="1865" y="1497"/>
                  </a:cxn>
                  <a:cxn ang="0">
                    <a:pos x="1747" y="1533"/>
                  </a:cxn>
                  <a:cxn ang="0">
                    <a:pos x="1652" y="1461"/>
                  </a:cxn>
                  <a:cxn ang="0">
                    <a:pos x="1568" y="1438"/>
                  </a:cxn>
                  <a:cxn ang="0">
                    <a:pos x="1509" y="1402"/>
                  </a:cxn>
                  <a:cxn ang="0">
                    <a:pos x="1354" y="1438"/>
                  </a:cxn>
                  <a:cxn ang="0">
                    <a:pos x="1212" y="1426"/>
                  </a:cxn>
                  <a:cxn ang="0">
                    <a:pos x="1010" y="1366"/>
                  </a:cxn>
                  <a:cxn ang="0">
                    <a:pos x="950" y="1343"/>
                  </a:cxn>
                  <a:cxn ang="0">
                    <a:pos x="843" y="1307"/>
                  </a:cxn>
                  <a:cxn ang="0">
                    <a:pos x="713" y="1354"/>
                  </a:cxn>
                  <a:cxn ang="0">
                    <a:pos x="582" y="1283"/>
                  </a:cxn>
                  <a:cxn ang="0">
                    <a:pos x="380" y="1331"/>
                  </a:cxn>
                  <a:cxn ang="0">
                    <a:pos x="0" y="1295"/>
                  </a:cxn>
                  <a:cxn ang="0">
                    <a:pos x="202" y="986"/>
                  </a:cxn>
                  <a:cxn ang="0">
                    <a:pos x="142" y="606"/>
                  </a:cxn>
                  <a:cxn ang="0">
                    <a:pos x="214" y="214"/>
                  </a:cxn>
                  <a:cxn ang="0">
                    <a:pos x="760" y="344"/>
                  </a:cxn>
                  <a:cxn ang="0">
                    <a:pos x="1343" y="416"/>
                  </a:cxn>
                  <a:cxn ang="0">
                    <a:pos x="2079" y="629"/>
                  </a:cxn>
                  <a:cxn ang="0">
                    <a:pos x="2555" y="725"/>
                  </a:cxn>
                  <a:cxn ang="0">
                    <a:pos x="2840" y="629"/>
                  </a:cxn>
                  <a:cxn ang="0">
                    <a:pos x="2864" y="309"/>
                  </a:cxn>
                  <a:cxn ang="0">
                    <a:pos x="3078" y="249"/>
                  </a:cxn>
                  <a:cxn ang="0">
                    <a:pos x="3256" y="273"/>
                  </a:cxn>
                  <a:cxn ang="0">
                    <a:pos x="3529" y="47"/>
                  </a:cxn>
                  <a:cxn ang="0">
                    <a:pos x="3696" y="35"/>
                  </a:cxn>
                  <a:cxn ang="0">
                    <a:pos x="3921" y="35"/>
                  </a:cxn>
                  <a:cxn ang="0">
                    <a:pos x="4088" y="47"/>
                  </a:cxn>
                  <a:cxn ang="0">
                    <a:pos x="4337" y="83"/>
                  </a:cxn>
                  <a:cxn ang="0">
                    <a:pos x="4872" y="178"/>
                  </a:cxn>
                  <a:cxn ang="0">
                    <a:pos x="5252" y="59"/>
                  </a:cxn>
                </a:cxnLst>
                <a:rect l="0" t="0" r="r" b="b"/>
                <a:pathLst>
                  <a:path w="5751" h="4016">
                    <a:moveTo>
                      <a:pt x="5680" y="35"/>
                    </a:moveTo>
                    <a:lnTo>
                      <a:pt x="5668" y="166"/>
                    </a:lnTo>
                    <a:lnTo>
                      <a:pt x="5692" y="225"/>
                    </a:lnTo>
                    <a:lnTo>
                      <a:pt x="5692" y="249"/>
                    </a:lnTo>
                    <a:lnTo>
                      <a:pt x="5668" y="309"/>
                    </a:lnTo>
                    <a:lnTo>
                      <a:pt x="5621" y="309"/>
                    </a:lnTo>
                    <a:lnTo>
                      <a:pt x="5573" y="344"/>
                    </a:lnTo>
                    <a:lnTo>
                      <a:pt x="5549" y="344"/>
                    </a:lnTo>
                    <a:lnTo>
                      <a:pt x="5526" y="320"/>
                    </a:lnTo>
                    <a:lnTo>
                      <a:pt x="5514" y="285"/>
                    </a:lnTo>
                    <a:lnTo>
                      <a:pt x="5502" y="214"/>
                    </a:lnTo>
                    <a:lnTo>
                      <a:pt x="5454" y="142"/>
                    </a:lnTo>
                    <a:lnTo>
                      <a:pt x="5442" y="142"/>
                    </a:lnTo>
                    <a:lnTo>
                      <a:pt x="5442" y="166"/>
                    </a:lnTo>
                    <a:lnTo>
                      <a:pt x="5490" y="273"/>
                    </a:lnTo>
                    <a:lnTo>
                      <a:pt x="5478" y="427"/>
                    </a:lnTo>
                    <a:lnTo>
                      <a:pt x="5502" y="451"/>
                    </a:lnTo>
                    <a:lnTo>
                      <a:pt x="5514" y="499"/>
                    </a:lnTo>
                    <a:lnTo>
                      <a:pt x="5561" y="523"/>
                    </a:lnTo>
                    <a:lnTo>
                      <a:pt x="5645" y="641"/>
                    </a:lnTo>
                    <a:lnTo>
                      <a:pt x="5633" y="677"/>
                    </a:lnTo>
                    <a:lnTo>
                      <a:pt x="5621" y="701"/>
                    </a:lnTo>
                    <a:lnTo>
                      <a:pt x="5585" y="748"/>
                    </a:lnTo>
                    <a:lnTo>
                      <a:pt x="5561" y="879"/>
                    </a:lnTo>
                    <a:lnTo>
                      <a:pt x="5549" y="927"/>
                    </a:lnTo>
                    <a:lnTo>
                      <a:pt x="5561" y="986"/>
                    </a:lnTo>
                    <a:lnTo>
                      <a:pt x="5573" y="998"/>
                    </a:lnTo>
                    <a:lnTo>
                      <a:pt x="5633" y="998"/>
                    </a:lnTo>
                    <a:lnTo>
                      <a:pt x="5645" y="1010"/>
                    </a:lnTo>
                    <a:lnTo>
                      <a:pt x="5645" y="1022"/>
                    </a:lnTo>
                    <a:lnTo>
                      <a:pt x="5597" y="1093"/>
                    </a:lnTo>
                    <a:lnTo>
                      <a:pt x="5585" y="1140"/>
                    </a:lnTo>
                    <a:lnTo>
                      <a:pt x="5573" y="1152"/>
                    </a:lnTo>
                    <a:lnTo>
                      <a:pt x="5597" y="1200"/>
                    </a:lnTo>
                    <a:lnTo>
                      <a:pt x="5609" y="1283"/>
                    </a:lnTo>
                    <a:lnTo>
                      <a:pt x="5609" y="1343"/>
                    </a:lnTo>
                    <a:lnTo>
                      <a:pt x="5621" y="1402"/>
                    </a:lnTo>
                    <a:lnTo>
                      <a:pt x="5645" y="1426"/>
                    </a:lnTo>
                    <a:lnTo>
                      <a:pt x="5656" y="1426"/>
                    </a:lnTo>
                    <a:lnTo>
                      <a:pt x="5692" y="1402"/>
                    </a:lnTo>
                    <a:lnTo>
                      <a:pt x="5704" y="1402"/>
                    </a:lnTo>
                    <a:lnTo>
                      <a:pt x="5751" y="1438"/>
                    </a:lnTo>
                    <a:lnTo>
                      <a:pt x="5728" y="1509"/>
                    </a:lnTo>
                    <a:lnTo>
                      <a:pt x="5704" y="1521"/>
                    </a:lnTo>
                    <a:lnTo>
                      <a:pt x="5692" y="1533"/>
                    </a:lnTo>
                    <a:lnTo>
                      <a:pt x="5668" y="1497"/>
                    </a:lnTo>
                    <a:lnTo>
                      <a:pt x="5645" y="1497"/>
                    </a:lnTo>
                    <a:lnTo>
                      <a:pt x="5609" y="1509"/>
                    </a:lnTo>
                    <a:lnTo>
                      <a:pt x="5597" y="1580"/>
                    </a:lnTo>
                    <a:lnTo>
                      <a:pt x="5609" y="1604"/>
                    </a:lnTo>
                    <a:lnTo>
                      <a:pt x="5609" y="1628"/>
                    </a:lnTo>
                    <a:lnTo>
                      <a:pt x="5645" y="1604"/>
                    </a:lnTo>
                    <a:lnTo>
                      <a:pt x="5668" y="1604"/>
                    </a:lnTo>
                    <a:lnTo>
                      <a:pt x="5680" y="1687"/>
                    </a:lnTo>
                    <a:lnTo>
                      <a:pt x="5656" y="1723"/>
                    </a:lnTo>
                    <a:lnTo>
                      <a:pt x="5645" y="1770"/>
                    </a:lnTo>
                    <a:lnTo>
                      <a:pt x="5585" y="1770"/>
                    </a:lnTo>
                    <a:lnTo>
                      <a:pt x="5561" y="1794"/>
                    </a:lnTo>
                    <a:lnTo>
                      <a:pt x="5561" y="1806"/>
                    </a:lnTo>
                    <a:lnTo>
                      <a:pt x="5561" y="1854"/>
                    </a:lnTo>
                    <a:lnTo>
                      <a:pt x="5597" y="1972"/>
                    </a:lnTo>
                    <a:lnTo>
                      <a:pt x="5585" y="1996"/>
                    </a:lnTo>
                    <a:lnTo>
                      <a:pt x="5561" y="1984"/>
                    </a:lnTo>
                    <a:lnTo>
                      <a:pt x="5549" y="2008"/>
                    </a:lnTo>
                    <a:lnTo>
                      <a:pt x="5526" y="2020"/>
                    </a:lnTo>
                    <a:lnTo>
                      <a:pt x="5526" y="2032"/>
                    </a:lnTo>
                    <a:lnTo>
                      <a:pt x="5549" y="2091"/>
                    </a:lnTo>
                    <a:lnTo>
                      <a:pt x="5526" y="2127"/>
                    </a:lnTo>
                    <a:lnTo>
                      <a:pt x="5526" y="2151"/>
                    </a:lnTo>
                    <a:lnTo>
                      <a:pt x="5549" y="2174"/>
                    </a:lnTo>
                    <a:lnTo>
                      <a:pt x="5561" y="2222"/>
                    </a:lnTo>
                    <a:lnTo>
                      <a:pt x="5573" y="2234"/>
                    </a:lnTo>
                    <a:lnTo>
                      <a:pt x="5585" y="2258"/>
                    </a:lnTo>
                    <a:lnTo>
                      <a:pt x="5585" y="2317"/>
                    </a:lnTo>
                    <a:lnTo>
                      <a:pt x="5573" y="2388"/>
                    </a:lnTo>
                    <a:lnTo>
                      <a:pt x="5561" y="2483"/>
                    </a:lnTo>
                    <a:lnTo>
                      <a:pt x="5538" y="2555"/>
                    </a:lnTo>
                    <a:lnTo>
                      <a:pt x="5538" y="2602"/>
                    </a:lnTo>
                    <a:lnTo>
                      <a:pt x="5526" y="2602"/>
                    </a:lnTo>
                    <a:lnTo>
                      <a:pt x="5514" y="2602"/>
                    </a:lnTo>
                    <a:lnTo>
                      <a:pt x="5502" y="2567"/>
                    </a:lnTo>
                    <a:lnTo>
                      <a:pt x="5478" y="2567"/>
                    </a:lnTo>
                    <a:lnTo>
                      <a:pt x="5478" y="2578"/>
                    </a:lnTo>
                    <a:lnTo>
                      <a:pt x="5466" y="2602"/>
                    </a:lnTo>
                    <a:lnTo>
                      <a:pt x="5502" y="2685"/>
                    </a:lnTo>
                    <a:lnTo>
                      <a:pt x="5478" y="2721"/>
                    </a:lnTo>
                    <a:lnTo>
                      <a:pt x="5466" y="2792"/>
                    </a:lnTo>
                    <a:lnTo>
                      <a:pt x="5431" y="2840"/>
                    </a:lnTo>
                    <a:lnTo>
                      <a:pt x="5419" y="2911"/>
                    </a:lnTo>
                    <a:lnTo>
                      <a:pt x="5395" y="2959"/>
                    </a:lnTo>
                    <a:lnTo>
                      <a:pt x="5383" y="3030"/>
                    </a:lnTo>
                    <a:lnTo>
                      <a:pt x="5359" y="3089"/>
                    </a:lnTo>
                    <a:lnTo>
                      <a:pt x="5336" y="3101"/>
                    </a:lnTo>
                    <a:lnTo>
                      <a:pt x="5312" y="3149"/>
                    </a:lnTo>
                    <a:lnTo>
                      <a:pt x="5300" y="3161"/>
                    </a:lnTo>
                    <a:lnTo>
                      <a:pt x="5205" y="3184"/>
                    </a:lnTo>
                    <a:lnTo>
                      <a:pt x="5110" y="3232"/>
                    </a:lnTo>
                    <a:lnTo>
                      <a:pt x="4979" y="3327"/>
                    </a:lnTo>
                    <a:lnTo>
                      <a:pt x="4872" y="3410"/>
                    </a:lnTo>
                    <a:lnTo>
                      <a:pt x="4801" y="3458"/>
                    </a:lnTo>
                    <a:lnTo>
                      <a:pt x="4670" y="3577"/>
                    </a:lnTo>
                    <a:lnTo>
                      <a:pt x="4551" y="3684"/>
                    </a:lnTo>
                    <a:lnTo>
                      <a:pt x="4468" y="3779"/>
                    </a:lnTo>
                    <a:lnTo>
                      <a:pt x="4361" y="3933"/>
                    </a:lnTo>
                    <a:lnTo>
                      <a:pt x="4278" y="3933"/>
                    </a:lnTo>
                    <a:lnTo>
                      <a:pt x="4254" y="3921"/>
                    </a:lnTo>
                    <a:lnTo>
                      <a:pt x="4230" y="3909"/>
                    </a:lnTo>
                    <a:lnTo>
                      <a:pt x="4207" y="3862"/>
                    </a:lnTo>
                    <a:lnTo>
                      <a:pt x="4159" y="3826"/>
                    </a:lnTo>
                    <a:lnTo>
                      <a:pt x="4159" y="3838"/>
                    </a:lnTo>
                    <a:lnTo>
                      <a:pt x="4076" y="3850"/>
                    </a:lnTo>
                    <a:lnTo>
                      <a:pt x="4064" y="3862"/>
                    </a:lnTo>
                    <a:lnTo>
                      <a:pt x="4005" y="3886"/>
                    </a:lnTo>
                    <a:lnTo>
                      <a:pt x="3993" y="3898"/>
                    </a:lnTo>
                    <a:lnTo>
                      <a:pt x="3993" y="3933"/>
                    </a:lnTo>
                    <a:lnTo>
                      <a:pt x="4028" y="4004"/>
                    </a:lnTo>
                    <a:lnTo>
                      <a:pt x="4005" y="4016"/>
                    </a:lnTo>
                    <a:lnTo>
                      <a:pt x="3981" y="4004"/>
                    </a:lnTo>
                    <a:lnTo>
                      <a:pt x="3957" y="3945"/>
                    </a:lnTo>
                    <a:lnTo>
                      <a:pt x="3909" y="3921"/>
                    </a:lnTo>
                    <a:lnTo>
                      <a:pt x="3933" y="3862"/>
                    </a:lnTo>
                    <a:lnTo>
                      <a:pt x="3921" y="3826"/>
                    </a:lnTo>
                    <a:lnTo>
                      <a:pt x="3945" y="3791"/>
                    </a:lnTo>
                    <a:lnTo>
                      <a:pt x="3969" y="3779"/>
                    </a:lnTo>
                    <a:lnTo>
                      <a:pt x="4005" y="3707"/>
                    </a:lnTo>
                    <a:lnTo>
                      <a:pt x="4040" y="3695"/>
                    </a:lnTo>
                    <a:lnTo>
                      <a:pt x="4040" y="3707"/>
                    </a:lnTo>
                    <a:lnTo>
                      <a:pt x="4088" y="3707"/>
                    </a:lnTo>
                    <a:lnTo>
                      <a:pt x="4123" y="3648"/>
                    </a:lnTo>
                    <a:lnTo>
                      <a:pt x="4135" y="3577"/>
                    </a:lnTo>
                    <a:lnTo>
                      <a:pt x="4123" y="3470"/>
                    </a:lnTo>
                    <a:lnTo>
                      <a:pt x="4147" y="3422"/>
                    </a:lnTo>
                    <a:lnTo>
                      <a:pt x="4135" y="3351"/>
                    </a:lnTo>
                    <a:lnTo>
                      <a:pt x="4195" y="3244"/>
                    </a:lnTo>
                    <a:lnTo>
                      <a:pt x="4218" y="3220"/>
                    </a:lnTo>
                    <a:lnTo>
                      <a:pt x="4242" y="3220"/>
                    </a:lnTo>
                    <a:lnTo>
                      <a:pt x="4278" y="3268"/>
                    </a:lnTo>
                    <a:lnTo>
                      <a:pt x="4302" y="3280"/>
                    </a:lnTo>
                    <a:lnTo>
                      <a:pt x="4314" y="3268"/>
                    </a:lnTo>
                    <a:lnTo>
                      <a:pt x="4325" y="3244"/>
                    </a:lnTo>
                    <a:lnTo>
                      <a:pt x="4278" y="3196"/>
                    </a:lnTo>
                    <a:lnTo>
                      <a:pt x="4278" y="3184"/>
                    </a:lnTo>
                    <a:lnTo>
                      <a:pt x="4290" y="3161"/>
                    </a:lnTo>
                    <a:lnTo>
                      <a:pt x="4325" y="3137"/>
                    </a:lnTo>
                    <a:lnTo>
                      <a:pt x="4409" y="3149"/>
                    </a:lnTo>
                    <a:lnTo>
                      <a:pt x="4432" y="3149"/>
                    </a:lnTo>
                    <a:lnTo>
                      <a:pt x="4444" y="3137"/>
                    </a:lnTo>
                    <a:lnTo>
                      <a:pt x="4444" y="3125"/>
                    </a:lnTo>
                    <a:lnTo>
                      <a:pt x="4420" y="3089"/>
                    </a:lnTo>
                    <a:lnTo>
                      <a:pt x="4361" y="3054"/>
                    </a:lnTo>
                    <a:lnTo>
                      <a:pt x="4325" y="3006"/>
                    </a:lnTo>
                    <a:lnTo>
                      <a:pt x="4325" y="2947"/>
                    </a:lnTo>
                    <a:lnTo>
                      <a:pt x="4266" y="2982"/>
                    </a:lnTo>
                    <a:lnTo>
                      <a:pt x="4230" y="2982"/>
                    </a:lnTo>
                    <a:lnTo>
                      <a:pt x="4218" y="2935"/>
                    </a:lnTo>
                    <a:lnTo>
                      <a:pt x="4195" y="2911"/>
                    </a:lnTo>
                    <a:lnTo>
                      <a:pt x="4171" y="2923"/>
                    </a:lnTo>
                    <a:lnTo>
                      <a:pt x="4123" y="2947"/>
                    </a:lnTo>
                    <a:lnTo>
                      <a:pt x="4111" y="2935"/>
                    </a:lnTo>
                    <a:lnTo>
                      <a:pt x="4088" y="2935"/>
                    </a:lnTo>
                    <a:lnTo>
                      <a:pt x="4005" y="2947"/>
                    </a:lnTo>
                    <a:lnTo>
                      <a:pt x="3921" y="2935"/>
                    </a:lnTo>
                    <a:lnTo>
                      <a:pt x="3921" y="2959"/>
                    </a:lnTo>
                    <a:lnTo>
                      <a:pt x="3909" y="2971"/>
                    </a:lnTo>
                    <a:lnTo>
                      <a:pt x="3838" y="2899"/>
                    </a:lnTo>
                    <a:lnTo>
                      <a:pt x="3791" y="2887"/>
                    </a:lnTo>
                    <a:lnTo>
                      <a:pt x="3719" y="2887"/>
                    </a:lnTo>
                    <a:lnTo>
                      <a:pt x="3660" y="2864"/>
                    </a:lnTo>
                    <a:lnTo>
                      <a:pt x="3636" y="2876"/>
                    </a:lnTo>
                    <a:lnTo>
                      <a:pt x="3589" y="2864"/>
                    </a:lnTo>
                    <a:lnTo>
                      <a:pt x="3541" y="2876"/>
                    </a:lnTo>
                    <a:lnTo>
                      <a:pt x="3422" y="2828"/>
                    </a:lnTo>
                    <a:lnTo>
                      <a:pt x="3303" y="2638"/>
                    </a:lnTo>
                    <a:lnTo>
                      <a:pt x="3256" y="2543"/>
                    </a:lnTo>
                    <a:lnTo>
                      <a:pt x="3149" y="2460"/>
                    </a:lnTo>
                    <a:lnTo>
                      <a:pt x="3137" y="2436"/>
                    </a:lnTo>
                    <a:lnTo>
                      <a:pt x="3137" y="2376"/>
                    </a:lnTo>
                    <a:lnTo>
                      <a:pt x="3113" y="2341"/>
                    </a:lnTo>
                    <a:lnTo>
                      <a:pt x="3078" y="2329"/>
                    </a:lnTo>
                    <a:lnTo>
                      <a:pt x="3018" y="2269"/>
                    </a:lnTo>
                    <a:lnTo>
                      <a:pt x="2899" y="2139"/>
                    </a:lnTo>
                    <a:lnTo>
                      <a:pt x="2852" y="2103"/>
                    </a:lnTo>
                    <a:lnTo>
                      <a:pt x="2769" y="2056"/>
                    </a:lnTo>
                    <a:lnTo>
                      <a:pt x="2733" y="2032"/>
                    </a:lnTo>
                    <a:lnTo>
                      <a:pt x="2697" y="1972"/>
                    </a:lnTo>
                    <a:lnTo>
                      <a:pt x="2650" y="1949"/>
                    </a:lnTo>
                    <a:lnTo>
                      <a:pt x="2650" y="1925"/>
                    </a:lnTo>
                    <a:lnTo>
                      <a:pt x="2638" y="1913"/>
                    </a:lnTo>
                    <a:lnTo>
                      <a:pt x="2626" y="1913"/>
                    </a:lnTo>
                    <a:lnTo>
                      <a:pt x="2614" y="1925"/>
                    </a:lnTo>
                    <a:lnTo>
                      <a:pt x="2578" y="1925"/>
                    </a:lnTo>
                    <a:lnTo>
                      <a:pt x="2507" y="1818"/>
                    </a:lnTo>
                    <a:lnTo>
                      <a:pt x="2495" y="1806"/>
                    </a:lnTo>
                    <a:lnTo>
                      <a:pt x="2436" y="1830"/>
                    </a:lnTo>
                    <a:lnTo>
                      <a:pt x="2400" y="1782"/>
                    </a:lnTo>
                    <a:lnTo>
                      <a:pt x="2388" y="1782"/>
                    </a:lnTo>
                    <a:lnTo>
                      <a:pt x="2376" y="1806"/>
                    </a:lnTo>
                    <a:lnTo>
                      <a:pt x="2365" y="1818"/>
                    </a:lnTo>
                    <a:lnTo>
                      <a:pt x="2353" y="1794"/>
                    </a:lnTo>
                    <a:lnTo>
                      <a:pt x="2365" y="1747"/>
                    </a:lnTo>
                    <a:lnTo>
                      <a:pt x="2353" y="1735"/>
                    </a:lnTo>
                    <a:lnTo>
                      <a:pt x="2341" y="1735"/>
                    </a:lnTo>
                    <a:lnTo>
                      <a:pt x="2329" y="1770"/>
                    </a:lnTo>
                    <a:lnTo>
                      <a:pt x="2317" y="1782"/>
                    </a:lnTo>
                    <a:lnTo>
                      <a:pt x="2305" y="1770"/>
                    </a:lnTo>
                    <a:lnTo>
                      <a:pt x="2293" y="1735"/>
                    </a:lnTo>
                    <a:lnTo>
                      <a:pt x="2258" y="1747"/>
                    </a:lnTo>
                    <a:lnTo>
                      <a:pt x="2210" y="1747"/>
                    </a:lnTo>
                    <a:lnTo>
                      <a:pt x="2186" y="1758"/>
                    </a:lnTo>
                    <a:lnTo>
                      <a:pt x="2174" y="1758"/>
                    </a:lnTo>
                    <a:lnTo>
                      <a:pt x="2151" y="1735"/>
                    </a:lnTo>
                    <a:lnTo>
                      <a:pt x="2103" y="1747"/>
                    </a:lnTo>
                    <a:lnTo>
                      <a:pt x="2067" y="1699"/>
                    </a:lnTo>
                    <a:lnTo>
                      <a:pt x="2044" y="1699"/>
                    </a:lnTo>
                    <a:lnTo>
                      <a:pt x="2032" y="1651"/>
                    </a:lnTo>
                    <a:lnTo>
                      <a:pt x="1996" y="1640"/>
                    </a:lnTo>
                    <a:lnTo>
                      <a:pt x="1984" y="1628"/>
                    </a:lnTo>
                    <a:lnTo>
                      <a:pt x="2008" y="1616"/>
                    </a:lnTo>
                    <a:lnTo>
                      <a:pt x="2020" y="1604"/>
                    </a:lnTo>
                    <a:lnTo>
                      <a:pt x="1972" y="1580"/>
                    </a:lnTo>
                    <a:lnTo>
                      <a:pt x="1961" y="1545"/>
                    </a:lnTo>
                    <a:lnTo>
                      <a:pt x="1889" y="1545"/>
                    </a:lnTo>
                    <a:lnTo>
                      <a:pt x="1865" y="1521"/>
                    </a:lnTo>
                    <a:lnTo>
                      <a:pt x="1865" y="1497"/>
                    </a:lnTo>
                    <a:lnTo>
                      <a:pt x="1842" y="1485"/>
                    </a:lnTo>
                    <a:lnTo>
                      <a:pt x="1830" y="1485"/>
                    </a:lnTo>
                    <a:lnTo>
                      <a:pt x="1818" y="1509"/>
                    </a:lnTo>
                    <a:lnTo>
                      <a:pt x="1782" y="1485"/>
                    </a:lnTo>
                    <a:lnTo>
                      <a:pt x="1770" y="1485"/>
                    </a:lnTo>
                    <a:lnTo>
                      <a:pt x="1758" y="1533"/>
                    </a:lnTo>
                    <a:lnTo>
                      <a:pt x="1747" y="1533"/>
                    </a:lnTo>
                    <a:lnTo>
                      <a:pt x="1723" y="1497"/>
                    </a:lnTo>
                    <a:lnTo>
                      <a:pt x="1699" y="1497"/>
                    </a:lnTo>
                    <a:lnTo>
                      <a:pt x="1699" y="1485"/>
                    </a:lnTo>
                    <a:lnTo>
                      <a:pt x="1711" y="1461"/>
                    </a:lnTo>
                    <a:lnTo>
                      <a:pt x="1699" y="1449"/>
                    </a:lnTo>
                    <a:lnTo>
                      <a:pt x="1675" y="1449"/>
                    </a:lnTo>
                    <a:lnTo>
                      <a:pt x="1652" y="1461"/>
                    </a:lnTo>
                    <a:lnTo>
                      <a:pt x="1652" y="1509"/>
                    </a:lnTo>
                    <a:lnTo>
                      <a:pt x="1640" y="1521"/>
                    </a:lnTo>
                    <a:lnTo>
                      <a:pt x="1628" y="1521"/>
                    </a:lnTo>
                    <a:lnTo>
                      <a:pt x="1616" y="1497"/>
                    </a:lnTo>
                    <a:lnTo>
                      <a:pt x="1592" y="1497"/>
                    </a:lnTo>
                    <a:lnTo>
                      <a:pt x="1580" y="1485"/>
                    </a:lnTo>
                    <a:lnTo>
                      <a:pt x="1568" y="1438"/>
                    </a:lnTo>
                    <a:lnTo>
                      <a:pt x="1556" y="1449"/>
                    </a:lnTo>
                    <a:lnTo>
                      <a:pt x="1556" y="1473"/>
                    </a:lnTo>
                    <a:lnTo>
                      <a:pt x="1545" y="1485"/>
                    </a:lnTo>
                    <a:lnTo>
                      <a:pt x="1545" y="1485"/>
                    </a:lnTo>
                    <a:lnTo>
                      <a:pt x="1521" y="1461"/>
                    </a:lnTo>
                    <a:lnTo>
                      <a:pt x="1521" y="1414"/>
                    </a:lnTo>
                    <a:lnTo>
                      <a:pt x="1509" y="1402"/>
                    </a:lnTo>
                    <a:lnTo>
                      <a:pt x="1497" y="1402"/>
                    </a:lnTo>
                    <a:lnTo>
                      <a:pt x="1485" y="1438"/>
                    </a:lnTo>
                    <a:lnTo>
                      <a:pt x="1473" y="1449"/>
                    </a:lnTo>
                    <a:lnTo>
                      <a:pt x="1450" y="1438"/>
                    </a:lnTo>
                    <a:lnTo>
                      <a:pt x="1438" y="1449"/>
                    </a:lnTo>
                    <a:lnTo>
                      <a:pt x="1402" y="1438"/>
                    </a:lnTo>
                    <a:lnTo>
                      <a:pt x="1354" y="1438"/>
                    </a:lnTo>
                    <a:lnTo>
                      <a:pt x="1283" y="1414"/>
                    </a:lnTo>
                    <a:lnTo>
                      <a:pt x="1271" y="1461"/>
                    </a:lnTo>
                    <a:lnTo>
                      <a:pt x="1271" y="1473"/>
                    </a:lnTo>
                    <a:lnTo>
                      <a:pt x="1247" y="1461"/>
                    </a:lnTo>
                    <a:lnTo>
                      <a:pt x="1236" y="1414"/>
                    </a:lnTo>
                    <a:lnTo>
                      <a:pt x="1224" y="1414"/>
                    </a:lnTo>
                    <a:lnTo>
                      <a:pt x="1212" y="1426"/>
                    </a:lnTo>
                    <a:lnTo>
                      <a:pt x="1200" y="1426"/>
                    </a:lnTo>
                    <a:lnTo>
                      <a:pt x="1188" y="1414"/>
                    </a:lnTo>
                    <a:lnTo>
                      <a:pt x="1188" y="1378"/>
                    </a:lnTo>
                    <a:lnTo>
                      <a:pt x="1164" y="1354"/>
                    </a:lnTo>
                    <a:lnTo>
                      <a:pt x="1105" y="1366"/>
                    </a:lnTo>
                    <a:lnTo>
                      <a:pt x="1081" y="1343"/>
                    </a:lnTo>
                    <a:lnTo>
                      <a:pt x="1010" y="1366"/>
                    </a:lnTo>
                    <a:lnTo>
                      <a:pt x="986" y="1343"/>
                    </a:lnTo>
                    <a:lnTo>
                      <a:pt x="974" y="1343"/>
                    </a:lnTo>
                    <a:lnTo>
                      <a:pt x="962" y="1354"/>
                    </a:lnTo>
                    <a:lnTo>
                      <a:pt x="962" y="1378"/>
                    </a:lnTo>
                    <a:lnTo>
                      <a:pt x="950" y="1378"/>
                    </a:lnTo>
                    <a:lnTo>
                      <a:pt x="939" y="1366"/>
                    </a:lnTo>
                    <a:lnTo>
                      <a:pt x="950" y="1343"/>
                    </a:lnTo>
                    <a:lnTo>
                      <a:pt x="950" y="1331"/>
                    </a:lnTo>
                    <a:lnTo>
                      <a:pt x="915" y="1307"/>
                    </a:lnTo>
                    <a:lnTo>
                      <a:pt x="915" y="1259"/>
                    </a:lnTo>
                    <a:lnTo>
                      <a:pt x="903" y="1236"/>
                    </a:lnTo>
                    <a:lnTo>
                      <a:pt x="867" y="1236"/>
                    </a:lnTo>
                    <a:lnTo>
                      <a:pt x="843" y="1247"/>
                    </a:lnTo>
                    <a:lnTo>
                      <a:pt x="843" y="1307"/>
                    </a:lnTo>
                    <a:lnTo>
                      <a:pt x="808" y="1354"/>
                    </a:lnTo>
                    <a:lnTo>
                      <a:pt x="784" y="1343"/>
                    </a:lnTo>
                    <a:lnTo>
                      <a:pt x="784" y="1307"/>
                    </a:lnTo>
                    <a:lnTo>
                      <a:pt x="772" y="1295"/>
                    </a:lnTo>
                    <a:lnTo>
                      <a:pt x="760" y="1295"/>
                    </a:lnTo>
                    <a:lnTo>
                      <a:pt x="736" y="1331"/>
                    </a:lnTo>
                    <a:lnTo>
                      <a:pt x="713" y="1354"/>
                    </a:lnTo>
                    <a:lnTo>
                      <a:pt x="665" y="1343"/>
                    </a:lnTo>
                    <a:lnTo>
                      <a:pt x="618" y="1378"/>
                    </a:lnTo>
                    <a:lnTo>
                      <a:pt x="582" y="1378"/>
                    </a:lnTo>
                    <a:lnTo>
                      <a:pt x="582" y="1354"/>
                    </a:lnTo>
                    <a:lnTo>
                      <a:pt x="594" y="1331"/>
                    </a:lnTo>
                    <a:lnTo>
                      <a:pt x="594" y="1307"/>
                    </a:lnTo>
                    <a:lnTo>
                      <a:pt x="582" y="1283"/>
                    </a:lnTo>
                    <a:lnTo>
                      <a:pt x="558" y="1271"/>
                    </a:lnTo>
                    <a:lnTo>
                      <a:pt x="534" y="1236"/>
                    </a:lnTo>
                    <a:lnTo>
                      <a:pt x="511" y="1236"/>
                    </a:lnTo>
                    <a:lnTo>
                      <a:pt x="475" y="1271"/>
                    </a:lnTo>
                    <a:lnTo>
                      <a:pt x="428" y="1283"/>
                    </a:lnTo>
                    <a:lnTo>
                      <a:pt x="392" y="1295"/>
                    </a:lnTo>
                    <a:lnTo>
                      <a:pt x="380" y="1331"/>
                    </a:lnTo>
                    <a:lnTo>
                      <a:pt x="368" y="1343"/>
                    </a:lnTo>
                    <a:lnTo>
                      <a:pt x="285" y="1331"/>
                    </a:lnTo>
                    <a:lnTo>
                      <a:pt x="261" y="1343"/>
                    </a:lnTo>
                    <a:lnTo>
                      <a:pt x="237" y="1366"/>
                    </a:lnTo>
                    <a:lnTo>
                      <a:pt x="178" y="1331"/>
                    </a:lnTo>
                    <a:lnTo>
                      <a:pt x="71" y="1319"/>
                    </a:lnTo>
                    <a:lnTo>
                      <a:pt x="0" y="1295"/>
                    </a:lnTo>
                    <a:lnTo>
                      <a:pt x="47" y="1247"/>
                    </a:lnTo>
                    <a:lnTo>
                      <a:pt x="71" y="1224"/>
                    </a:lnTo>
                    <a:lnTo>
                      <a:pt x="83" y="1188"/>
                    </a:lnTo>
                    <a:lnTo>
                      <a:pt x="119" y="1164"/>
                    </a:lnTo>
                    <a:lnTo>
                      <a:pt x="130" y="1129"/>
                    </a:lnTo>
                    <a:lnTo>
                      <a:pt x="166" y="1045"/>
                    </a:lnTo>
                    <a:lnTo>
                      <a:pt x="202" y="986"/>
                    </a:lnTo>
                    <a:lnTo>
                      <a:pt x="202" y="950"/>
                    </a:lnTo>
                    <a:lnTo>
                      <a:pt x="178" y="927"/>
                    </a:lnTo>
                    <a:lnTo>
                      <a:pt x="154" y="808"/>
                    </a:lnTo>
                    <a:lnTo>
                      <a:pt x="130" y="772"/>
                    </a:lnTo>
                    <a:lnTo>
                      <a:pt x="142" y="713"/>
                    </a:lnTo>
                    <a:lnTo>
                      <a:pt x="130" y="677"/>
                    </a:lnTo>
                    <a:lnTo>
                      <a:pt x="142" y="606"/>
                    </a:lnTo>
                    <a:lnTo>
                      <a:pt x="142" y="558"/>
                    </a:lnTo>
                    <a:lnTo>
                      <a:pt x="154" y="511"/>
                    </a:lnTo>
                    <a:lnTo>
                      <a:pt x="178" y="439"/>
                    </a:lnTo>
                    <a:lnTo>
                      <a:pt x="178" y="368"/>
                    </a:lnTo>
                    <a:lnTo>
                      <a:pt x="214" y="285"/>
                    </a:lnTo>
                    <a:lnTo>
                      <a:pt x="225" y="225"/>
                    </a:lnTo>
                    <a:lnTo>
                      <a:pt x="214" y="214"/>
                    </a:lnTo>
                    <a:lnTo>
                      <a:pt x="332" y="261"/>
                    </a:lnTo>
                    <a:lnTo>
                      <a:pt x="428" y="273"/>
                    </a:lnTo>
                    <a:lnTo>
                      <a:pt x="475" y="261"/>
                    </a:lnTo>
                    <a:lnTo>
                      <a:pt x="570" y="214"/>
                    </a:lnTo>
                    <a:lnTo>
                      <a:pt x="641" y="214"/>
                    </a:lnTo>
                    <a:lnTo>
                      <a:pt x="689" y="309"/>
                    </a:lnTo>
                    <a:lnTo>
                      <a:pt x="760" y="344"/>
                    </a:lnTo>
                    <a:lnTo>
                      <a:pt x="808" y="368"/>
                    </a:lnTo>
                    <a:lnTo>
                      <a:pt x="867" y="380"/>
                    </a:lnTo>
                    <a:lnTo>
                      <a:pt x="1010" y="356"/>
                    </a:lnTo>
                    <a:lnTo>
                      <a:pt x="1152" y="380"/>
                    </a:lnTo>
                    <a:lnTo>
                      <a:pt x="1247" y="356"/>
                    </a:lnTo>
                    <a:lnTo>
                      <a:pt x="1283" y="368"/>
                    </a:lnTo>
                    <a:lnTo>
                      <a:pt x="1343" y="416"/>
                    </a:lnTo>
                    <a:lnTo>
                      <a:pt x="1438" y="439"/>
                    </a:lnTo>
                    <a:lnTo>
                      <a:pt x="1604" y="463"/>
                    </a:lnTo>
                    <a:lnTo>
                      <a:pt x="1770" y="523"/>
                    </a:lnTo>
                    <a:lnTo>
                      <a:pt x="1818" y="534"/>
                    </a:lnTo>
                    <a:lnTo>
                      <a:pt x="1961" y="606"/>
                    </a:lnTo>
                    <a:lnTo>
                      <a:pt x="2044" y="606"/>
                    </a:lnTo>
                    <a:lnTo>
                      <a:pt x="2079" y="629"/>
                    </a:lnTo>
                    <a:lnTo>
                      <a:pt x="2115" y="689"/>
                    </a:lnTo>
                    <a:lnTo>
                      <a:pt x="2210" y="713"/>
                    </a:lnTo>
                    <a:lnTo>
                      <a:pt x="2329" y="677"/>
                    </a:lnTo>
                    <a:lnTo>
                      <a:pt x="2388" y="677"/>
                    </a:lnTo>
                    <a:lnTo>
                      <a:pt x="2507" y="701"/>
                    </a:lnTo>
                    <a:lnTo>
                      <a:pt x="2543" y="725"/>
                    </a:lnTo>
                    <a:lnTo>
                      <a:pt x="2555" y="725"/>
                    </a:lnTo>
                    <a:lnTo>
                      <a:pt x="2626" y="808"/>
                    </a:lnTo>
                    <a:lnTo>
                      <a:pt x="2662" y="831"/>
                    </a:lnTo>
                    <a:lnTo>
                      <a:pt x="2709" y="772"/>
                    </a:lnTo>
                    <a:lnTo>
                      <a:pt x="2792" y="760"/>
                    </a:lnTo>
                    <a:lnTo>
                      <a:pt x="2828" y="748"/>
                    </a:lnTo>
                    <a:lnTo>
                      <a:pt x="2876" y="677"/>
                    </a:lnTo>
                    <a:lnTo>
                      <a:pt x="2840" y="629"/>
                    </a:lnTo>
                    <a:lnTo>
                      <a:pt x="2781" y="629"/>
                    </a:lnTo>
                    <a:lnTo>
                      <a:pt x="2769" y="606"/>
                    </a:lnTo>
                    <a:lnTo>
                      <a:pt x="2781" y="570"/>
                    </a:lnTo>
                    <a:lnTo>
                      <a:pt x="2769" y="534"/>
                    </a:lnTo>
                    <a:lnTo>
                      <a:pt x="2792" y="392"/>
                    </a:lnTo>
                    <a:lnTo>
                      <a:pt x="2840" y="332"/>
                    </a:lnTo>
                    <a:lnTo>
                      <a:pt x="2864" y="309"/>
                    </a:lnTo>
                    <a:lnTo>
                      <a:pt x="2899" y="320"/>
                    </a:lnTo>
                    <a:lnTo>
                      <a:pt x="2971" y="332"/>
                    </a:lnTo>
                    <a:lnTo>
                      <a:pt x="2983" y="332"/>
                    </a:lnTo>
                    <a:lnTo>
                      <a:pt x="2994" y="332"/>
                    </a:lnTo>
                    <a:lnTo>
                      <a:pt x="2994" y="320"/>
                    </a:lnTo>
                    <a:lnTo>
                      <a:pt x="3018" y="249"/>
                    </a:lnTo>
                    <a:lnTo>
                      <a:pt x="3078" y="249"/>
                    </a:lnTo>
                    <a:lnTo>
                      <a:pt x="3137" y="309"/>
                    </a:lnTo>
                    <a:lnTo>
                      <a:pt x="3149" y="309"/>
                    </a:lnTo>
                    <a:lnTo>
                      <a:pt x="3173" y="273"/>
                    </a:lnTo>
                    <a:lnTo>
                      <a:pt x="3185" y="273"/>
                    </a:lnTo>
                    <a:lnTo>
                      <a:pt x="3196" y="297"/>
                    </a:lnTo>
                    <a:lnTo>
                      <a:pt x="3208" y="309"/>
                    </a:lnTo>
                    <a:lnTo>
                      <a:pt x="3256" y="273"/>
                    </a:lnTo>
                    <a:lnTo>
                      <a:pt x="3280" y="285"/>
                    </a:lnTo>
                    <a:lnTo>
                      <a:pt x="3303" y="261"/>
                    </a:lnTo>
                    <a:lnTo>
                      <a:pt x="3375" y="261"/>
                    </a:lnTo>
                    <a:lnTo>
                      <a:pt x="3398" y="202"/>
                    </a:lnTo>
                    <a:lnTo>
                      <a:pt x="3458" y="107"/>
                    </a:lnTo>
                    <a:lnTo>
                      <a:pt x="3494" y="59"/>
                    </a:lnTo>
                    <a:lnTo>
                      <a:pt x="3529" y="47"/>
                    </a:lnTo>
                    <a:lnTo>
                      <a:pt x="3529" y="12"/>
                    </a:lnTo>
                    <a:lnTo>
                      <a:pt x="3553" y="0"/>
                    </a:lnTo>
                    <a:lnTo>
                      <a:pt x="3589" y="12"/>
                    </a:lnTo>
                    <a:lnTo>
                      <a:pt x="3600" y="23"/>
                    </a:lnTo>
                    <a:lnTo>
                      <a:pt x="3624" y="12"/>
                    </a:lnTo>
                    <a:lnTo>
                      <a:pt x="3660" y="12"/>
                    </a:lnTo>
                    <a:lnTo>
                      <a:pt x="3696" y="35"/>
                    </a:lnTo>
                    <a:lnTo>
                      <a:pt x="3719" y="35"/>
                    </a:lnTo>
                    <a:lnTo>
                      <a:pt x="3755" y="59"/>
                    </a:lnTo>
                    <a:lnTo>
                      <a:pt x="3779" y="107"/>
                    </a:lnTo>
                    <a:lnTo>
                      <a:pt x="3826" y="107"/>
                    </a:lnTo>
                    <a:lnTo>
                      <a:pt x="3874" y="35"/>
                    </a:lnTo>
                    <a:lnTo>
                      <a:pt x="3909" y="47"/>
                    </a:lnTo>
                    <a:lnTo>
                      <a:pt x="3921" y="35"/>
                    </a:lnTo>
                    <a:lnTo>
                      <a:pt x="3933" y="35"/>
                    </a:lnTo>
                    <a:lnTo>
                      <a:pt x="3945" y="71"/>
                    </a:lnTo>
                    <a:lnTo>
                      <a:pt x="3957" y="83"/>
                    </a:lnTo>
                    <a:lnTo>
                      <a:pt x="3993" y="35"/>
                    </a:lnTo>
                    <a:lnTo>
                      <a:pt x="4005" y="35"/>
                    </a:lnTo>
                    <a:lnTo>
                      <a:pt x="4052" y="59"/>
                    </a:lnTo>
                    <a:lnTo>
                      <a:pt x="4088" y="47"/>
                    </a:lnTo>
                    <a:lnTo>
                      <a:pt x="4123" y="23"/>
                    </a:lnTo>
                    <a:lnTo>
                      <a:pt x="4159" y="35"/>
                    </a:lnTo>
                    <a:lnTo>
                      <a:pt x="4183" y="23"/>
                    </a:lnTo>
                    <a:lnTo>
                      <a:pt x="4218" y="47"/>
                    </a:lnTo>
                    <a:lnTo>
                      <a:pt x="4254" y="35"/>
                    </a:lnTo>
                    <a:lnTo>
                      <a:pt x="4266" y="35"/>
                    </a:lnTo>
                    <a:lnTo>
                      <a:pt x="4337" y="83"/>
                    </a:lnTo>
                    <a:lnTo>
                      <a:pt x="4575" y="285"/>
                    </a:lnTo>
                    <a:lnTo>
                      <a:pt x="4611" y="297"/>
                    </a:lnTo>
                    <a:lnTo>
                      <a:pt x="4682" y="285"/>
                    </a:lnTo>
                    <a:lnTo>
                      <a:pt x="4706" y="273"/>
                    </a:lnTo>
                    <a:lnTo>
                      <a:pt x="4753" y="225"/>
                    </a:lnTo>
                    <a:lnTo>
                      <a:pt x="4825" y="214"/>
                    </a:lnTo>
                    <a:lnTo>
                      <a:pt x="4872" y="178"/>
                    </a:lnTo>
                    <a:lnTo>
                      <a:pt x="4920" y="166"/>
                    </a:lnTo>
                    <a:lnTo>
                      <a:pt x="4931" y="142"/>
                    </a:lnTo>
                    <a:lnTo>
                      <a:pt x="4967" y="95"/>
                    </a:lnTo>
                    <a:lnTo>
                      <a:pt x="5015" y="59"/>
                    </a:lnTo>
                    <a:lnTo>
                      <a:pt x="5074" y="47"/>
                    </a:lnTo>
                    <a:lnTo>
                      <a:pt x="5169" y="59"/>
                    </a:lnTo>
                    <a:lnTo>
                      <a:pt x="5252" y="59"/>
                    </a:lnTo>
                    <a:lnTo>
                      <a:pt x="5276" y="12"/>
                    </a:lnTo>
                    <a:lnTo>
                      <a:pt x="5407" y="0"/>
                    </a:lnTo>
                    <a:lnTo>
                      <a:pt x="5514" y="12"/>
                    </a:lnTo>
                    <a:lnTo>
                      <a:pt x="5597" y="23"/>
                    </a:lnTo>
                    <a:lnTo>
                      <a:pt x="5633" y="23"/>
                    </a:lnTo>
                    <a:lnTo>
                      <a:pt x="5680" y="3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16" name="Freeform 445"/>
              <p:cNvSpPr>
                <a:spLocks/>
              </p:cNvSpPr>
              <p:nvPr/>
            </p:nvSpPr>
            <p:spPr bwMode="auto">
              <a:xfrm>
                <a:off x="14801850" y="28587700"/>
                <a:ext cx="377825" cy="792163"/>
              </a:xfrm>
              <a:custGeom>
                <a:avLst/>
                <a:gdLst/>
                <a:ahLst/>
                <a:cxnLst>
                  <a:cxn ang="0">
                    <a:pos x="202" y="0"/>
                  </a:cxn>
                  <a:cxn ang="0">
                    <a:pos x="238" y="71"/>
                  </a:cxn>
                  <a:cxn ang="0">
                    <a:pos x="202" y="118"/>
                  </a:cxn>
                  <a:cxn ang="0">
                    <a:pos x="178" y="213"/>
                  </a:cxn>
                  <a:cxn ang="0">
                    <a:pos x="119" y="285"/>
                  </a:cxn>
                  <a:cxn ang="0">
                    <a:pos x="95" y="332"/>
                  </a:cxn>
                  <a:cxn ang="0">
                    <a:pos x="107" y="380"/>
                  </a:cxn>
                  <a:cxn ang="0">
                    <a:pos x="107" y="404"/>
                  </a:cxn>
                  <a:cxn ang="0">
                    <a:pos x="107" y="427"/>
                  </a:cxn>
                  <a:cxn ang="0">
                    <a:pos x="95" y="451"/>
                  </a:cxn>
                  <a:cxn ang="0">
                    <a:pos x="83" y="463"/>
                  </a:cxn>
                  <a:cxn ang="0">
                    <a:pos x="47" y="475"/>
                  </a:cxn>
                  <a:cxn ang="0">
                    <a:pos x="12" y="499"/>
                  </a:cxn>
                  <a:cxn ang="0">
                    <a:pos x="0" y="463"/>
                  </a:cxn>
                  <a:cxn ang="0">
                    <a:pos x="0" y="392"/>
                  </a:cxn>
                  <a:cxn ang="0">
                    <a:pos x="0" y="344"/>
                  </a:cxn>
                  <a:cxn ang="0">
                    <a:pos x="0" y="309"/>
                  </a:cxn>
                  <a:cxn ang="0">
                    <a:pos x="0" y="309"/>
                  </a:cxn>
                  <a:cxn ang="0">
                    <a:pos x="0" y="285"/>
                  </a:cxn>
                  <a:cxn ang="0">
                    <a:pos x="47" y="249"/>
                  </a:cxn>
                  <a:cxn ang="0">
                    <a:pos x="59" y="190"/>
                  </a:cxn>
                  <a:cxn ang="0">
                    <a:pos x="71" y="71"/>
                  </a:cxn>
                  <a:cxn ang="0">
                    <a:pos x="83" y="23"/>
                  </a:cxn>
                  <a:cxn ang="0">
                    <a:pos x="107" y="23"/>
                  </a:cxn>
                  <a:cxn ang="0">
                    <a:pos x="154" y="23"/>
                  </a:cxn>
                  <a:cxn ang="0">
                    <a:pos x="178" y="0"/>
                  </a:cxn>
                  <a:cxn ang="0">
                    <a:pos x="202" y="0"/>
                  </a:cxn>
                </a:cxnLst>
                <a:rect l="0" t="0" r="r" b="b"/>
                <a:pathLst>
                  <a:path w="238" h="499">
                    <a:moveTo>
                      <a:pt x="202" y="0"/>
                    </a:moveTo>
                    <a:lnTo>
                      <a:pt x="238" y="71"/>
                    </a:lnTo>
                    <a:lnTo>
                      <a:pt x="202" y="118"/>
                    </a:lnTo>
                    <a:lnTo>
                      <a:pt x="178" y="213"/>
                    </a:lnTo>
                    <a:lnTo>
                      <a:pt x="119" y="285"/>
                    </a:lnTo>
                    <a:lnTo>
                      <a:pt x="95" y="332"/>
                    </a:lnTo>
                    <a:lnTo>
                      <a:pt x="107" y="380"/>
                    </a:lnTo>
                    <a:lnTo>
                      <a:pt x="107" y="404"/>
                    </a:lnTo>
                    <a:lnTo>
                      <a:pt x="107" y="427"/>
                    </a:lnTo>
                    <a:lnTo>
                      <a:pt x="95" y="451"/>
                    </a:lnTo>
                    <a:lnTo>
                      <a:pt x="83" y="463"/>
                    </a:lnTo>
                    <a:lnTo>
                      <a:pt x="47" y="475"/>
                    </a:lnTo>
                    <a:lnTo>
                      <a:pt x="12" y="499"/>
                    </a:lnTo>
                    <a:lnTo>
                      <a:pt x="0" y="463"/>
                    </a:lnTo>
                    <a:lnTo>
                      <a:pt x="0" y="392"/>
                    </a:lnTo>
                    <a:lnTo>
                      <a:pt x="0" y="344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0" y="285"/>
                    </a:lnTo>
                    <a:lnTo>
                      <a:pt x="47" y="249"/>
                    </a:lnTo>
                    <a:lnTo>
                      <a:pt x="59" y="190"/>
                    </a:lnTo>
                    <a:lnTo>
                      <a:pt x="71" y="71"/>
                    </a:lnTo>
                    <a:lnTo>
                      <a:pt x="83" y="23"/>
                    </a:lnTo>
                    <a:lnTo>
                      <a:pt x="107" y="23"/>
                    </a:lnTo>
                    <a:lnTo>
                      <a:pt x="154" y="23"/>
                    </a:lnTo>
                    <a:lnTo>
                      <a:pt x="178" y="0"/>
                    </a:lnTo>
                    <a:lnTo>
                      <a:pt x="20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17" name="Freeform 447"/>
              <p:cNvSpPr>
                <a:spLocks/>
              </p:cNvSpPr>
              <p:nvPr/>
            </p:nvSpPr>
            <p:spPr bwMode="auto">
              <a:xfrm>
                <a:off x="14706600" y="26228675"/>
                <a:ext cx="358775" cy="490538"/>
              </a:xfrm>
              <a:custGeom>
                <a:avLst/>
                <a:gdLst/>
                <a:ahLst/>
                <a:cxnLst>
                  <a:cxn ang="0">
                    <a:pos x="179" y="0"/>
                  </a:cxn>
                  <a:cxn ang="0">
                    <a:pos x="202" y="12"/>
                  </a:cxn>
                  <a:cxn ang="0">
                    <a:pos x="214" y="59"/>
                  </a:cxn>
                  <a:cxn ang="0">
                    <a:pos x="226" y="83"/>
                  </a:cxn>
                  <a:cxn ang="0">
                    <a:pos x="226" y="95"/>
                  </a:cxn>
                  <a:cxn ang="0">
                    <a:pos x="191" y="131"/>
                  </a:cxn>
                  <a:cxn ang="0">
                    <a:pos x="167" y="190"/>
                  </a:cxn>
                  <a:cxn ang="0">
                    <a:pos x="155" y="262"/>
                  </a:cxn>
                  <a:cxn ang="0">
                    <a:pos x="131" y="297"/>
                  </a:cxn>
                  <a:cxn ang="0">
                    <a:pos x="107" y="309"/>
                  </a:cxn>
                  <a:cxn ang="0">
                    <a:pos x="96" y="309"/>
                  </a:cxn>
                  <a:cxn ang="0">
                    <a:pos x="72" y="285"/>
                  </a:cxn>
                  <a:cxn ang="0">
                    <a:pos x="12" y="190"/>
                  </a:cxn>
                  <a:cxn ang="0">
                    <a:pos x="0" y="178"/>
                  </a:cxn>
                  <a:cxn ang="0">
                    <a:pos x="12" y="143"/>
                  </a:cxn>
                  <a:cxn ang="0">
                    <a:pos x="60" y="131"/>
                  </a:cxn>
                  <a:cxn ang="0">
                    <a:pos x="96" y="95"/>
                  </a:cxn>
                  <a:cxn ang="0">
                    <a:pos x="131" y="83"/>
                  </a:cxn>
                  <a:cxn ang="0">
                    <a:pos x="179" y="0"/>
                  </a:cxn>
                </a:cxnLst>
                <a:rect l="0" t="0" r="r" b="b"/>
                <a:pathLst>
                  <a:path w="226" h="309">
                    <a:moveTo>
                      <a:pt x="179" y="0"/>
                    </a:moveTo>
                    <a:lnTo>
                      <a:pt x="202" y="12"/>
                    </a:lnTo>
                    <a:lnTo>
                      <a:pt x="214" y="59"/>
                    </a:lnTo>
                    <a:lnTo>
                      <a:pt x="226" y="83"/>
                    </a:lnTo>
                    <a:lnTo>
                      <a:pt x="226" y="95"/>
                    </a:lnTo>
                    <a:lnTo>
                      <a:pt x="191" y="131"/>
                    </a:lnTo>
                    <a:lnTo>
                      <a:pt x="167" y="190"/>
                    </a:lnTo>
                    <a:lnTo>
                      <a:pt x="155" y="262"/>
                    </a:lnTo>
                    <a:lnTo>
                      <a:pt x="131" y="297"/>
                    </a:lnTo>
                    <a:lnTo>
                      <a:pt x="107" y="309"/>
                    </a:lnTo>
                    <a:lnTo>
                      <a:pt x="96" y="309"/>
                    </a:lnTo>
                    <a:lnTo>
                      <a:pt x="72" y="285"/>
                    </a:lnTo>
                    <a:lnTo>
                      <a:pt x="12" y="190"/>
                    </a:lnTo>
                    <a:lnTo>
                      <a:pt x="0" y="178"/>
                    </a:lnTo>
                    <a:lnTo>
                      <a:pt x="12" y="143"/>
                    </a:lnTo>
                    <a:lnTo>
                      <a:pt x="60" y="131"/>
                    </a:lnTo>
                    <a:lnTo>
                      <a:pt x="96" y="95"/>
                    </a:lnTo>
                    <a:lnTo>
                      <a:pt x="131" y="83"/>
                    </a:lnTo>
                    <a:lnTo>
                      <a:pt x="179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</p:grpSp>
        <p:grpSp>
          <p:nvGrpSpPr>
            <p:cNvPr id="32" name="Group 686"/>
            <p:cNvGrpSpPr/>
            <p:nvPr/>
          </p:nvGrpSpPr>
          <p:grpSpPr>
            <a:xfrm>
              <a:off x="-309563" y="27776487"/>
              <a:ext cx="13261975" cy="12658725"/>
              <a:chOff x="-309563" y="27776487"/>
              <a:chExt cx="13261975" cy="12658725"/>
            </a:xfrm>
            <a:grpFill/>
          </p:grpSpPr>
          <p:sp>
            <p:nvSpPr>
              <p:cNvPr id="111" name="Freeform 449"/>
              <p:cNvSpPr>
                <a:spLocks/>
              </p:cNvSpPr>
              <p:nvPr/>
            </p:nvSpPr>
            <p:spPr bwMode="auto">
              <a:xfrm>
                <a:off x="-309563" y="27776487"/>
                <a:ext cx="13261975" cy="12658725"/>
              </a:xfrm>
              <a:custGeom>
                <a:avLst/>
                <a:gdLst/>
                <a:ahLst/>
                <a:cxnLst>
                  <a:cxn ang="0">
                    <a:pos x="7380" y="4373"/>
                  </a:cxn>
                  <a:cxn ang="0">
                    <a:pos x="6548" y="5395"/>
                  </a:cxn>
                  <a:cxn ang="0">
                    <a:pos x="5823" y="5894"/>
                  </a:cxn>
                  <a:cxn ang="0">
                    <a:pos x="5799" y="5656"/>
                  </a:cxn>
                  <a:cxn ang="0">
                    <a:pos x="6346" y="5371"/>
                  </a:cxn>
                  <a:cxn ang="0">
                    <a:pos x="6655" y="5133"/>
                  </a:cxn>
                  <a:cxn ang="0">
                    <a:pos x="7095" y="4492"/>
                  </a:cxn>
                  <a:cxn ang="0">
                    <a:pos x="7249" y="4028"/>
                  </a:cxn>
                  <a:cxn ang="0">
                    <a:pos x="7202" y="3862"/>
                  </a:cxn>
                  <a:cxn ang="0">
                    <a:pos x="6893" y="3981"/>
                  </a:cxn>
                  <a:cxn ang="0">
                    <a:pos x="6560" y="3410"/>
                  </a:cxn>
                  <a:cxn ang="0">
                    <a:pos x="6096" y="3327"/>
                  </a:cxn>
                  <a:cxn ang="0">
                    <a:pos x="6619" y="3517"/>
                  </a:cxn>
                  <a:cxn ang="0">
                    <a:pos x="6750" y="3957"/>
                  </a:cxn>
                  <a:cxn ang="0">
                    <a:pos x="6524" y="4254"/>
                  </a:cxn>
                  <a:cxn ang="0">
                    <a:pos x="6358" y="4717"/>
                  </a:cxn>
                  <a:cxn ang="0">
                    <a:pos x="6203" y="5003"/>
                  </a:cxn>
                  <a:cxn ang="0">
                    <a:pos x="5775" y="5430"/>
                  </a:cxn>
                  <a:cxn ang="0">
                    <a:pos x="5585" y="5680"/>
                  </a:cxn>
                  <a:cxn ang="0">
                    <a:pos x="5633" y="5941"/>
                  </a:cxn>
                  <a:cxn ang="0">
                    <a:pos x="5134" y="7189"/>
                  </a:cxn>
                  <a:cxn ang="0">
                    <a:pos x="4266" y="7546"/>
                  </a:cxn>
                  <a:cxn ang="0">
                    <a:pos x="4753" y="6773"/>
                  </a:cxn>
                  <a:cxn ang="0">
                    <a:pos x="5146" y="6357"/>
                  </a:cxn>
                  <a:cxn ang="0">
                    <a:pos x="5039" y="6155"/>
                  </a:cxn>
                  <a:cxn ang="0">
                    <a:pos x="4742" y="6595"/>
                  </a:cxn>
                  <a:cxn ang="0">
                    <a:pos x="4124" y="6191"/>
                  </a:cxn>
                  <a:cxn ang="0">
                    <a:pos x="3470" y="5585"/>
                  </a:cxn>
                  <a:cxn ang="0">
                    <a:pos x="2828" y="5133"/>
                  </a:cxn>
                  <a:cxn ang="0">
                    <a:pos x="2377" y="4729"/>
                  </a:cxn>
                  <a:cxn ang="0">
                    <a:pos x="1818" y="4777"/>
                  </a:cxn>
                  <a:cxn ang="0">
                    <a:pos x="1580" y="4361"/>
                  </a:cxn>
                  <a:cxn ang="0">
                    <a:pos x="998" y="3767"/>
                  </a:cxn>
                  <a:cxn ang="0">
                    <a:pos x="226" y="3874"/>
                  </a:cxn>
                  <a:cxn ang="0">
                    <a:pos x="356" y="3303"/>
                  </a:cxn>
                  <a:cxn ang="0">
                    <a:pos x="1010" y="2543"/>
                  </a:cxn>
                  <a:cxn ang="0">
                    <a:pos x="1569" y="1877"/>
                  </a:cxn>
                  <a:cxn ang="0">
                    <a:pos x="1985" y="1592"/>
                  </a:cxn>
                  <a:cxn ang="0">
                    <a:pos x="2317" y="1105"/>
                  </a:cxn>
                  <a:cxn ang="0">
                    <a:pos x="2650" y="891"/>
                  </a:cxn>
                  <a:cxn ang="0">
                    <a:pos x="2900" y="511"/>
                  </a:cxn>
                  <a:cxn ang="0">
                    <a:pos x="3102" y="499"/>
                  </a:cxn>
                  <a:cxn ang="0">
                    <a:pos x="3339" y="368"/>
                  </a:cxn>
                  <a:cxn ang="0">
                    <a:pos x="3565" y="178"/>
                  </a:cxn>
                  <a:cxn ang="0">
                    <a:pos x="4088" y="95"/>
                  </a:cxn>
                  <a:cxn ang="0">
                    <a:pos x="4504" y="71"/>
                  </a:cxn>
                  <a:cxn ang="0">
                    <a:pos x="4753" y="71"/>
                  </a:cxn>
                  <a:cxn ang="0">
                    <a:pos x="4896" y="107"/>
                  </a:cxn>
                  <a:cxn ang="0">
                    <a:pos x="5181" y="225"/>
                  </a:cxn>
                  <a:cxn ang="0">
                    <a:pos x="5455" y="249"/>
                  </a:cxn>
                  <a:cxn ang="0">
                    <a:pos x="5621" y="225"/>
                  </a:cxn>
                  <a:cxn ang="0">
                    <a:pos x="5799" y="309"/>
                  </a:cxn>
                  <a:cxn ang="0">
                    <a:pos x="6096" y="522"/>
                  </a:cxn>
                  <a:cxn ang="0">
                    <a:pos x="6298" y="546"/>
                  </a:cxn>
                  <a:cxn ang="0">
                    <a:pos x="6679" y="820"/>
                  </a:cxn>
                  <a:cxn ang="0">
                    <a:pos x="7499" y="1628"/>
                  </a:cxn>
                  <a:cxn ang="0">
                    <a:pos x="8081" y="1687"/>
                  </a:cxn>
                  <a:cxn ang="0">
                    <a:pos x="8235" y="1901"/>
                  </a:cxn>
                  <a:cxn ang="0">
                    <a:pos x="8033" y="2234"/>
                  </a:cxn>
                  <a:cxn ang="0">
                    <a:pos x="7891" y="2768"/>
                  </a:cxn>
                  <a:cxn ang="0">
                    <a:pos x="8188" y="2697"/>
                  </a:cxn>
                </a:cxnLst>
                <a:rect l="0" t="0" r="r" b="b"/>
                <a:pathLst>
                  <a:path w="8354" h="7974">
                    <a:moveTo>
                      <a:pt x="8271" y="2697"/>
                    </a:moveTo>
                    <a:lnTo>
                      <a:pt x="8271" y="2697"/>
                    </a:lnTo>
                    <a:lnTo>
                      <a:pt x="8247" y="2721"/>
                    </a:lnTo>
                    <a:lnTo>
                      <a:pt x="8200" y="2792"/>
                    </a:lnTo>
                    <a:lnTo>
                      <a:pt x="8057" y="3030"/>
                    </a:lnTo>
                    <a:lnTo>
                      <a:pt x="7879" y="3327"/>
                    </a:lnTo>
                    <a:lnTo>
                      <a:pt x="7819" y="3458"/>
                    </a:lnTo>
                    <a:lnTo>
                      <a:pt x="7784" y="3565"/>
                    </a:lnTo>
                    <a:lnTo>
                      <a:pt x="7736" y="3684"/>
                    </a:lnTo>
                    <a:lnTo>
                      <a:pt x="7582" y="4088"/>
                    </a:lnTo>
                    <a:lnTo>
                      <a:pt x="7570" y="4111"/>
                    </a:lnTo>
                    <a:lnTo>
                      <a:pt x="7534" y="4183"/>
                    </a:lnTo>
                    <a:lnTo>
                      <a:pt x="7380" y="4373"/>
                    </a:lnTo>
                    <a:lnTo>
                      <a:pt x="7368" y="4385"/>
                    </a:lnTo>
                    <a:lnTo>
                      <a:pt x="7320" y="4527"/>
                    </a:lnTo>
                    <a:lnTo>
                      <a:pt x="7308" y="4539"/>
                    </a:lnTo>
                    <a:lnTo>
                      <a:pt x="7213" y="4634"/>
                    </a:lnTo>
                    <a:lnTo>
                      <a:pt x="7166" y="4729"/>
                    </a:lnTo>
                    <a:lnTo>
                      <a:pt x="7130" y="4789"/>
                    </a:lnTo>
                    <a:lnTo>
                      <a:pt x="6976" y="4967"/>
                    </a:lnTo>
                    <a:lnTo>
                      <a:pt x="6881" y="5062"/>
                    </a:lnTo>
                    <a:lnTo>
                      <a:pt x="6821" y="5110"/>
                    </a:lnTo>
                    <a:lnTo>
                      <a:pt x="6786" y="5157"/>
                    </a:lnTo>
                    <a:lnTo>
                      <a:pt x="6738" y="5217"/>
                    </a:lnTo>
                    <a:lnTo>
                      <a:pt x="6631" y="5300"/>
                    </a:lnTo>
                    <a:lnTo>
                      <a:pt x="6548" y="5395"/>
                    </a:lnTo>
                    <a:lnTo>
                      <a:pt x="6477" y="5442"/>
                    </a:lnTo>
                    <a:lnTo>
                      <a:pt x="6417" y="5490"/>
                    </a:lnTo>
                    <a:lnTo>
                      <a:pt x="6358" y="5549"/>
                    </a:lnTo>
                    <a:lnTo>
                      <a:pt x="6239" y="5597"/>
                    </a:lnTo>
                    <a:lnTo>
                      <a:pt x="6156" y="5656"/>
                    </a:lnTo>
                    <a:lnTo>
                      <a:pt x="6073" y="5704"/>
                    </a:lnTo>
                    <a:lnTo>
                      <a:pt x="6049" y="5728"/>
                    </a:lnTo>
                    <a:lnTo>
                      <a:pt x="5989" y="5751"/>
                    </a:lnTo>
                    <a:lnTo>
                      <a:pt x="5966" y="5763"/>
                    </a:lnTo>
                    <a:lnTo>
                      <a:pt x="5918" y="5799"/>
                    </a:lnTo>
                    <a:lnTo>
                      <a:pt x="5882" y="5834"/>
                    </a:lnTo>
                    <a:lnTo>
                      <a:pt x="5859" y="5858"/>
                    </a:lnTo>
                    <a:lnTo>
                      <a:pt x="5823" y="5894"/>
                    </a:lnTo>
                    <a:lnTo>
                      <a:pt x="5787" y="5930"/>
                    </a:lnTo>
                    <a:lnTo>
                      <a:pt x="5752" y="5953"/>
                    </a:lnTo>
                    <a:lnTo>
                      <a:pt x="5704" y="6072"/>
                    </a:lnTo>
                    <a:lnTo>
                      <a:pt x="5716" y="6013"/>
                    </a:lnTo>
                    <a:lnTo>
                      <a:pt x="5728" y="5953"/>
                    </a:lnTo>
                    <a:lnTo>
                      <a:pt x="5752" y="5930"/>
                    </a:lnTo>
                    <a:lnTo>
                      <a:pt x="5764" y="5834"/>
                    </a:lnTo>
                    <a:lnTo>
                      <a:pt x="5787" y="5799"/>
                    </a:lnTo>
                    <a:lnTo>
                      <a:pt x="5787" y="5775"/>
                    </a:lnTo>
                    <a:lnTo>
                      <a:pt x="5752" y="5728"/>
                    </a:lnTo>
                    <a:lnTo>
                      <a:pt x="5716" y="5692"/>
                    </a:lnTo>
                    <a:lnTo>
                      <a:pt x="5716" y="5668"/>
                    </a:lnTo>
                    <a:lnTo>
                      <a:pt x="5799" y="5656"/>
                    </a:lnTo>
                    <a:lnTo>
                      <a:pt x="5859" y="5668"/>
                    </a:lnTo>
                    <a:lnTo>
                      <a:pt x="5906" y="5704"/>
                    </a:lnTo>
                    <a:lnTo>
                      <a:pt x="5966" y="5704"/>
                    </a:lnTo>
                    <a:lnTo>
                      <a:pt x="6001" y="5692"/>
                    </a:lnTo>
                    <a:lnTo>
                      <a:pt x="6025" y="5668"/>
                    </a:lnTo>
                    <a:lnTo>
                      <a:pt x="6013" y="5644"/>
                    </a:lnTo>
                    <a:lnTo>
                      <a:pt x="5977" y="5644"/>
                    </a:lnTo>
                    <a:lnTo>
                      <a:pt x="5989" y="5621"/>
                    </a:lnTo>
                    <a:lnTo>
                      <a:pt x="6120" y="5609"/>
                    </a:lnTo>
                    <a:lnTo>
                      <a:pt x="6180" y="5573"/>
                    </a:lnTo>
                    <a:lnTo>
                      <a:pt x="6239" y="5526"/>
                    </a:lnTo>
                    <a:lnTo>
                      <a:pt x="6334" y="5383"/>
                    </a:lnTo>
                    <a:lnTo>
                      <a:pt x="6346" y="5371"/>
                    </a:lnTo>
                    <a:lnTo>
                      <a:pt x="6370" y="5395"/>
                    </a:lnTo>
                    <a:lnTo>
                      <a:pt x="6393" y="5395"/>
                    </a:lnTo>
                    <a:lnTo>
                      <a:pt x="6393" y="5371"/>
                    </a:lnTo>
                    <a:lnTo>
                      <a:pt x="6370" y="5335"/>
                    </a:lnTo>
                    <a:lnTo>
                      <a:pt x="6370" y="5323"/>
                    </a:lnTo>
                    <a:lnTo>
                      <a:pt x="6393" y="5300"/>
                    </a:lnTo>
                    <a:lnTo>
                      <a:pt x="6405" y="5288"/>
                    </a:lnTo>
                    <a:lnTo>
                      <a:pt x="6488" y="5300"/>
                    </a:lnTo>
                    <a:lnTo>
                      <a:pt x="6536" y="5288"/>
                    </a:lnTo>
                    <a:lnTo>
                      <a:pt x="6560" y="5276"/>
                    </a:lnTo>
                    <a:lnTo>
                      <a:pt x="6584" y="5252"/>
                    </a:lnTo>
                    <a:lnTo>
                      <a:pt x="6631" y="5181"/>
                    </a:lnTo>
                    <a:lnTo>
                      <a:pt x="6655" y="5133"/>
                    </a:lnTo>
                    <a:lnTo>
                      <a:pt x="6667" y="5074"/>
                    </a:lnTo>
                    <a:lnTo>
                      <a:pt x="6679" y="4955"/>
                    </a:lnTo>
                    <a:lnTo>
                      <a:pt x="6667" y="4824"/>
                    </a:lnTo>
                    <a:lnTo>
                      <a:pt x="6667" y="4777"/>
                    </a:lnTo>
                    <a:lnTo>
                      <a:pt x="6691" y="4777"/>
                    </a:lnTo>
                    <a:lnTo>
                      <a:pt x="6726" y="4789"/>
                    </a:lnTo>
                    <a:lnTo>
                      <a:pt x="6774" y="4789"/>
                    </a:lnTo>
                    <a:lnTo>
                      <a:pt x="6881" y="4729"/>
                    </a:lnTo>
                    <a:lnTo>
                      <a:pt x="6893" y="4694"/>
                    </a:lnTo>
                    <a:lnTo>
                      <a:pt x="6904" y="4610"/>
                    </a:lnTo>
                    <a:lnTo>
                      <a:pt x="6904" y="4587"/>
                    </a:lnTo>
                    <a:lnTo>
                      <a:pt x="6999" y="4551"/>
                    </a:lnTo>
                    <a:lnTo>
                      <a:pt x="7095" y="4492"/>
                    </a:lnTo>
                    <a:lnTo>
                      <a:pt x="7130" y="4468"/>
                    </a:lnTo>
                    <a:lnTo>
                      <a:pt x="7166" y="4397"/>
                    </a:lnTo>
                    <a:lnTo>
                      <a:pt x="7166" y="4397"/>
                    </a:lnTo>
                    <a:lnTo>
                      <a:pt x="7190" y="4337"/>
                    </a:lnTo>
                    <a:lnTo>
                      <a:pt x="7202" y="4242"/>
                    </a:lnTo>
                    <a:lnTo>
                      <a:pt x="7202" y="4183"/>
                    </a:lnTo>
                    <a:lnTo>
                      <a:pt x="7190" y="4099"/>
                    </a:lnTo>
                    <a:lnTo>
                      <a:pt x="7166" y="3957"/>
                    </a:lnTo>
                    <a:lnTo>
                      <a:pt x="7166" y="3921"/>
                    </a:lnTo>
                    <a:lnTo>
                      <a:pt x="7178" y="3909"/>
                    </a:lnTo>
                    <a:lnTo>
                      <a:pt x="7213" y="3909"/>
                    </a:lnTo>
                    <a:lnTo>
                      <a:pt x="7225" y="3981"/>
                    </a:lnTo>
                    <a:lnTo>
                      <a:pt x="7249" y="4028"/>
                    </a:lnTo>
                    <a:lnTo>
                      <a:pt x="7273" y="4064"/>
                    </a:lnTo>
                    <a:lnTo>
                      <a:pt x="7297" y="4076"/>
                    </a:lnTo>
                    <a:lnTo>
                      <a:pt x="7320" y="4064"/>
                    </a:lnTo>
                    <a:lnTo>
                      <a:pt x="7344" y="3945"/>
                    </a:lnTo>
                    <a:lnTo>
                      <a:pt x="7368" y="3802"/>
                    </a:lnTo>
                    <a:lnTo>
                      <a:pt x="7368" y="3767"/>
                    </a:lnTo>
                    <a:lnTo>
                      <a:pt x="7356" y="3755"/>
                    </a:lnTo>
                    <a:lnTo>
                      <a:pt x="7320" y="3755"/>
                    </a:lnTo>
                    <a:lnTo>
                      <a:pt x="7297" y="3743"/>
                    </a:lnTo>
                    <a:lnTo>
                      <a:pt x="7249" y="3731"/>
                    </a:lnTo>
                    <a:lnTo>
                      <a:pt x="7225" y="3755"/>
                    </a:lnTo>
                    <a:lnTo>
                      <a:pt x="7225" y="3826"/>
                    </a:lnTo>
                    <a:lnTo>
                      <a:pt x="7202" y="3862"/>
                    </a:lnTo>
                    <a:lnTo>
                      <a:pt x="7178" y="3862"/>
                    </a:lnTo>
                    <a:lnTo>
                      <a:pt x="7106" y="3850"/>
                    </a:lnTo>
                    <a:lnTo>
                      <a:pt x="7095" y="3862"/>
                    </a:lnTo>
                    <a:lnTo>
                      <a:pt x="7106" y="3886"/>
                    </a:lnTo>
                    <a:lnTo>
                      <a:pt x="7095" y="3897"/>
                    </a:lnTo>
                    <a:lnTo>
                      <a:pt x="6988" y="3886"/>
                    </a:lnTo>
                    <a:lnTo>
                      <a:pt x="6952" y="3897"/>
                    </a:lnTo>
                    <a:lnTo>
                      <a:pt x="6940" y="3921"/>
                    </a:lnTo>
                    <a:lnTo>
                      <a:pt x="6940" y="3957"/>
                    </a:lnTo>
                    <a:lnTo>
                      <a:pt x="6976" y="4004"/>
                    </a:lnTo>
                    <a:lnTo>
                      <a:pt x="6964" y="4028"/>
                    </a:lnTo>
                    <a:lnTo>
                      <a:pt x="6916" y="4016"/>
                    </a:lnTo>
                    <a:lnTo>
                      <a:pt x="6893" y="3981"/>
                    </a:lnTo>
                    <a:lnTo>
                      <a:pt x="6833" y="3969"/>
                    </a:lnTo>
                    <a:lnTo>
                      <a:pt x="6857" y="3874"/>
                    </a:lnTo>
                    <a:lnTo>
                      <a:pt x="6857" y="3838"/>
                    </a:lnTo>
                    <a:lnTo>
                      <a:pt x="6845" y="3814"/>
                    </a:lnTo>
                    <a:lnTo>
                      <a:pt x="6797" y="3779"/>
                    </a:lnTo>
                    <a:lnTo>
                      <a:pt x="6702" y="3755"/>
                    </a:lnTo>
                    <a:lnTo>
                      <a:pt x="6655" y="3707"/>
                    </a:lnTo>
                    <a:lnTo>
                      <a:pt x="6631" y="3600"/>
                    </a:lnTo>
                    <a:lnTo>
                      <a:pt x="6667" y="3517"/>
                    </a:lnTo>
                    <a:lnTo>
                      <a:pt x="6691" y="3505"/>
                    </a:lnTo>
                    <a:lnTo>
                      <a:pt x="6691" y="3470"/>
                    </a:lnTo>
                    <a:lnTo>
                      <a:pt x="6643" y="3410"/>
                    </a:lnTo>
                    <a:lnTo>
                      <a:pt x="6560" y="3410"/>
                    </a:lnTo>
                    <a:lnTo>
                      <a:pt x="6524" y="3434"/>
                    </a:lnTo>
                    <a:lnTo>
                      <a:pt x="6500" y="3434"/>
                    </a:lnTo>
                    <a:lnTo>
                      <a:pt x="6429" y="3422"/>
                    </a:lnTo>
                    <a:lnTo>
                      <a:pt x="6370" y="3386"/>
                    </a:lnTo>
                    <a:lnTo>
                      <a:pt x="6263" y="3386"/>
                    </a:lnTo>
                    <a:lnTo>
                      <a:pt x="6227" y="3386"/>
                    </a:lnTo>
                    <a:lnTo>
                      <a:pt x="6203" y="3410"/>
                    </a:lnTo>
                    <a:lnTo>
                      <a:pt x="6168" y="3410"/>
                    </a:lnTo>
                    <a:lnTo>
                      <a:pt x="6144" y="3386"/>
                    </a:lnTo>
                    <a:lnTo>
                      <a:pt x="6144" y="3327"/>
                    </a:lnTo>
                    <a:lnTo>
                      <a:pt x="6120" y="3303"/>
                    </a:lnTo>
                    <a:lnTo>
                      <a:pt x="6037" y="3303"/>
                    </a:lnTo>
                    <a:lnTo>
                      <a:pt x="6096" y="3327"/>
                    </a:lnTo>
                    <a:lnTo>
                      <a:pt x="6108" y="3386"/>
                    </a:lnTo>
                    <a:lnTo>
                      <a:pt x="6132" y="3422"/>
                    </a:lnTo>
                    <a:lnTo>
                      <a:pt x="6168" y="3434"/>
                    </a:lnTo>
                    <a:lnTo>
                      <a:pt x="6203" y="3434"/>
                    </a:lnTo>
                    <a:lnTo>
                      <a:pt x="6322" y="3410"/>
                    </a:lnTo>
                    <a:lnTo>
                      <a:pt x="6358" y="3410"/>
                    </a:lnTo>
                    <a:lnTo>
                      <a:pt x="6429" y="3470"/>
                    </a:lnTo>
                    <a:lnTo>
                      <a:pt x="6465" y="3482"/>
                    </a:lnTo>
                    <a:lnTo>
                      <a:pt x="6488" y="3482"/>
                    </a:lnTo>
                    <a:lnTo>
                      <a:pt x="6548" y="3446"/>
                    </a:lnTo>
                    <a:lnTo>
                      <a:pt x="6572" y="3458"/>
                    </a:lnTo>
                    <a:lnTo>
                      <a:pt x="6607" y="3493"/>
                    </a:lnTo>
                    <a:lnTo>
                      <a:pt x="6619" y="3517"/>
                    </a:lnTo>
                    <a:lnTo>
                      <a:pt x="6607" y="3529"/>
                    </a:lnTo>
                    <a:lnTo>
                      <a:pt x="6584" y="3505"/>
                    </a:lnTo>
                    <a:lnTo>
                      <a:pt x="6572" y="3505"/>
                    </a:lnTo>
                    <a:lnTo>
                      <a:pt x="6572" y="3517"/>
                    </a:lnTo>
                    <a:lnTo>
                      <a:pt x="6572" y="3588"/>
                    </a:lnTo>
                    <a:lnTo>
                      <a:pt x="6560" y="3695"/>
                    </a:lnTo>
                    <a:lnTo>
                      <a:pt x="6560" y="3755"/>
                    </a:lnTo>
                    <a:lnTo>
                      <a:pt x="6584" y="3802"/>
                    </a:lnTo>
                    <a:lnTo>
                      <a:pt x="6607" y="3850"/>
                    </a:lnTo>
                    <a:lnTo>
                      <a:pt x="6667" y="3874"/>
                    </a:lnTo>
                    <a:lnTo>
                      <a:pt x="6691" y="3945"/>
                    </a:lnTo>
                    <a:lnTo>
                      <a:pt x="6750" y="3933"/>
                    </a:lnTo>
                    <a:lnTo>
                      <a:pt x="6750" y="3957"/>
                    </a:lnTo>
                    <a:lnTo>
                      <a:pt x="6738" y="4004"/>
                    </a:lnTo>
                    <a:lnTo>
                      <a:pt x="6679" y="3993"/>
                    </a:lnTo>
                    <a:lnTo>
                      <a:pt x="6643" y="4016"/>
                    </a:lnTo>
                    <a:lnTo>
                      <a:pt x="6584" y="4099"/>
                    </a:lnTo>
                    <a:lnTo>
                      <a:pt x="6572" y="4171"/>
                    </a:lnTo>
                    <a:lnTo>
                      <a:pt x="6572" y="4254"/>
                    </a:lnTo>
                    <a:lnTo>
                      <a:pt x="6595" y="4432"/>
                    </a:lnTo>
                    <a:lnTo>
                      <a:pt x="6584" y="4456"/>
                    </a:lnTo>
                    <a:lnTo>
                      <a:pt x="6584" y="4468"/>
                    </a:lnTo>
                    <a:lnTo>
                      <a:pt x="6560" y="4468"/>
                    </a:lnTo>
                    <a:lnTo>
                      <a:pt x="6536" y="4420"/>
                    </a:lnTo>
                    <a:lnTo>
                      <a:pt x="6548" y="4361"/>
                    </a:lnTo>
                    <a:lnTo>
                      <a:pt x="6524" y="4254"/>
                    </a:lnTo>
                    <a:lnTo>
                      <a:pt x="6500" y="4242"/>
                    </a:lnTo>
                    <a:lnTo>
                      <a:pt x="6477" y="4254"/>
                    </a:lnTo>
                    <a:lnTo>
                      <a:pt x="6465" y="4301"/>
                    </a:lnTo>
                    <a:lnTo>
                      <a:pt x="6453" y="4408"/>
                    </a:lnTo>
                    <a:lnTo>
                      <a:pt x="6465" y="4456"/>
                    </a:lnTo>
                    <a:lnTo>
                      <a:pt x="6477" y="4515"/>
                    </a:lnTo>
                    <a:lnTo>
                      <a:pt x="6477" y="4527"/>
                    </a:lnTo>
                    <a:lnTo>
                      <a:pt x="6393" y="4551"/>
                    </a:lnTo>
                    <a:lnTo>
                      <a:pt x="6358" y="4575"/>
                    </a:lnTo>
                    <a:lnTo>
                      <a:pt x="6346" y="4610"/>
                    </a:lnTo>
                    <a:lnTo>
                      <a:pt x="6346" y="4646"/>
                    </a:lnTo>
                    <a:lnTo>
                      <a:pt x="6370" y="4694"/>
                    </a:lnTo>
                    <a:lnTo>
                      <a:pt x="6358" y="4717"/>
                    </a:lnTo>
                    <a:lnTo>
                      <a:pt x="6358" y="4741"/>
                    </a:lnTo>
                    <a:lnTo>
                      <a:pt x="6382" y="4753"/>
                    </a:lnTo>
                    <a:lnTo>
                      <a:pt x="6417" y="4765"/>
                    </a:lnTo>
                    <a:lnTo>
                      <a:pt x="6417" y="4777"/>
                    </a:lnTo>
                    <a:lnTo>
                      <a:pt x="6405" y="4801"/>
                    </a:lnTo>
                    <a:lnTo>
                      <a:pt x="6346" y="4801"/>
                    </a:lnTo>
                    <a:lnTo>
                      <a:pt x="6310" y="4824"/>
                    </a:lnTo>
                    <a:lnTo>
                      <a:pt x="6239" y="4836"/>
                    </a:lnTo>
                    <a:lnTo>
                      <a:pt x="6203" y="4896"/>
                    </a:lnTo>
                    <a:lnTo>
                      <a:pt x="6203" y="4908"/>
                    </a:lnTo>
                    <a:lnTo>
                      <a:pt x="6227" y="4955"/>
                    </a:lnTo>
                    <a:lnTo>
                      <a:pt x="6227" y="4991"/>
                    </a:lnTo>
                    <a:lnTo>
                      <a:pt x="6203" y="5003"/>
                    </a:lnTo>
                    <a:lnTo>
                      <a:pt x="6073" y="4991"/>
                    </a:lnTo>
                    <a:lnTo>
                      <a:pt x="6037" y="5015"/>
                    </a:lnTo>
                    <a:lnTo>
                      <a:pt x="5989" y="5050"/>
                    </a:lnTo>
                    <a:lnTo>
                      <a:pt x="5918" y="5050"/>
                    </a:lnTo>
                    <a:lnTo>
                      <a:pt x="5894" y="5086"/>
                    </a:lnTo>
                    <a:lnTo>
                      <a:pt x="5859" y="5110"/>
                    </a:lnTo>
                    <a:lnTo>
                      <a:pt x="5847" y="5157"/>
                    </a:lnTo>
                    <a:lnTo>
                      <a:pt x="5835" y="5276"/>
                    </a:lnTo>
                    <a:lnTo>
                      <a:pt x="5823" y="5478"/>
                    </a:lnTo>
                    <a:lnTo>
                      <a:pt x="5811" y="5490"/>
                    </a:lnTo>
                    <a:lnTo>
                      <a:pt x="5787" y="5490"/>
                    </a:lnTo>
                    <a:lnTo>
                      <a:pt x="5775" y="5478"/>
                    </a:lnTo>
                    <a:lnTo>
                      <a:pt x="5775" y="5430"/>
                    </a:lnTo>
                    <a:lnTo>
                      <a:pt x="5775" y="5323"/>
                    </a:lnTo>
                    <a:lnTo>
                      <a:pt x="5740" y="5323"/>
                    </a:lnTo>
                    <a:lnTo>
                      <a:pt x="5728" y="5347"/>
                    </a:lnTo>
                    <a:lnTo>
                      <a:pt x="5716" y="5371"/>
                    </a:lnTo>
                    <a:lnTo>
                      <a:pt x="5752" y="5430"/>
                    </a:lnTo>
                    <a:lnTo>
                      <a:pt x="5752" y="5478"/>
                    </a:lnTo>
                    <a:lnTo>
                      <a:pt x="5716" y="5490"/>
                    </a:lnTo>
                    <a:lnTo>
                      <a:pt x="5657" y="5526"/>
                    </a:lnTo>
                    <a:lnTo>
                      <a:pt x="5621" y="5537"/>
                    </a:lnTo>
                    <a:lnTo>
                      <a:pt x="5597" y="5573"/>
                    </a:lnTo>
                    <a:lnTo>
                      <a:pt x="5597" y="5597"/>
                    </a:lnTo>
                    <a:lnTo>
                      <a:pt x="5597" y="5632"/>
                    </a:lnTo>
                    <a:lnTo>
                      <a:pt x="5585" y="5680"/>
                    </a:lnTo>
                    <a:lnTo>
                      <a:pt x="5585" y="5704"/>
                    </a:lnTo>
                    <a:lnTo>
                      <a:pt x="5680" y="5751"/>
                    </a:lnTo>
                    <a:lnTo>
                      <a:pt x="5680" y="5775"/>
                    </a:lnTo>
                    <a:lnTo>
                      <a:pt x="5680" y="5787"/>
                    </a:lnTo>
                    <a:lnTo>
                      <a:pt x="5621" y="5799"/>
                    </a:lnTo>
                    <a:lnTo>
                      <a:pt x="5585" y="5811"/>
                    </a:lnTo>
                    <a:lnTo>
                      <a:pt x="5550" y="5858"/>
                    </a:lnTo>
                    <a:lnTo>
                      <a:pt x="5573" y="5930"/>
                    </a:lnTo>
                    <a:lnTo>
                      <a:pt x="5562" y="5953"/>
                    </a:lnTo>
                    <a:lnTo>
                      <a:pt x="5573" y="5965"/>
                    </a:lnTo>
                    <a:lnTo>
                      <a:pt x="5573" y="5977"/>
                    </a:lnTo>
                    <a:lnTo>
                      <a:pt x="5609" y="5941"/>
                    </a:lnTo>
                    <a:lnTo>
                      <a:pt x="5633" y="5941"/>
                    </a:lnTo>
                    <a:lnTo>
                      <a:pt x="5645" y="5930"/>
                    </a:lnTo>
                    <a:lnTo>
                      <a:pt x="5668" y="5918"/>
                    </a:lnTo>
                    <a:lnTo>
                      <a:pt x="5692" y="5918"/>
                    </a:lnTo>
                    <a:lnTo>
                      <a:pt x="5704" y="5930"/>
                    </a:lnTo>
                    <a:lnTo>
                      <a:pt x="5633" y="6060"/>
                    </a:lnTo>
                    <a:lnTo>
                      <a:pt x="5562" y="6155"/>
                    </a:lnTo>
                    <a:lnTo>
                      <a:pt x="5478" y="6286"/>
                    </a:lnTo>
                    <a:lnTo>
                      <a:pt x="5431" y="6369"/>
                    </a:lnTo>
                    <a:lnTo>
                      <a:pt x="5360" y="6548"/>
                    </a:lnTo>
                    <a:lnTo>
                      <a:pt x="5312" y="6726"/>
                    </a:lnTo>
                    <a:lnTo>
                      <a:pt x="5241" y="6928"/>
                    </a:lnTo>
                    <a:lnTo>
                      <a:pt x="5169" y="7106"/>
                    </a:lnTo>
                    <a:lnTo>
                      <a:pt x="5134" y="7189"/>
                    </a:lnTo>
                    <a:lnTo>
                      <a:pt x="5015" y="7332"/>
                    </a:lnTo>
                    <a:lnTo>
                      <a:pt x="4896" y="7486"/>
                    </a:lnTo>
                    <a:lnTo>
                      <a:pt x="4777" y="7593"/>
                    </a:lnTo>
                    <a:lnTo>
                      <a:pt x="4599" y="7772"/>
                    </a:lnTo>
                    <a:lnTo>
                      <a:pt x="4528" y="7843"/>
                    </a:lnTo>
                    <a:lnTo>
                      <a:pt x="4468" y="7879"/>
                    </a:lnTo>
                    <a:lnTo>
                      <a:pt x="4444" y="7902"/>
                    </a:lnTo>
                    <a:lnTo>
                      <a:pt x="4409" y="7938"/>
                    </a:lnTo>
                    <a:lnTo>
                      <a:pt x="4361" y="7974"/>
                    </a:lnTo>
                    <a:lnTo>
                      <a:pt x="4290" y="7914"/>
                    </a:lnTo>
                    <a:lnTo>
                      <a:pt x="4242" y="7831"/>
                    </a:lnTo>
                    <a:lnTo>
                      <a:pt x="4242" y="7688"/>
                    </a:lnTo>
                    <a:lnTo>
                      <a:pt x="4266" y="7546"/>
                    </a:lnTo>
                    <a:lnTo>
                      <a:pt x="4254" y="7546"/>
                    </a:lnTo>
                    <a:lnTo>
                      <a:pt x="4254" y="7463"/>
                    </a:lnTo>
                    <a:lnTo>
                      <a:pt x="4231" y="7320"/>
                    </a:lnTo>
                    <a:lnTo>
                      <a:pt x="4278" y="7225"/>
                    </a:lnTo>
                    <a:lnTo>
                      <a:pt x="4326" y="7177"/>
                    </a:lnTo>
                    <a:lnTo>
                      <a:pt x="4385" y="7094"/>
                    </a:lnTo>
                    <a:lnTo>
                      <a:pt x="4492" y="6999"/>
                    </a:lnTo>
                    <a:lnTo>
                      <a:pt x="4540" y="6999"/>
                    </a:lnTo>
                    <a:lnTo>
                      <a:pt x="4540" y="6928"/>
                    </a:lnTo>
                    <a:lnTo>
                      <a:pt x="4575" y="6880"/>
                    </a:lnTo>
                    <a:lnTo>
                      <a:pt x="4599" y="6833"/>
                    </a:lnTo>
                    <a:lnTo>
                      <a:pt x="4718" y="6785"/>
                    </a:lnTo>
                    <a:lnTo>
                      <a:pt x="4753" y="6773"/>
                    </a:lnTo>
                    <a:lnTo>
                      <a:pt x="4765" y="6761"/>
                    </a:lnTo>
                    <a:lnTo>
                      <a:pt x="4789" y="6738"/>
                    </a:lnTo>
                    <a:lnTo>
                      <a:pt x="4801" y="6750"/>
                    </a:lnTo>
                    <a:lnTo>
                      <a:pt x="4789" y="6773"/>
                    </a:lnTo>
                    <a:lnTo>
                      <a:pt x="4789" y="6821"/>
                    </a:lnTo>
                    <a:lnTo>
                      <a:pt x="4860" y="6904"/>
                    </a:lnTo>
                    <a:lnTo>
                      <a:pt x="4932" y="6952"/>
                    </a:lnTo>
                    <a:lnTo>
                      <a:pt x="4991" y="6928"/>
                    </a:lnTo>
                    <a:lnTo>
                      <a:pt x="5146" y="6654"/>
                    </a:lnTo>
                    <a:lnTo>
                      <a:pt x="5205" y="6500"/>
                    </a:lnTo>
                    <a:lnTo>
                      <a:pt x="5205" y="6464"/>
                    </a:lnTo>
                    <a:lnTo>
                      <a:pt x="5181" y="6429"/>
                    </a:lnTo>
                    <a:lnTo>
                      <a:pt x="5146" y="6357"/>
                    </a:lnTo>
                    <a:lnTo>
                      <a:pt x="5110" y="6286"/>
                    </a:lnTo>
                    <a:lnTo>
                      <a:pt x="5110" y="6215"/>
                    </a:lnTo>
                    <a:lnTo>
                      <a:pt x="5146" y="6120"/>
                    </a:lnTo>
                    <a:lnTo>
                      <a:pt x="5157" y="6096"/>
                    </a:lnTo>
                    <a:lnTo>
                      <a:pt x="5157" y="6072"/>
                    </a:lnTo>
                    <a:lnTo>
                      <a:pt x="5122" y="6084"/>
                    </a:lnTo>
                    <a:lnTo>
                      <a:pt x="5086" y="6084"/>
                    </a:lnTo>
                    <a:lnTo>
                      <a:pt x="5074" y="6108"/>
                    </a:lnTo>
                    <a:lnTo>
                      <a:pt x="5039" y="6120"/>
                    </a:lnTo>
                    <a:lnTo>
                      <a:pt x="5074" y="6132"/>
                    </a:lnTo>
                    <a:lnTo>
                      <a:pt x="5086" y="6143"/>
                    </a:lnTo>
                    <a:lnTo>
                      <a:pt x="5074" y="6155"/>
                    </a:lnTo>
                    <a:lnTo>
                      <a:pt x="5039" y="6155"/>
                    </a:lnTo>
                    <a:lnTo>
                      <a:pt x="5003" y="6191"/>
                    </a:lnTo>
                    <a:lnTo>
                      <a:pt x="4991" y="6250"/>
                    </a:lnTo>
                    <a:lnTo>
                      <a:pt x="4991" y="6298"/>
                    </a:lnTo>
                    <a:lnTo>
                      <a:pt x="5051" y="6310"/>
                    </a:lnTo>
                    <a:lnTo>
                      <a:pt x="5062" y="6334"/>
                    </a:lnTo>
                    <a:lnTo>
                      <a:pt x="5062" y="6369"/>
                    </a:lnTo>
                    <a:lnTo>
                      <a:pt x="4979" y="6429"/>
                    </a:lnTo>
                    <a:lnTo>
                      <a:pt x="4849" y="6452"/>
                    </a:lnTo>
                    <a:lnTo>
                      <a:pt x="4813" y="6476"/>
                    </a:lnTo>
                    <a:lnTo>
                      <a:pt x="4789" y="6500"/>
                    </a:lnTo>
                    <a:lnTo>
                      <a:pt x="4777" y="6571"/>
                    </a:lnTo>
                    <a:lnTo>
                      <a:pt x="4765" y="6595"/>
                    </a:lnTo>
                    <a:lnTo>
                      <a:pt x="4742" y="6595"/>
                    </a:lnTo>
                    <a:lnTo>
                      <a:pt x="4694" y="6619"/>
                    </a:lnTo>
                    <a:lnTo>
                      <a:pt x="4599" y="6607"/>
                    </a:lnTo>
                    <a:lnTo>
                      <a:pt x="4551" y="6631"/>
                    </a:lnTo>
                    <a:lnTo>
                      <a:pt x="4540" y="6619"/>
                    </a:lnTo>
                    <a:lnTo>
                      <a:pt x="4516" y="6595"/>
                    </a:lnTo>
                    <a:lnTo>
                      <a:pt x="4456" y="6595"/>
                    </a:lnTo>
                    <a:lnTo>
                      <a:pt x="4433" y="6559"/>
                    </a:lnTo>
                    <a:lnTo>
                      <a:pt x="4361" y="6524"/>
                    </a:lnTo>
                    <a:lnTo>
                      <a:pt x="4290" y="6441"/>
                    </a:lnTo>
                    <a:lnTo>
                      <a:pt x="4231" y="6417"/>
                    </a:lnTo>
                    <a:lnTo>
                      <a:pt x="4195" y="6381"/>
                    </a:lnTo>
                    <a:lnTo>
                      <a:pt x="4147" y="6310"/>
                    </a:lnTo>
                    <a:lnTo>
                      <a:pt x="4124" y="6191"/>
                    </a:lnTo>
                    <a:lnTo>
                      <a:pt x="4064" y="6084"/>
                    </a:lnTo>
                    <a:lnTo>
                      <a:pt x="4064" y="6048"/>
                    </a:lnTo>
                    <a:lnTo>
                      <a:pt x="4064" y="5989"/>
                    </a:lnTo>
                    <a:lnTo>
                      <a:pt x="4052" y="5965"/>
                    </a:lnTo>
                    <a:lnTo>
                      <a:pt x="3945" y="5930"/>
                    </a:lnTo>
                    <a:lnTo>
                      <a:pt x="3862" y="5799"/>
                    </a:lnTo>
                    <a:lnTo>
                      <a:pt x="3696" y="5811"/>
                    </a:lnTo>
                    <a:lnTo>
                      <a:pt x="3660" y="5799"/>
                    </a:lnTo>
                    <a:lnTo>
                      <a:pt x="3660" y="5787"/>
                    </a:lnTo>
                    <a:lnTo>
                      <a:pt x="3613" y="5751"/>
                    </a:lnTo>
                    <a:lnTo>
                      <a:pt x="3553" y="5668"/>
                    </a:lnTo>
                    <a:lnTo>
                      <a:pt x="3506" y="5644"/>
                    </a:lnTo>
                    <a:lnTo>
                      <a:pt x="3470" y="5585"/>
                    </a:lnTo>
                    <a:lnTo>
                      <a:pt x="3458" y="5585"/>
                    </a:lnTo>
                    <a:lnTo>
                      <a:pt x="3387" y="5514"/>
                    </a:lnTo>
                    <a:lnTo>
                      <a:pt x="3292" y="5466"/>
                    </a:lnTo>
                    <a:lnTo>
                      <a:pt x="3268" y="5442"/>
                    </a:lnTo>
                    <a:lnTo>
                      <a:pt x="3268" y="5419"/>
                    </a:lnTo>
                    <a:lnTo>
                      <a:pt x="3220" y="5312"/>
                    </a:lnTo>
                    <a:lnTo>
                      <a:pt x="3161" y="5228"/>
                    </a:lnTo>
                    <a:lnTo>
                      <a:pt x="3090" y="5217"/>
                    </a:lnTo>
                    <a:lnTo>
                      <a:pt x="3054" y="5217"/>
                    </a:lnTo>
                    <a:lnTo>
                      <a:pt x="2971" y="5217"/>
                    </a:lnTo>
                    <a:lnTo>
                      <a:pt x="2911" y="5193"/>
                    </a:lnTo>
                    <a:lnTo>
                      <a:pt x="2864" y="5145"/>
                    </a:lnTo>
                    <a:lnTo>
                      <a:pt x="2828" y="5133"/>
                    </a:lnTo>
                    <a:lnTo>
                      <a:pt x="2793" y="5086"/>
                    </a:lnTo>
                    <a:lnTo>
                      <a:pt x="2769" y="5086"/>
                    </a:lnTo>
                    <a:lnTo>
                      <a:pt x="2769" y="5074"/>
                    </a:lnTo>
                    <a:lnTo>
                      <a:pt x="2745" y="5074"/>
                    </a:lnTo>
                    <a:lnTo>
                      <a:pt x="2698" y="5038"/>
                    </a:lnTo>
                    <a:lnTo>
                      <a:pt x="2650" y="5050"/>
                    </a:lnTo>
                    <a:lnTo>
                      <a:pt x="2591" y="5038"/>
                    </a:lnTo>
                    <a:lnTo>
                      <a:pt x="2543" y="5003"/>
                    </a:lnTo>
                    <a:lnTo>
                      <a:pt x="2460" y="4919"/>
                    </a:lnTo>
                    <a:lnTo>
                      <a:pt x="2436" y="4884"/>
                    </a:lnTo>
                    <a:lnTo>
                      <a:pt x="2436" y="4884"/>
                    </a:lnTo>
                    <a:lnTo>
                      <a:pt x="2400" y="4789"/>
                    </a:lnTo>
                    <a:lnTo>
                      <a:pt x="2377" y="4729"/>
                    </a:lnTo>
                    <a:lnTo>
                      <a:pt x="2377" y="4706"/>
                    </a:lnTo>
                    <a:lnTo>
                      <a:pt x="2282" y="4670"/>
                    </a:lnTo>
                    <a:lnTo>
                      <a:pt x="2258" y="4622"/>
                    </a:lnTo>
                    <a:lnTo>
                      <a:pt x="2163" y="4539"/>
                    </a:lnTo>
                    <a:lnTo>
                      <a:pt x="2127" y="4515"/>
                    </a:lnTo>
                    <a:lnTo>
                      <a:pt x="2091" y="4515"/>
                    </a:lnTo>
                    <a:lnTo>
                      <a:pt x="2068" y="4527"/>
                    </a:lnTo>
                    <a:lnTo>
                      <a:pt x="2068" y="4575"/>
                    </a:lnTo>
                    <a:lnTo>
                      <a:pt x="2056" y="4587"/>
                    </a:lnTo>
                    <a:lnTo>
                      <a:pt x="2056" y="4622"/>
                    </a:lnTo>
                    <a:lnTo>
                      <a:pt x="2020" y="4670"/>
                    </a:lnTo>
                    <a:lnTo>
                      <a:pt x="1901" y="4753"/>
                    </a:lnTo>
                    <a:lnTo>
                      <a:pt x="1818" y="4777"/>
                    </a:lnTo>
                    <a:lnTo>
                      <a:pt x="1771" y="4801"/>
                    </a:lnTo>
                    <a:lnTo>
                      <a:pt x="1747" y="4801"/>
                    </a:lnTo>
                    <a:lnTo>
                      <a:pt x="1723" y="4789"/>
                    </a:lnTo>
                    <a:lnTo>
                      <a:pt x="1676" y="4789"/>
                    </a:lnTo>
                    <a:lnTo>
                      <a:pt x="1664" y="4753"/>
                    </a:lnTo>
                    <a:lnTo>
                      <a:pt x="1664" y="4706"/>
                    </a:lnTo>
                    <a:lnTo>
                      <a:pt x="1652" y="4670"/>
                    </a:lnTo>
                    <a:lnTo>
                      <a:pt x="1676" y="4599"/>
                    </a:lnTo>
                    <a:lnTo>
                      <a:pt x="1664" y="4539"/>
                    </a:lnTo>
                    <a:lnTo>
                      <a:pt x="1676" y="4480"/>
                    </a:lnTo>
                    <a:lnTo>
                      <a:pt x="1664" y="4456"/>
                    </a:lnTo>
                    <a:lnTo>
                      <a:pt x="1628" y="4397"/>
                    </a:lnTo>
                    <a:lnTo>
                      <a:pt x="1580" y="4361"/>
                    </a:lnTo>
                    <a:lnTo>
                      <a:pt x="1545" y="4313"/>
                    </a:lnTo>
                    <a:lnTo>
                      <a:pt x="1521" y="4254"/>
                    </a:lnTo>
                    <a:lnTo>
                      <a:pt x="1497" y="4218"/>
                    </a:lnTo>
                    <a:lnTo>
                      <a:pt x="1462" y="4206"/>
                    </a:lnTo>
                    <a:lnTo>
                      <a:pt x="1414" y="4147"/>
                    </a:lnTo>
                    <a:lnTo>
                      <a:pt x="1331" y="4099"/>
                    </a:lnTo>
                    <a:lnTo>
                      <a:pt x="1260" y="4004"/>
                    </a:lnTo>
                    <a:lnTo>
                      <a:pt x="1212" y="3969"/>
                    </a:lnTo>
                    <a:lnTo>
                      <a:pt x="1165" y="3897"/>
                    </a:lnTo>
                    <a:lnTo>
                      <a:pt x="1129" y="3874"/>
                    </a:lnTo>
                    <a:lnTo>
                      <a:pt x="1058" y="3838"/>
                    </a:lnTo>
                    <a:lnTo>
                      <a:pt x="1022" y="3814"/>
                    </a:lnTo>
                    <a:lnTo>
                      <a:pt x="998" y="3767"/>
                    </a:lnTo>
                    <a:lnTo>
                      <a:pt x="963" y="3731"/>
                    </a:lnTo>
                    <a:lnTo>
                      <a:pt x="891" y="3695"/>
                    </a:lnTo>
                    <a:lnTo>
                      <a:pt x="832" y="3624"/>
                    </a:lnTo>
                    <a:lnTo>
                      <a:pt x="808" y="3612"/>
                    </a:lnTo>
                    <a:lnTo>
                      <a:pt x="760" y="3612"/>
                    </a:lnTo>
                    <a:lnTo>
                      <a:pt x="689" y="3624"/>
                    </a:lnTo>
                    <a:lnTo>
                      <a:pt x="558" y="3672"/>
                    </a:lnTo>
                    <a:lnTo>
                      <a:pt x="523" y="3719"/>
                    </a:lnTo>
                    <a:lnTo>
                      <a:pt x="475" y="3826"/>
                    </a:lnTo>
                    <a:lnTo>
                      <a:pt x="416" y="3862"/>
                    </a:lnTo>
                    <a:lnTo>
                      <a:pt x="309" y="3862"/>
                    </a:lnTo>
                    <a:lnTo>
                      <a:pt x="261" y="3874"/>
                    </a:lnTo>
                    <a:lnTo>
                      <a:pt x="226" y="3874"/>
                    </a:lnTo>
                    <a:lnTo>
                      <a:pt x="154" y="3850"/>
                    </a:lnTo>
                    <a:lnTo>
                      <a:pt x="107" y="3826"/>
                    </a:lnTo>
                    <a:lnTo>
                      <a:pt x="59" y="3802"/>
                    </a:lnTo>
                    <a:lnTo>
                      <a:pt x="24" y="3779"/>
                    </a:lnTo>
                    <a:lnTo>
                      <a:pt x="0" y="3779"/>
                    </a:lnTo>
                    <a:lnTo>
                      <a:pt x="36" y="3743"/>
                    </a:lnTo>
                    <a:lnTo>
                      <a:pt x="143" y="3660"/>
                    </a:lnTo>
                    <a:lnTo>
                      <a:pt x="214" y="3565"/>
                    </a:lnTo>
                    <a:lnTo>
                      <a:pt x="261" y="3529"/>
                    </a:lnTo>
                    <a:lnTo>
                      <a:pt x="309" y="3470"/>
                    </a:lnTo>
                    <a:lnTo>
                      <a:pt x="321" y="3386"/>
                    </a:lnTo>
                    <a:lnTo>
                      <a:pt x="333" y="3327"/>
                    </a:lnTo>
                    <a:lnTo>
                      <a:pt x="356" y="3303"/>
                    </a:lnTo>
                    <a:lnTo>
                      <a:pt x="380" y="3279"/>
                    </a:lnTo>
                    <a:lnTo>
                      <a:pt x="428" y="3244"/>
                    </a:lnTo>
                    <a:lnTo>
                      <a:pt x="523" y="3232"/>
                    </a:lnTo>
                    <a:lnTo>
                      <a:pt x="558" y="3208"/>
                    </a:lnTo>
                    <a:lnTo>
                      <a:pt x="570" y="3196"/>
                    </a:lnTo>
                    <a:lnTo>
                      <a:pt x="713" y="2970"/>
                    </a:lnTo>
                    <a:lnTo>
                      <a:pt x="832" y="2875"/>
                    </a:lnTo>
                    <a:lnTo>
                      <a:pt x="856" y="2828"/>
                    </a:lnTo>
                    <a:lnTo>
                      <a:pt x="903" y="2733"/>
                    </a:lnTo>
                    <a:lnTo>
                      <a:pt x="951" y="2709"/>
                    </a:lnTo>
                    <a:lnTo>
                      <a:pt x="963" y="2697"/>
                    </a:lnTo>
                    <a:lnTo>
                      <a:pt x="986" y="2626"/>
                    </a:lnTo>
                    <a:lnTo>
                      <a:pt x="1010" y="2543"/>
                    </a:lnTo>
                    <a:lnTo>
                      <a:pt x="1034" y="2507"/>
                    </a:lnTo>
                    <a:lnTo>
                      <a:pt x="1093" y="2448"/>
                    </a:lnTo>
                    <a:lnTo>
                      <a:pt x="1141" y="2412"/>
                    </a:lnTo>
                    <a:lnTo>
                      <a:pt x="1200" y="2400"/>
                    </a:lnTo>
                    <a:lnTo>
                      <a:pt x="1224" y="2376"/>
                    </a:lnTo>
                    <a:lnTo>
                      <a:pt x="1260" y="2257"/>
                    </a:lnTo>
                    <a:lnTo>
                      <a:pt x="1319" y="2210"/>
                    </a:lnTo>
                    <a:lnTo>
                      <a:pt x="1343" y="2174"/>
                    </a:lnTo>
                    <a:lnTo>
                      <a:pt x="1367" y="2067"/>
                    </a:lnTo>
                    <a:lnTo>
                      <a:pt x="1390" y="2044"/>
                    </a:lnTo>
                    <a:lnTo>
                      <a:pt x="1474" y="2008"/>
                    </a:lnTo>
                    <a:lnTo>
                      <a:pt x="1497" y="1996"/>
                    </a:lnTo>
                    <a:lnTo>
                      <a:pt x="1569" y="1877"/>
                    </a:lnTo>
                    <a:lnTo>
                      <a:pt x="1664" y="1794"/>
                    </a:lnTo>
                    <a:lnTo>
                      <a:pt x="1664" y="1723"/>
                    </a:lnTo>
                    <a:lnTo>
                      <a:pt x="1699" y="1699"/>
                    </a:lnTo>
                    <a:lnTo>
                      <a:pt x="1794" y="1651"/>
                    </a:lnTo>
                    <a:lnTo>
                      <a:pt x="1794" y="1640"/>
                    </a:lnTo>
                    <a:lnTo>
                      <a:pt x="1794" y="1616"/>
                    </a:lnTo>
                    <a:lnTo>
                      <a:pt x="1794" y="1544"/>
                    </a:lnTo>
                    <a:lnTo>
                      <a:pt x="1806" y="1521"/>
                    </a:lnTo>
                    <a:lnTo>
                      <a:pt x="1830" y="1509"/>
                    </a:lnTo>
                    <a:lnTo>
                      <a:pt x="1901" y="1521"/>
                    </a:lnTo>
                    <a:lnTo>
                      <a:pt x="1925" y="1533"/>
                    </a:lnTo>
                    <a:lnTo>
                      <a:pt x="1973" y="1580"/>
                    </a:lnTo>
                    <a:lnTo>
                      <a:pt x="1985" y="1592"/>
                    </a:lnTo>
                    <a:lnTo>
                      <a:pt x="1996" y="1568"/>
                    </a:lnTo>
                    <a:lnTo>
                      <a:pt x="2008" y="1533"/>
                    </a:lnTo>
                    <a:lnTo>
                      <a:pt x="1996" y="1485"/>
                    </a:lnTo>
                    <a:lnTo>
                      <a:pt x="1913" y="1414"/>
                    </a:lnTo>
                    <a:lnTo>
                      <a:pt x="1901" y="1390"/>
                    </a:lnTo>
                    <a:lnTo>
                      <a:pt x="1925" y="1366"/>
                    </a:lnTo>
                    <a:lnTo>
                      <a:pt x="2032" y="1295"/>
                    </a:lnTo>
                    <a:lnTo>
                      <a:pt x="2080" y="1259"/>
                    </a:lnTo>
                    <a:lnTo>
                      <a:pt x="2127" y="1271"/>
                    </a:lnTo>
                    <a:lnTo>
                      <a:pt x="2139" y="1259"/>
                    </a:lnTo>
                    <a:lnTo>
                      <a:pt x="2198" y="1200"/>
                    </a:lnTo>
                    <a:lnTo>
                      <a:pt x="2246" y="1200"/>
                    </a:lnTo>
                    <a:lnTo>
                      <a:pt x="2317" y="1105"/>
                    </a:lnTo>
                    <a:lnTo>
                      <a:pt x="2317" y="1045"/>
                    </a:lnTo>
                    <a:lnTo>
                      <a:pt x="2341" y="986"/>
                    </a:lnTo>
                    <a:lnTo>
                      <a:pt x="2377" y="962"/>
                    </a:lnTo>
                    <a:lnTo>
                      <a:pt x="2436" y="950"/>
                    </a:lnTo>
                    <a:lnTo>
                      <a:pt x="2496" y="915"/>
                    </a:lnTo>
                    <a:lnTo>
                      <a:pt x="2519" y="915"/>
                    </a:lnTo>
                    <a:lnTo>
                      <a:pt x="2531" y="926"/>
                    </a:lnTo>
                    <a:lnTo>
                      <a:pt x="2555" y="938"/>
                    </a:lnTo>
                    <a:lnTo>
                      <a:pt x="2567" y="926"/>
                    </a:lnTo>
                    <a:lnTo>
                      <a:pt x="2567" y="891"/>
                    </a:lnTo>
                    <a:lnTo>
                      <a:pt x="2591" y="879"/>
                    </a:lnTo>
                    <a:lnTo>
                      <a:pt x="2614" y="891"/>
                    </a:lnTo>
                    <a:lnTo>
                      <a:pt x="2650" y="891"/>
                    </a:lnTo>
                    <a:lnTo>
                      <a:pt x="2650" y="867"/>
                    </a:lnTo>
                    <a:lnTo>
                      <a:pt x="2614" y="843"/>
                    </a:lnTo>
                    <a:lnTo>
                      <a:pt x="2614" y="808"/>
                    </a:lnTo>
                    <a:lnTo>
                      <a:pt x="2614" y="796"/>
                    </a:lnTo>
                    <a:lnTo>
                      <a:pt x="2650" y="784"/>
                    </a:lnTo>
                    <a:lnTo>
                      <a:pt x="2698" y="796"/>
                    </a:lnTo>
                    <a:lnTo>
                      <a:pt x="2721" y="784"/>
                    </a:lnTo>
                    <a:lnTo>
                      <a:pt x="2745" y="784"/>
                    </a:lnTo>
                    <a:lnTo>
                      <a:pt x="2757" y="784"/>
                    </a:lnTo>
                    <a:lnTo>
                      <a:pt x="2804" y="629"/>
                    </a:lnTo>
                    <a:lnTo>
                      <a:pt x="2828" y="594"/>
                    </a:lnTo>
                    <a:lnTo>
                      <a:pt x="2876" y="570"/>
                    </a:lnTo>
                    <a:lnTo>
                      <a:pt x="2900" y="511"/>
                    </a:lnTo>
                    <a:lnTo>
                      <a:pt x="2900" y="499"/>
                    </a:lnTo>
                    <a:lnTo>
                      <a:pt x="2923" y="511"/>
                    </a:lnTo>
                    <a:lnTo>
                      <a:pt x="2935" y="546"/>
                    </a:lnTo>
                    <a:lnTo>
                      <a:pt x="2971" y="558"/>
                    </a:lnTo>
                    <a:lnTo>
                      <a:pt x="2995" y="546"/>
                    </a:lnTo>
                    <a:lnTo>
                      <a:pt x="3030" y="546"/>
                    </a:lnTo>
                    <a:lnTo>
                      <a:pt x="3054" y="546"/>
                    </a:lnTo>
                    <a:lnTo>
                      <a:pt x="3054" y="522"/>
                    </a:lnTo>
                    <a:lnTo>
                      <a:pt x="3042" y="511"/>
                    </a:lnTo>
                    <a:lnTo>
                      <a:pt x="3042" y="511"/>
                    </a:lnTo>
                    <a:lnTo>
                      <a:pt x="3042" y="487"/>
                    </a:lnTo>
                    <a:lnTo>
                      <a:pt x="3066" y="487"/>
                    </a:lnTo>
                    <a:lnTo>
                      <a:pt x="3102" y="499"/>
                    </a:lnTo>
                    <a:lnTo>
                      <a:pt x="3113" y="487"/>
                    </a:lnTo>
                    <a:lnTo>
                      <a:pt x="3137" y="427"/>
                    </a:lnTo>
                    <a:lnTo>
                      <a:pt x="3149" y="404"/>
                    </a:lnTo>
                    <a:lnTo>
                      <a:pt x="3173" y="404"/>
                    </a:lnTo>
                    <a:lnTo>
                      <a:pt x="3209" y="439"/>
                    </a:lnTo>
                    <a:lnTo>
                      <a:pt x="3256" y="427"/>
                    </a:lnTo>
                    <a:lnTo>
                      <a:pt x="3280" y="427"/>
                    </a:lnTo>
                    <a:lnTo>
                      <a:pt x="3292" y="427"/>
                    </a:lnTo>
                    <a:lnTo>
                      <a:pt x="3292" y="415"/>
                    </a:lnTo>
                    <a:lnTo>
                      <a:pt x="3256" y="392"/>
                    </a:lnTo>
                    <a:lnTo>
                      <a:pt x="3256" y="368"/>
                    </a:lnTo>
                    <a:lnTo>
                      <a:pt x="3280" y="356"/>
                    </a:lnTo>
                    <a:lnTo>
                      <a:pt x="3339" y="368"/>
                    </a:lnTo>
                    <a:lnTo>
                      <a:pt x="3387" y="415"/>
                    </a:lnTo>
                    <a:lnTo>
                      <a:pt x="3399" y="415"/>
                    </a:lnTo>
                    <a:lnTo>
                      <a:pt x="3411" y="404"/>
                    </a:lnTo>
                    <a:lnTo>
                      <a:pt x="3399" y="368"/>
                    </a:lnTo>
                    <a:lnTo>
                      <a:pt x="3399" y="356"/>
                    </a:lnTo>
                    <a:lnTo>
                      <a:pt x="3411" y="356"/>
                    </a:lnTo>
                    <a:lnTo>
                      <a:pt x="3446" y="380"/>
                    </a:lnTo>
                    <a:lnTo>
                      <a:pt x="3458" y="380"/>
                    </a:lnTo>
                    <a:lnTo>
                      <a:pt x="3482" y="344"/>
                    </a:lnTo>
                    <a:lnTo>
                      <a:pt x="3529" y="320"/>
                    </a:lnTo>
                    <a:lnTo>
                      <a:pt x="3541" y="309"/>
                    </a:lnTo>
                    <a:lnTo>
                      <a:pt x="3553" y="213"/>
                    </a:lnTo>
                    <a:lnTo>
                      <a:pt x="3565" y="178"/>
                    </a:lnTo>
                    <a:lnTo>
                      <a:pt x="3589" y="178"/>
                    </a:lnTo>
                    <a:lnTo>
                      <a:pt x="3601" y="213"/>
                    </a:lnTo>
                    <a:lnTo>
                      <a:pt x="3636" y="213"/>
                    </a:lnTo>
                    <a:lnTo>
                      <a:pt x="3696" y="190"/>
                    </a:lnTo>
                    <a:lnTo>
                      <a:pt x="3755" y="130"/>
                    </a:lnTo>
                    <a:lnTo>
                      <a:pt x="3779" y="130"/>
                    </a:lnTo>
                    <a:lnTo>
                      <a:pt x="3803" y="118"/>
                    </a:lnTo>
                    <a:lnTo>
                      <a:pt x="3827" y="83"/>
                    </a:lnTo>
                    <a:lnTo>
                      <a:pt x="3874" y="83"/>
                    </a:lnTo>
                    <a:lnTo>
                      <a:pt x="3910" y="59"/>
                    </a:lnTo>
                    <a:lnTo>
                      <a:pt x="3922" y="59"/>
                    </a:lnTo>
                    <a:lnTo>
                      <a:pt x="3981" y="83"/>
                    </a:lnTo>
                    <a:lnTo>
                      <a:pt x="4088" y="95"/>
                    </a:lnTo>
                    <a:lnTo>
                      <a:pt x="4147" y="130"/>
                    </a:lnTo>
                    <a:lnTo>
                      <a:pt x="4171" y="107"/>
                    </a:lnTo>
                    <a:lnTo>
                      <a:pt x="4195" y="95"/>
                    </a:lnTo>
                    <a:lnTo>
                      <a:pt x="4278" y="107"/>
                    </a:lnTo>
                    <a:lnTo>
                      <a:pt x="4290" y="95"/>
                    </a:lnTo>
                    <a:lnTo>
                      <a:pt x="4302" y="59"/>
                    </a:lnTo>
                    <a:lnTo>
                      <a:pt x="4338" y="47"/>
                    </a:lnTo>
                    <a:lnTo>
                      <a:pt x="4385" y="35"/>
                    </a:lnTo>
                    <a:lnTo>
                      <a:pt x="4421" y="0"/>
                    </a:lnTo>
                    <a:lnTo>
                      <a:pt x="4444" y="0"/>
                    </a:lnTo>
                    <a:lnTo>
                      <a:pt x="4468" y="35"/>
                    </a:lnTo>
                    <a:lnTo>
                      <a:pt x="4492" y="47"/>
                    </a:lnTo>
                    <a:lnTo>
                      <a:pt x="4504" y="71"/>
                    </a:lnTo>
                    <a:lnTo>
                      <a:pt x="4504" y="95"/>
                    </a:lnTo>
                    <a:lnTo>
                      <a:pt x="4492" y="118"/>
                    </a:lnTo>
                    <a:lnTo>
                      <a:pt x="4492" y="142"/>
                    </a:lnTo>
                    <a:lnTo>
                      <a:pt x="4528" y="142"/>
                    </a:lnTo>
                    <a:lnTo>
                      <a:pt x="4575" y="107"/>
                    </a:lnTo>
                    <a:lnTo>
                      <a:pt x="4623" y="118"/>
                    </a:lnTo>
                    <a:lnTo>
                      <a:pt x="4646" y="95"/>
                    </a:lnTo>
                    <a:lnTo>
                      <a:pt x="4670" y="59"/>
                    </a:lnTo>
                    <a:lnTo>
                      <a:pt x="4682" y="59"/>
                    </a:lnTo>
                    <a:lnTo>
                      <a:pt x="4694" y="71"/>
                    </a:lnTo>
                    <a:lnTo>
                      <a:pt x="4694" y="107"/>
                    </a:lnTo>
                    <a:lnTo>
                      <a:pt x="4718" y="118"/>
                    </a:lnTo>
                    <a:lnTo>
                      <a:pt x="4753" y="71"/>
                    </a:lnTo>
                    <a:lnTo>
                      <a:pt x="4753" y="11"/>
                    </a:lnTo>
                    <a:lnTo>
                      <a:pt x="4777" y="0"/>
                    </a:lnTo>
                    <a:lnTo>
                      <a:pt x="4813" y="0"/>
                    </a:lnTo>
                    <a:lnTo>
                      <a:pt x="4825" y="23"/>
                    </a:lnTo>
                    <a:lnTo>
                      <a:pt x="4825" y="71"/>
                    </a:lnTo>
                    <a:lnTo>
                      <a:pt x="4860" y="95"/>
                    </a:lnTo>
                    <a:lnTo>
                      <a:pt x="4860" y="107"/>
                    </a:lnTo>
                    <a:lnTo>
                      <a:pt x="4849" y="130"/>
                    </a:lnTo>
                    <a:lnTo>
                      <a:pt x="4860" y="142"/>
                    </a:lnTo>
                    <a:lnTo>
                      <a:pt x="4872" y="142"/>
                    </a:lnTo>
                    <a:lnTo>
                      <a:pt x="4872" y="118"/>
                    </a:lnTo>
                    <a:lnTo>
                      <a:pt x="4884" y="107"/>
                    </a:lnTo>
                    <a:lnTo>
                      <a:pt x="4896" y="107"/>
                    </a:lnTo>
                    <a:lnTo>
                      <a:pt x="4920" y="130"/>
                    </a:lnTo>
                    <a:lnTo>
                      <a:pt x="4991" y="107"/>
                    </a:lnTo>
                    <a:lnTo>
                      <a:pt x="5015" y="130"/>
                    </a:lnTo>
                    <a:lnTo>
                      <a:pt x="5074" y="118"/>
                    </a:lnTo>
                    <a:lnTo>
                      <a:pt x="5098" y="142"/>
                    </a:lnTo>
                    <a:lnTo>
                      <a:pt x="5098" y="178"/>
                    </a:lnTo>
                    <a:lnTo>
                      <a:pt x="5110" y="190"/>
                    </a:lnTo>
                    <a:lnTo>
                      <a:pt x="5122" y="190"/>
                    </a:lnTo>
                    <a:lnTo>
                      <a:pt x="5134" y="178"/>
                    </a:lnTo>
                    <a:lnTo>
                      <a:pt x="5146" y="178"/>
                    </a:lnTo>
                    <a:lnTo>
                      <a:pt x="5157" y="225"/>
                    </a:lnTo>
                    <a:lnTo>
                      <a:pt x="5181" y="237"/>
                    </a:lnTo>
                    <a:lnTo>
                      <a:pt x="5181" y="225"/>
                    </a:lnTo>
                    <a:lnTo>
                      <a:pt x="5193" y="178"/>
                    </a:lnTo>
                    <a:lnTo>
                      <a:pt x="5264" y="202"/>
                    </a:lnTo>
                    <a:lnTo>
                      <a:pt x="5312" y="202"/>
                    </a:lnTo>
                    <a:lnTo>
                      <a:pt x="5348" y="213"/>
                    </a:lnTo>
                    <a:lnTo>
                      <a:pt x="5360" y="202"/>
                    </a:lnTo>
                    <a:lnTo>
                      <a:pt x="5383" y="213"/>
                    </a:lnTo>
                    <a:lnTo>
                      <a:pt x="5395" y="202"/>
                    </a:lnTo>
                    <a:lnTo>
                      <a:pt x="5407" y="166"/>
                    </a:lnTo>
                    <a:lnTo>
                      <a:pt x="5419" y="166"/>
                    </a:lnTo>
                    <a:lnTo>
                      <a:pt x="5431" y="178"/>
                    </a:lnTo>
                    <a:lnTo>
                      <a:pt x="5431" y="225"/>
                    </a:lnTo>
                    <a:lnTo>
                      <a:pt x="5455" y="249"/>
                    </a:lnTo>
                    <a:lnTo>
                      <a:pt x="5455" y="249"/>
                    </a:lnTo>
                    <a:lnTo>
                      <a:pt x="5466" y="237"/>
                    </a:lnTo>
                    <a:lnTo>
                      <a:pt x="5466" y="213"/>
                    </a:lnTo>
                    <a:lnTo>
                      <a:pt x="5478" y="202"/>
                    </a:lnTo>
                    <a:lnTo>
                      <a:pt x="5490" y="249"/>
                    </a:lnTo>
                    <a:lnTo>
                      <a:pt x="5502" y="261"/>
                    </a:lnTo>
                    <a:lnTo>
                      <a:pt x="5526" y="261"/>
                    </a:lnTo>
                    <a:lnTo>
                      <a:pt x="5538" y="285"/>
                    </a:lnTo>
                    <a:lnTo>
                      <a:pt x="5550" y="285"/>
                    </a:lnTo>
                    <a:lnTo>
                      <a:pt x="5562" y="273"/>
                    </a:lnTo>
                    <a:lnTo>
                      <a:pt x="5562" y="225"/>
                    </a:lnTo>
                    <a:lnTo>
                      <a:pt x="5585" y="213"/>
                    </a:lnTo>
                    <a:lnTo>
                      <a:pt x="5609" y="213"/>
                    </a:lnTo>
                    <a:lnTo>
                      <a:pt x="5621" y="225"/>
                    </a:lnTo>
                    <a:lnTo>
                      <a:pt x="5609" y="249"/>
                    </a:lnTo>
                    <a:lnTo>
                      <a:pt x="5609" y="261"/>
                    </a:lnTo>
                    <a:lnTo>
                      <a:pt x="5633" y="261"/>
                    </a:lnTo>
                    <a:lnTo>
                      <a:pt x="5657" y="297"/>
                    </a:lnTo>
                    <a:lnTo>
                      <a:pt x="5668" y="297"/>
                    </a:lnTo>
                    <a:lnTo>
                      <a:pt x="5680" y="249"/>
                    </a:lnTo>
                    <a:lnTo>
                      <a:pt x="5692" y="249"/>
                    </a:lnTo>
                    <a:lnTo>
                      <a:pt x="5728" y="273"/>
                    </a:lnTo>
                    <a:lnTo>
                      <a:pt x="5740" y="249"/>
                    </a:lnTo>
                    <a:lnTo>
                      <a:pt x="5752" y="249"/>
                    </a:lnTo>
                    <a:lnTo>
                      <a:pt x="5775" y="261"/>
                    </a:lnTo>
                    <a:lnTo>
                      <a:pt x="5775" y="285"/>
                    </a:lnTo>
                    <a:lnTo>
                      <a:pt x="5799" y="309"/>
                    </a:lnTo>
                    <a:lnTo>
                      <a:pt x="5871" y="309"/>
                    </a:lnTo>
                    <a:lnTo>
                      <a:pt x="5882" y="344"/>
                    </a:lnTo>
                    <a:lnTo>
                      <a:pt x="5930" y="368"/>
                    </a:lnTo>
                    <a:lnTo>
                      <a:pt x="5918" y="380"/>
                    </a:lnTo>
                    <a:lnTo>
                      <a:pt x="5894" y="392"/>
                    </a:lnTo>
                    <a:lnTo>
                      <a:pt x="5906" y="404"/>
                    </a:lnTo>
                    <a:lnTo>
                      <a:pt x="5942" y="415"/>
                    </a:lnTo>
                    <a:lnTo>
                      <a:pt x="5954" y="463"/>
                    </a:lnTo>
                    <a:lnTo>
                      <a:pt x="5977" y="463"/>
                    </a:lnTo>
                    <a:lnTo>
                      <a:pt x="6013" y="511"/>
                    </a:lnTo>
                    <a:lnTo>
                      <a:pt x="6061" y="499"/>
                    </a:lnTo>
                    <a:lnTo>
                      <a:pt x="6084" y="522"/>
                    </a:lnTo>
                    <a:lnTo>
                      <a:pt x="6096" y="522"/>
                    </a:lnTo>
                    <a:lnTo>
                      <a:pt x="6120" y="511"/>
                    </a:lnTo>
                    <a:lnTo>
                      <a:pt x="6168" y="511"/>
                    </a:lnTo>
                    <a:lnTo>
                      <a:pt x="6203" y="499"/>
                    </a:lnTo>
                    <a:lnTo>
                      <a:pt x="6215" y="534"/>
                    </a:lnTo>
                    <a:lnTo>
                      <a:pt x="6227" y="546"/>
                    </a:lnTo>
                    <a:lnTo>
                      <a:pt x="6239" y="534"/>
                    </a:lnTo>
                    <a:lnTo>
                      <a:pt x="6251" y="499"/>
                    </a:lnTo>
                    <a:lnTo>
                      <a:pt x="6263" y="499"/>
                    </a:lnTo>
                    <a:lnTo>
                      <a:pt x="6275" y="511"/>
                    </a:lnTo>
                    <a:lnTo>
                      <a:pt x="6263" y="558"/>
                    </a:lnTo>
                    <a:lnTo>
                      <a:pt x="6275" y="582"/>
                    </a:lnTo>
                    <a:lnTo>
                      <a:pt x="6286" y="570"/>
                    </a:lnTo>
                    <a:lnTo>
                      <a:pt x="6298" y="546"/>
                    </a:lnTo>
                    <a:lnTo>
                      <a:pt x="6310" y="546"/>
                    </a:lnTo>
                    <a:lnTo>
                      <a:pt x="6346" y="594"/>
                    </a:lnTo>
                    <a:lnTo>
                      <a:pt x="6405" y="570"/>
                    </a:lnTo>
                    <a:lnTo>
                      <a:pt x="6417" y="582"/>
                    </a:lnTo>
                    <a:lnTo>
                      <a:pt x="6488" y="689"/>
                    </a:lnTo>
                    <a:lnTo>
                      <a:pt x="6524" y="689"/>
                    </a:lnTo>
                    <a:lnTo>
                      <a:pt x="6536" y="677"/>
                    </a:lnTo>
                    <a:lnTo>
                      <a:pt x="6548" y="677"/>
                    </a:lnTo>
                    <a:lnTo>
                      <a:pt x="6560" y="689"/>
                    </a:lnTo>
                    <a:lnTo>
                      <a:pt x="6560" y="713"/>
                    </a:lnTo>
                    <a:lnTo>
                      <a:pt x="6607" y="736"/>
                    </a:lnTo>
                    <a:lnTo>
                      <a:pt x="6643" y="796"/>
                    </a:lnTo>
                    <a:lnTo>
                      <a:pt x="6679" y="820"/>
                    </a:lnTo>
                    <a:lnTo>
                      <a:pt x="6762" y="867"/>
                    </a:lnTo>
                    <a:lnTo>
                      <a:pt x="6809" y="903"/>
                    </a:lnTo>
                    <a:lnTo>
                      <a:pt x="6928" y="1033"/>
                    </a:lnTo>
                    <a:lnTo>
                      <a:pt x="6988" y="1093"/>
                    </a:lnTo>
                    <a:lnTo>
                      <a:pt x="7023" y="1105"/>
                    </a:lnTo>
                    <a:lnTo>
                      <a:pt x="7047" y="1140"/>
                    </a:lnTo>
                    <a:lnTo>
                      <a:pt x="7047" y="1200"/>
                    </a:lnTo>
                    <a:lnTo>
                      <a:pt x="7059" y="1224"/>
                    </a:lnTo>
                    <a:lnTo>
                      <a:pt x="7166" y="1307"/>
                    </a:lnTo>
                    <a:lnTo>
                      <a:pt x="7213" y="1402"/>
                    </a:lnTo>
                    <a:lnTo>
                      <a:pt x="7332" y="1592"/>
                    </a:lnTo>
                    <a:lnTo>
                      <a:pt x="7451" y="1640"/>
                    </a:lnTo>
                    <a:lnTo>
                      <a:pt x="7499" y="1628"/>
                    </a:lnTo>
                    <a:lnTo>
                      <a:pt x="7546" y="1640"/>
                    </a:lnTo>
                    <a:lnTo>
                      <a:pt x="7570" y="1628"/>
                    </a:lnTo>
                    <a:lnTo>
                      <a:pt x="7629" y="1651"/>
                    </a:lnTo>
                    <a:lnTo>
                      <a:pt x="7701" y="1651"/>
                    </a:lnTo>
                    <a:lnTo>
                      <a:pt x="7748" y="1663"/>
                    </a:lnTo>
                    <a:lnTo>
                      <a:pt x="7819" y="1735"/>
                    </a:lnTo>
                    <a:lnTo>
                      <a:pt x="7831" y="1723"/>
                    </a:lnTo>
                    <a:lnTo>
                      <a:pt x="7831" y="1699"/>
                    </a:lnTo>
                    <a:lnTo>
                      <a:pt x="7915" y="1711"/>
                    </a:lnTo>
                    <a:lnTo>
                      <a:pt x="7998" y="1699"/>
                    </a:lnTo>
                    <a:lnTo>
                      <a:pt x="8021" y="1699"/>
                    </a:lnTo>
                    <a:lnTo>
                      <a:pt x="8033" y="1711"/>
                    </a:lnTo>
                    <a:lnTo>
                      <a:pt x="8081" y="1687"/>
                    </a:lnTo>
                    <a:lnTo>
                      <a:pt x="8105" y="1675"/>
                    </a:lnTo>
                    <a:lnTo>
                      <a:pt x="8128" y="1699"/>
                    </a:lnTo>
                    <a:lnTo>
                      <a:pt x="8140" y="1746"/>
                    </a:lnTo>
                    <a:lnTo>
                      <a:pt x="8176" y="1746"/>
                    </a:lnTo>
                    <a:lnTo>
                      <a:pt x="8235" y="1711"/>
                    </a:lnTo>
                    <a:lnTo>
                      <a:pt x="8235" y="1770"/>
                    </a:lnTo>
                    <a:lnTo>
                      <a:pt x="8271" y="1818"/>
                    </a:lnTo>
                    <a:lnTo>
                      <a:pt x="8330" y="1853"/>
                    </a:lnTo>
                    <a:lnTo>
                      <a:pt x="8354" y="1889"/>
                    </a:lnTo>
                    <a:lnTo>
                      <a:pt x="8354" y="1901"/>
                    </a:lnTo>
                    <a:lnTo>
                      <a:pt x="8342" y="1913"/>
                    </a:lnTo>
                    <a:lnTo>
                      <a:pt x="8319" y="1913"/>
                    </a:lnTo>
                    <a:lnTo>
                      <a:pt x="8235" y="1901"/>
                    </a:lnTo>
                    <a:lnTo>
                      <a:pt x="8200" y="1925"/>
                    </a:lnTo>
                    <a:lnTo>
                      <a:pt x="8188" y="1948"/>
                    </a:lnTo>
                    <a:lnTo>
                      <a:pt x="8188" y="1960"/>
                    </a:lnTo>
                    <a:lnTo>
                      <a:pt x="8235" y="2008"/>
                    </a:lnTo>
                    <a:lnTo>
                      <a:pt x="8224" y="2032"/>
                    </a:lnTo>
                    <a:lnTo>
                      <a:pt x="8212" y="2044"/>
                    </a:lnTo>
                    <a:lnTo>
                      <a:pt x="8188" y="2032"/>
                    </a:lnTo>
                    <a:lnTo>
                      <a:pt x="8152" y="1984"/>
                    </a:lnTo>
                    <a:lnTo>
                      <a:pt x="8128" y="1984"/>
                    </a:lnTo>
                    <a:lnTo>
                      <a:pt x="8105" y="2008"/>
                    </a:lnTo>
                    <a:lnTo>
                      <a:pt x="8045" y="2115"/>
                    </a:lnTo>
                    <a:lnTo>
                      <a:pt x="8057" y="2186"/>
                    </a:lnTo>
                    <a:lnTo>
                      <a:pt x="8033" y="2234"/>
                    </a:lnTo>
                    <a:lnTo>
                      <a:pt x="8045" y="2341"/>
                    </a:lnTo>
                    <a:lnTo>
                      <a:pt x="8033" y="2412"/>
                    </a:lnTo>
                    <a:lnTo>
                      <a:pt x="7998" y="2471"/>
                    </a:lnTo>
                    <a:lnTo>
                      <a:pt x="7950" y="2471"/>
                    </a:lnTo>
                    <a:lnTo>
                      <a:pt x="7950" y="2459"/>
                    </a:lnTo>
                    <a:lnTo>
                      <a:pt x="7915" y="2471"/>
                    </a:lnTo>
                    <a:lnTo>
                      <a:pt x="7879" y="2543"/>
                    </a:lnTo>
                    <a:lnTo>
                      <a:pt x="7855" y="2555"/>
                    </a:lnTo>
                    <a:lnTo>
                      <a:pt x="7831" y="2590"/>
                    </a:lnTo>
                    <a:lnTo>
                      <a:pt x="7843" y="2626"/>
                    </a:lnTo>
                    <a:lnTo>
                      <a:pt x="7819" y="2685"/>
                    </a:lnTo>
                    <a:lnTo>
                      <a:pt x="7867" y="2709"/>
                    </a:lnTo>
                    <a:lnTo>
                      <a:pt x="7891" y="2768"/>
                    </a:lnTo>
                    <a:lnTo>
                      <a:pt x="7915" y="2780"/>
                    </a:lnTo>
                    <a:lnTo>
                      <a:pt x="7938" y="2768"/>
                    </a:lnTo>
                    <a:lnTo>
                      <a:pt x="7903" y="2697"/>
                    </a:lnTo>
                    <a:lnTo>
                      <a:pt x="7903" y="2662"/>
                    </a:lnTo>
                    <a:lnTo>
                      <a:pt x="7915" y="2650"/>
                    </a:lnTo>
                    <a:lnTo>
                      <a:pt x="7974" y="2626"/>
                    </a:lnTo>
                    <a:lnTo>
                      <a:pt x="7986" y="2614"/>
                    </a:lnTo>
                    <a:lnTo>
                      <a:pt x="8069" y="2602"/>
                    </a:lnTo>
                    <a:lnTo>
                      <a:pt x="8069" y="2590"/>
                    </a:lnTo>
                    <a:lnTo>
                      <a:pt x="8117" y="2626"/>
                    </a:lnTo>
                    <a:lnTo>
                      <a:pt x="8140" y="2673"/>
                    </a:lnTo>
                    <a:lnTo>
                      <a:pt x="8164" y="2685"/>
                    </a:lnTo>
                    <a:lnTo>
                      <a:pt x="8188" y="2697"/>
                    </a:lnTo>
                    <a:lnTo>
                      <a:pt x="8271" y="269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12" name="Freeform 178"/>
              <p:cNvSpPr>
                <a:spLocks/>
              </p:cNvSpPr>
              <p:nvPr/>
            </p:nvSpPr>
            <p:spPr bwMode="auto">
              <a:xfrm>
                <a:off x="11217275" y="33982025"/>
                <a:ext cx="38100" cy="1143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4"/>
                  </a:cxn>
                  <a:cxn ang="0">
                    <a:pos x="12" y="72"/>
                  </a:cxn>
                  <a:cxn ang="0">
                    <a:pos x="0" y="60"/>
                  </a:cxn>
                  <a:cxn ang="0">
                    <a:pos x="0" y="36"/>
                  </a:cxn>
                  <a:cxn ang="0">
                    <a:pos x="12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72">
                    <a:moveTo>
                      <a:pt x="24" y="0"/>
                    </a:moveTo>
                    <a:lnTo>
                      <a:pt x="24" y="24"/>
                    </a:lnTo>
                    <a:lnTo>
                      <a:pt x="12" y="72"/>
                    </a:lnTo>
                    <a:lnTo>
                      <a:pt x="0" y="60"/>
                    </a:lnTo>
                    <a:lnTo>
                      <a:pt x="0" y="36"/>
                    </a:lnTo>
                    <a:lnTo>
                      <a:pt x="1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13" name="Freeform 453"/>
              <p:cNvSpPr>
                <a:spLocks/>
              </p:cNvSpPr>
              <p:nvPr/>
            </p:nvSpPr>
            <p:spPr bwMode="auto">
              <a:xfrm>
                <a:off x="10198100" y="33247012"/>
                <a:ext cx="38100" cy="746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" y="0"/>
                  </a:cxn>
                  <a:cxn ang="0">
                    <a:pos x="24" y="24"/>
                  </a:cxn>
                  <a:cxn ang="0">
                    <a:pos x="24" y="47"/>
                  </a:cxn>
                  <a:cxn ang="0">
                    <a:pos x="12" y="47"/>
                  </a:cxn>
                  <a:cxn ang="0">
                    <a:pos x="0" y="24"/>
                  </a:cxn>
                  <a:cxn ang="0">
                    <a:pos x="0" y="0"/>
                  </a:cxn>
                </a:cxnLst>
                <a:rect l="0" t="0" r="r" b="b"/>
                <a:pathLst>
                  <a:path w="24" h="47">
                    <a:moveTo>
                      <a:pt x="0" y="0"/>
                    </a:moveTo>
                    <a:lnTo>
                      <a:pt x="24" y="0"/>
                    </a:lnTo>
                    <a:lnTo>
                      <a:pt x="24" y="24"/>
                    </a:lnTo>
                    <a:lnTo>
                      <a:pt x="24" y="47"/>
                    </a:lnTo>
                    <a:lnTo>
                      <a:pt x="12" y="47"/>
                    </a:lnTo>
                    <a:lnTo>
                      <a:pt x="0" y="2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14" name="Freeform 455"/>
              <p:cNvSpPr>
                <a:spLocks/>
              </p:cNvSpPr>
              <p:nvPr/>
            </p:nvSpPr>
            <p:spPr bwMode="auto">
              <a:xfrm>
                <a:off x="8556625" y="37037962"/>
                <a:ext cx="150813" cy="95250"/>
              </a:xfrm>
              <a:custGeom>
                <a:avLst/>
                <a:gdLst/>
                <a:ahLst/>
                <a:cxnLst>
                  <a:cxn ang="0">
                    <a:pos x="95" y="0"/>
                  </a:cxn>
                  <a:cxn ang="0">
                    <a:pos x="95" y="24"/>
                  </a:cxn>
                  <a:cxn ang="0">
                    <a:pos x="95" y="48"/>
                  </a:cxn>
                  <a:cxn ang="0">
                    <a:pos x="60" y="48"/>
                  </a:cxn>
                  <a:cxn ang="0">
                    <a:pos x="36" y="60"/>
                  </a:cxn>
                  <a:cxn ang="0">
                    <a:pos x="12" y="48"/>
                  </a:cxn>
                  <a:cxn ang="0">
                    <a:pos x="0" y="36"/>
                  </a:cxn>
                  <a:cxn ang="0">
                    <a:pos x="12" y="12"/>
                  </a:cxn>
                  <a:cxn ang="0">
                    <a:pos x="36" y="0"/>
                  </a:cxn>
                  <a:cxn ang="0">
                    <a:pos x="60" y="0"/>
                  </a:cxn>
                  <a:cxn ang="0">
                    <a:pos x="95" y="0"/>
                  </a:cxn>
                </a:cxnLst>
                <a:rect l="0" t="0" r="r" b="b"/>
                <a:pathLst>
                  <a:path w="95" h="60">
                    <a:moveTo>
                      <a:pt x="95" y="0"/>
                    </a:moveTo>
                    <a:lnTo>
                      <a:pt x="95" y="24"/>
                    </a:lnTo>
                    <a:lnTo>
                      <a:pt x="95" y="48"/>
                    </a:lnTo>
                    <a:lnTo>
                      <a:pt x="60" y="48"/>
                    </a:lnTo>
                    <a:lnTo>
                      <a:pt x="36" y="60"/>
                    </a:lnTo>
                    <a:lnTo>
                      <a:pt x="12" y="48"/>
                    </a:lnTo>
                    <a:lnTo>
                      <a:pt x="0" y="36"/>
                    </a:lnTo>
                    <a:lnTo>
                      <a:pt x="12" y="12"/>
                    </a:lnTo>
                    <a:lnTo>
                      <a:pt x="36" y="0"/>
                    </a:lnTo>
                    <a:lnTo>
                      <a:pt x="60" y="0"/>
                    </a:lnTo>
                    <a:lnTo>
                      <a:pt x="95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</p:grpSp>
        <p:grpSp>
          <p:nvGrpSpPr>
            <p:cNvPr id="33" name="Group 648"/>
            <p:cNvGrpSpPr/>
            <p:nvPr/>
          </p:nvGrpSpPr>
          <p:grpSpPr>
            <a:xfrm>
              <a:off x="-3649663" y="-28500388"/>
              <a:ext cx="24450675" cy="23675975"/>
              <a:chOff x="-3649663" y="-28500388"/>
              <a:chExt cx="24450675" cy="23675975"/>
            </a:xfrm>
            <a:grpFill/>
          </p:grpSpPr>
          <p:sp>
            <p:nvSpPr>
              <p:cNvPr id="63" name="Freeform 330"/>
              <p:cNvSpPr>
                <a:spLocks/>
              </p:cNvSpPr>
              <p:nvPr/>
            </p:nvSpPr>
            <p:spPr bwMode="auto">
              <a:xfrm>
                <a:off x="13669963" y="-23726775"/>
                <a:ext cx="866775" cy="433388"/>
              </a:xfrm>
              <a:custGeom>
                <a:avLst/>
                <a:gdLst/>
                <a:ahLst/>
                <a:cxnLst>
                  <a:cxn ang="0">
                    <a:pos x="475" y="226"/>
                  </a:cxn>
                  <a:cxn ang="0">
                    <a:pos x="499" y="190"/>
                  </a:cxn>
                  <a:cxn ang="0">
                    <a:pos x="535" y="154"/>
                  </a:cxn>
                  <a:cxn ang="0">
                    <a:pos x="546" y="119"/>
                  </a:cxn>
                  <a:cxn ang="0">
                    <a:pos x="523" y="71"/>
                  </a:cxn>
                  <a:cxn ang="0">
                    <a:pos x="475" y="35"/>
                  </a:cxn>
                  <a:cxn ang="0">
                    <a:pos x="404" y="12"/>
                  </a:cxn>
                  <a:cxn ang="0">
                    <a:pos x="321" y="0"/>
                  </a:cxn>
                  <a:cxn ang="0">
                    <a:pos x="273" y="12"/>
                  </a:cxn>
                  <a:cxn ang="0">
                    <a:pos x="226" y="24"/>
                  </a:cxn>
                  <a:cxn ang="0">
                    <a:pos x="178" y="59"/>
                  </a:cxn>
                  <a:cxn ang="0">
                    <a:pos x="119" y="95"/>
                  </a:cxn>
                  <a:cxn ang="0">
                    <a:pos x="24" y="154"/>
                  </a:cxn>
                  <a:cxn ang="0">
                    <a:pos x="0" y="190"/>
                  </a:cxn>
                  <a:cxn ang="0">
                    <a:pos x="0" y="214"/>
                  </a:cxn>
                  <a:cxn ang="0">
                    <a:pos x="35" y="249"/>
                  </a:cxn>
                  <a:cxn ang="0">
                    <a:pos x="71" y="273"/>
                  </a:cxn>
                  <a:cxn ang="0">
                    <a:pos x="154" y="273"/>
                  </a:cxn>
                  <a:cxn ang="0">
                    <a:pos x="309" y="273"/>
                  </a:cxn>
                  <a:cxn ang="0">
                    <a:pos x="475" y="226"/>
                  </a:cxn>
                </a:cxnLst>
                <a:rect l="0" t="0" r="r" b="b"/>
                <a:pathLst>
                  <a:path w="546" h="273">
                    <a:moveTo>
                      <a:pt x="475" y="226"/>
                    </a:moveTo>
                    <a:lnTo>
                      <a:pt x="499" y="190"/>
                    </a:lnTo>
                    <a:lnTo>
                      <a:pt x="535" y="154"/>
                    </a:lnTo>
                    <a:lnTo>
                      <a:pt x="546" y="119"/>
                    </a:lnTo>
                    <a:lnTo>
                      <a:pt x="523" y="71"/>
                    </a:lnTo>
                    <a:lnTo>
                      <a:pt x="475" y="35"/>
                    </a:lnTo>
                    <a:lnTo>
                      <a:pt x="404" y="12"/>
                    </a:lnTo>
                    <a:lnTo>
                      <a:pt x="321" y="0"/>
                    </a:lnTo>
                    <a:lnTo>
                      <a:pt x="273" y="12"/>
                    </a:lnTo>
                    <a:lnTo>
                      <a:pt x="226" y="24"/>
                    </a:lnTo>
                    <a:lnTo>
                      <a:pt x="178" y="59"/>
                    </a:lnTo>
                    <a:lnTo>
                      <a:pt x="119" y="95"/>
                    </a:lnTo>
                    <a:lnTo>
                      <a:pt x="24" y="154"/>
                    </a:lnTo>
                    <a:lnTo>
                      <a:pt x="0" y="190"/>
                    </a:lnTo>
                    <a:lnTo>
                      <a:pt x="0" y="214"/>
                    </a:lnTo>
                    <a:lnTo>
                      <a:pt x="35" y="249"/>
                    </a:lnTo>
                    <a:lnTo>
                      <a:pt x="71" y="273"/>
                    </a:lnTo>
                    <a:lnTo>
                      <a:pt x="154" y="273"/>
                    </a:lnTo>
                    <a:lnTo>
                      <a:pt x="309" y="273"/>
                    </a:lnTo>
                    <a:lnTo>
                      <a:pt x="475" y="22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64" name="Freeform 332"/>
              <p:cNvSpPr>
                <a:spLocks/>
              </p:cNvSpPr>
              <p:nvPr/>
            </p:nvSpPr>
            <p:spPr bwMode="auto">
              <a:xfrm>
                <a:off x="13971588" y="-23934738"/>
                <a:ext cx="93663" cy="76200"/>
              </a:xfrm>
              <a:custGeom>
                <a:avLst/>
                <a:gdLst/>
                <a:ahLst/>
                <a:cxnLst>
                  <a:cxn ang="0">
                    <a:pos x="0" y="36"/>
                  </a:cxn>
                  <a:cxn ang="0">
                    <a:pos x="24" y="48"/>
                  </a:cxn>
                  <a:cxn ang="0">
                    <a:pos x="59" y="36"/>
                  </a:cxn>
                  <a:cxn ang="0">
                    <a:pos x="59" y="24"/>
                  </a:cxn>
                  <a:cxn ang="0">
                    <a:pos x="59" y="0"/>
                  </a:cxn>
                  <a:cxn ang="0">
                    <a:pos x="12" y="0"/>
                  </a:cxn>
                  <a:cxn ang="0">
                    <a:pos x="0" y="12"/>
                  </a:cxn>
                  <a:cxn ang="0">
                    <a:pos x="0" y="36"/>
                  </a:cxn>
                </a:cxnLst>
                <a:rect l="0" t="0" r="r" b="b"/>
                <a:pathLst>
                  <a:path w="59" h="48">
                    <a:moveTo>
                      <a:pt x="0" y="36"/>
                    </a:moveTo>
                    <a:lnTo>
                      <a:pt x="24" y="48"/>
                    </a:lnTo>
                    <a:lnTo>
                      <a:pt x="59" y="36"/>
                    </a:lnTo>
                    <a:lnTo>
                      <a:pt x="59" y="24"/>
                    </a:lnTo>
                    <a:lnTo>
                      <a:pt x="59" y="0"/>
                    </a:lnTo>
                    <a:lnTo>
                      <a:pt x="12" y="0"/>
                    </a:lnTo>
                    <a:lnTo>
                      <a:pt x="0" y="12"/>
                    </a:lnTo>
                    <a:lnTo>
                      <a:pt x="0" y="3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65" name="Freeform 334"/>
              <p:cNvSpPr>
                <a:spLocks/>
              </p:cNvSpPr>
              <p:nvPr/>
            </p:nvSpPr>
            <p:spPr bwMode="auto">
              <a:xfrm>
                <a:off x="15367000" y="-23293388"/>
                <a:ext cx="114300" cy="11271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2" y="24"/>
                  </a:cxn>
                  <a:cxn ang="0">
                    <a:pos x="72" y="36"/>
                  </a:cxn>
                  <a:cxn ang="0">
                    <a:pos x="48" y="60"/>
                  </a:cxn>
                  <a:cxn ang="0">
                    <a:pos x="12" y="71"/>
                  </a:cxn>
                  <a:cxn ang="0">
                    <a:pos x="0" y="48"/>
                  </a:cxn>
                  <a:cxn ang="0">
                    <a:pos x="0" y="24"/>
                  </a:cxn>
                  <a:cxn ang="0">
                    <a:pos x="1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1">
                    <a:moveTo>
                      <a:pt x="36" y="0"/>
                    </a:moveTo>
                    <a:lnTo>
                      <a:pt x="72" y="24"/>
                    </a:lnTo>
                    <a:lnTo>
                      <a:pt x="72" y="36"/>
                    </a:lnTo>
                    <a:lnTo>
                      <a:pt x="48" y="60"/>
                    </a:lnTo>
                    <a:lnTo>
                      <a:pt x="12" y="71"/>
                    </a:lnTo>
                    <a:lnTo>
                      <a:pt x="0" y="48"/>
                    </a:lnTo>
                    <a:lnTo>
                      <a:pt x="0" y="24"/>
                    </a:lnTo>
                    <a:lnTo>
                      <a:pt x="1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66" name="Freeform 336"/>
              <p:cNvSpPr>
                <a:spLocks/>
              </p:cNvSpPr>
              <p:nvPr/>
            </p:nvSpPr>
            <p:spPr bwMode="auto">
              <a:xfrm>
                <a:off x="12576175" y="-24255413"/>
                <a:ext cx="1508125" cy="773113"/>
              </a:xfrm>
              <a:custGeom>
                <a:avLst/>
                <a:gdLst/>
                <a:ahLst/>
                <a:cxnLst>
                  <a:cxn ang="0">
                    <a:pos x="831" y="0"/>
                  </a:cxn>
                  <a:cxn ang="0">
                    <a:pos x="796" y="24"/>
                  </a:cxn>
                  <a:cxn ang="0">
                    <a:pos x="689" y="24"/>
                  </a:cxn>
                  <a:cxn ang="0">
                    <a:pos x="629" y="48"/>
                  </a:cxn>
                  <a:cxn ang="0">
                    <a:pos x="594" y="48"/>
                  </a:cxn>
                  <a:cxn ang="0">
                    <a:pos x="570" y="48"/>
                  </a:cxn>
                  <a:cxn ang="0">
                    <a:pos x="522" y="36"/>
                  </a:cxn>
                  <a:cxn ang="0">
                    <a:pos x="511" y="36"/>
                  </a:cxn>
                  <a:cxn ang="0">
                    <a:pos x="487" y="83"/>
                  </a:cxn>
                  <a:cxn ang="0">
                    <a:pos x="416" y="83"/>
                  </a:cxn>
                  <a:cxn ang="0">
                    <a:pos x="380" y="143"/>
                  </a:cxn>
                  <a:cxn ang="0">
                    <a:pos x="332" y="155"/>
                  </a:cxn>
                  <a:cxn ang="0">
                    <a:pos x="261" y="155"/>
                  </a:cxn>
                  <a:cxn ang="0">
                    <a:pos x="225" y="143"/>
                  </a:cxn>
                  <a:cxn ang="0">
                    <a:pos x="142" y="166"/>
                  </a:cxn>
                  <a:cxn ang="0">
                    <a:pos x="95" y="190"/>
                  </a:cxn>
                  <a:cxn ang="0">
                    <a:pos x="35" y="166"/>
                  </a:cxn>
                  <a:cxn ang="0">
                    <a:pos x="11" y="178"/>
                  </a:cxn>
                  <a:cxn ang="0">
                    <a:pos x="0" y="202"/>
                  </a:cxn>
                  <a:cxn ang="0">
                    <a:pos x="23" y="297"/>
                  </a:cxn>
                  <a:cxn ang="0">
                    <a:pos x="35" y="297"/>
                  </a:cxn>
                  <a:cxn ang="0">
                    <a:pos x="47" y="285"/>
                  </a:cxn>
                  <a:cxn ang="0">
                    <a:pos x="59" y="285"/>
                  </a:cxn>
                  <a:cxn ang="0">
                    <a:pos x="59" y="368"/>
                  </a:cxn>
                  <a:cxn ang="0">
                    <a:pos x="71" y="380"/>
                  </a:cxn>
                  <a:cxn ang="0">
                    <a:pos x="107" y="392"/>
                  </a:cxn>
                  <a:cxn ang="0">
                    <a:pos x="213" y="392"/>
                  </a:cxn>
                  <a:cxn ang="0">
                    <a:pos x="368" y="392"/>
                  </a:cxn>
                  <a:cxn ang="0">
                    <a:pos x="416" y="416"/>
                  </a:cxn>
                  <a:cxn ang="0">
                    <a:pos x="427" y="416"/>
                  </a:cxn>
                  <a:cxn ang="0">
                    <a:pos x="475" y="475"/>
                  </a:cxn>
                  <a:cxn ang="0">
                    <a:pos x="487" y="487"/>
                  </a:cxn>
                  <a:cxn ang="0">
                    <a:pos x="511" y="487"/>
                  </a:cxn>
                  <a:cxn ang="0">
                    <a:pos x="558" y="452"/>
                  </a:cxn>
                  <a:cxn ang="0">
                    <a:pos x="618" y="452"/>
                  </a:cxn>
                  <a:cxn ang="0">
                    <a:pos x="653" y="416"/>
                  </a:cxn>
                  <a:cxn ang="0">
                    <a:pos x="689" y="380"/>
                  </a:cxn>
                  <a:cxn ang="0">
                    <a:pos x="724" y="321"/>
                  </a:cxn>
                  <a:cxn ang="0">
                    <a:pos x="772" y="226"/>
                  </a:cxn>
                  <a:cxn ang="0">
                    <a:pos x="843" y="190"/>
                  </a:cxn>
                  <a:cxn ang="0">
                    <a:pos x="915" y="166"/>
                  </a:cxn>
                  <a:cxn ang="0">
                    <a:pos x="950" y="143"/>
                  </a:cxn>
                  <a:cxn ang="0">
                    <a:pos x="950" y="107"/>
                  </a:cxn>
                  <a:cxn ang="0">
                    <a:pos x="950" y="59"/>
                  </a:cxn>
                  <a:cxn ang="0">
                    <a:pos x="891" y="0"/>
                  </a:cxn>
                  <a:cxn ang="0">
                    <a:pos x="831" y="0"/>
                  </a:cxn>
                </a:cxnLst>
                <a:rect l="0" t="0" r="r" b="b"/>
                <a:pathLst>
                  <a:path w="950" h="487">
                    <a:moveTo>
                      <a:pt x="831" y="0"/>
                    </a:moveTo>
                    <a:lnTo>
                      <a:pt x="796" y="24"/>
                    </a:lnTo>
                    <a:lnTo>
                      <a:pt x="689" y="24"/>
                    </a:lnTo>
                    <a:lnTo>
                      <a:pt x="629" y="48"/>
                    </a:lnTo>
                    <a:lnTo>
                      <a:pt x="594" y="48"/>
                    </a:lnTo>
                    <a:lnTo>
                      <a:pt x="570" y="48"/>
                    </a:lnTo>
                    <a:lnTo>
                      <a:pt x="522" y="36"/>
                    </a:lnTo>
                    <a:lnTo>
                      <a:pt x="511" y="36"/>
                    </a:lnTo>
                    <a:lnTo>
                      <a:pt x="487" y="83"/>
                    </a:lnTo>
                    <a:lnTo>
                      <a:pt x="416" y="83"/>
                    </a:lnTo>
                    <a:lnTo>
                      <a:pt x="380" y="143"/>
                    </a:lnTo>
                    <a:lnTo>
                      <a:pt x="332" y="155"/>
                    </a:lnTo>
                    <a:lnTo>
                      <a:pt x="261" y="155"/>
                    </a:lnTo>
                    <a:lnTo>
                      <a:pt x="225" y="143"/>
                    </a:lnTo>
                    <a:lnTo>
                      <a:pt x="142" y="166"/>
                    </a:lnTo>
                    <a:lnTo>
                      <a:pt x="95" y="190"/>
                    </a:lnTo>
                    <a:lnTo>
                      <a:pt x="35" y="166"/>
                    </a:lnTo>
                    <a:lnTo>
                      <a:pt x="11" y="178"/>
                    </a:lnTo>
                    <a:lnTo>
                      <a:pt x="0" y="202"/>
                    </a:lnTo>
                    <a:lnTo>
                      <a:pt x="23" y="297"/>
                    </a:lnTo>
                    <a:lnTo>
                      <a:pt x="35" y="297"/>
                    </a:lnTo>
                    <a:lnTo>
                      <a:pt x="47" y="285"/>
                    </a:lnTo>
                    <a:lnTo>
                      <a:pt x="59" y="285"/>
                    </a:lnTo>
                    <a:lnTo>
                      <a:pt x="59" y="368"/>
                    </a:lnTo>
                    <a:lnTo>
                      <a:pt x="71" y="380"/>
                    </a:lnTo>
                    <a:lnTo>
                      <a:pt x="107" y="392"/>
                    </a:lnTo>
                    <a:lnTo>
                      <a:pt x="213" y="392"/>
                    </a:lnTo>
                    <a:lnTo>
                      <a:pt x="368" y="392"/>
                    </a:lnTo>
                    <a:lnTo>
                      <a:pt x="416" y="416"/>
                    </a:lnTo>
                    <a:lnTo>
                      <a:pt x="427" y="416"/>
                    </a:lnTo>
                    <a:lnTo>
                      <a:pt x="475" y="475"/>
                    </a:lnTo>
                    <a:lnTo>
                      <a:pt x="487" y="487"/>
                    </a:lnTo>
                    <a:lnTo>
                      <a:pt x="511" y="487"/>
                    </a:lnTo>
                    <a:lnTo>
                      <a:pt x="558" y="452"/>
                    </a:lnTo>
                    <a:lnTo>
                      <a:pt x="618" y="452"/>
                    </a:lnTo>
                    <a:lnTo>
                      <a:pt x="653" y="416"/>
                    </a:lnTo>
                    <a:lnTo>
                      <a:pt x="689" y="380"/>
                    </a:lnTo>
                    <a:lnTo>
                      <a:pt x="724" y="321"/>
                    </a:lnTo>
                    <a:lnTo>
                      <a:pt x="772" y="226"/>
                    </a:lnTo>
                    <a:lnTo>
                      <a:pt x="843" y="190"/>
                    </a:lnTo>
                    <a:lnTo>
                      <a:pt x="915" y="166"/>
                    </a:lnTo>
                    <a:lnTo>
                      <a:pt x="950" y="143"/>
                    </a:lnTo>
                    <a:lnTo>
                      <a:pt x="950" y="107"/>
                    </a:lnTo>
                    <a:lnTo>
                      <a:pt x="950" y="59"/>
                    </a:lnTo>
                    <a:lnTo>
                      <a:pt x="891" y="0"/>
                    </a:lnTo>
                    <a:lnTo>
                      <a:pt x="831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67" name="Freeform 338"/>
              <p:cNvSpPr>
                <a:spLocks/>
              </p:cNvSpPr>
              <p:nvPr/>
            </p:nvSpPr>
            <p:spPr bwMode="auto">
              <a:xfrm>
                <a:off x="12896850" y="-24236363"/>
                <a:ext cx="301625" cy="188913"/>
              </a:xfrm>
              <a:custGeom>
                <a:avLst/>
                <a:gdLst/>
                <a:ahLst/>
                <a:cxnLst>
                  <a:cxn ang="0">
                    <a:pos x="0" y="95"/>
                  </a:cxn>
                  <a:cxn ang="0">
                    <a:pos x="83" y="24"/>
                  </a:cxn>
                  <a:cxn ang="0">
                    <a:pos x="166" y="0"/>
                  </a:cxn>
                  <a:cxn ang="0">
                    <a:pos x="178" y="0"/>
                  </a:cxn>
                  <a:cxn ang="0">
                    <a:pos x="190" y="0"/>
                  </a:cxn>
                  <a:cxn ang="0">
                    <a:pos x="190" y="24"/>
                  </a:cxn>
                  <a:cxn ang="0">
                    <a:pos x="178" y="47"/>
                  </a:cxn>
                  <a:cxn ang="0">
                    <a:pos x="95" y="83"/>
                  </a:cxn>
                  <a:cxn ang="0">
                    <a:pos x="59" y="107"/>
                  </a:cxn>
                  <a:cxn ang="0">
                    <a:pos x="0" y="119"/>
                  </a:cxn>
                  <a:cxn ang="0">
                    <a:pos x="0" y="95"/>
                  </a:cxn>
                </a:cxnLst>
                <a:rect l="0" t="0" r="r" b="b"/>
                <a:pathLst>
                  <a:path w="190" h="119">
                    <a:moveTo>
                      <a:pt x="0" y="95"/>
                    </a:moveTo>
                    <a:lnTo>
                      <a:pt x="83" y="24"/>
                    </a:lnTo>
                    <a:lnTo>
                      <a:pt x="166" y="0"/>
                    </a:lnTo>
                    <a:lnTo>
                      <a:pt x="178" y="0"/>
                    </a:lnTo>
                    <a:lnTo>
                      <a:pt x="190" y="0"/>
                    </a:lnTo>
                    <a:lnTo>
                      <a:pt x="190" y="24"/>
                    </a:lnTo>
                    <a:lnTo>
                      <a:pt x="178" y="47"/>
                    </a:lnTo>
                    <a:lnTo>
                      <a:pt x="95" y="83"/>
                    </a:lnTo>
                    <a:lnTo>
                      <a:pt x="59" y="107"/>
                    </a:lnTo>
                    <a:lnTo>
                      <a:pt x="0" y="119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68" name="Freeform 134"/>
              <p:cNvSpPr>
                <a:spLocks/>
              </p:cNvSpPr>
              <p:nvPr/>
            </p:nvSpPr>
            <p:spPr bwMode="auto">
              <a:xfrm>
                <a:off x="12763500" y="-24803100"/>
                <a:ext cx="509588" cy="566738"/>
              </a:xfrm>
              <a:custGeom>
                <a:avLst/>
                <a:gdLst/>
                <a:ahLst/>
                <a:cxnLst>
                  <a:cxn ang="0">
                    <a:pos x="250" y="0"/>
                  </a:cxn>
                  <a:cxn ang="0">
                    <a:pos x="274" y="0"/>
                  </a:cxn>
                  <a:cxn ang="0">
                    <a:pos x="286" y="24"/>
                  </a:cxn>
                  <a:cxn ang="0">
                    <a:pos x="309" y="95"/>
                  </a:cxn>
                  <a:cxn ang="0">
                    <a:pos x="321" y="131"/>
                  </a:cxn>
                  <a:cxn ang="0">
                    <a:pos x="298" y="167"/>
                  </a:cxn>
                  <a:cxn ang="0">
                    <a:pos x="274" y="214"/>
                  </a:cxn>
                  <a:cxn ang="0">
                    <a:pos x="214" y="262"/>
                  </a:cxn>
                  <a:cxn ang="0">
                    <a:pos x="167" y="309"/>
                  </a:cxn>
                  <a:cxn ang="0">
                    <a:pos x="107" y="333"/>
                  </a:cxn>
                  <a:cxn ang="0">
                    <a:pos x="48" y="357"/>
                  </a:cxn>
                  <a:cxn ang="0">
                    <a:pos x="24" y="357"/>
                  </a:cxn>
                  <a:cxn ang="0">
                    <a:pos x="0" y="333"/>
                  </a:cxn>
                  <a:cxn ang="0">
                    <a:pos x="12" y="250"/>
                  </a:cxn>
                  <a:cxn ang="0">
                    <a:pos x="12" y="179"/>
                  </a:cxn>
                  <a:cxn ang="0">
                    <a:pos x="12" y="131"/>
                  </a:cxn>
                  <a:cxn ang="0">
                    <a:pos x="36" y="84"/>
                  </a:cxn>
                  <a:cxn ang="0">
                    <a:pos x="60" y="60"/>
                  </a:cxn>
                  <a:cxn ang="0">
                    <a:pos x="107" y="60"/>
                  </a:cxn>
                  <a:cxn ang="0">
                    <a:pos x="155" y="48"/>
                  </a:cxn>
                  <a:cxn ang="0">
                    <a:pos x="179" y="60"/>
                  </a:cxn>
                  <a:cxn ang="0">
                    <a:pos x="214" y="60"/>
                  </a:cxn>
                  <a:cxn ang="0">
                    <a:pos x="238" y="12"/>
                  </a:cxn>
                  <a:cxn ang="0">
                    <a:pos x="250" y="0"/>
                  </a:cxn>
                </a:cxnLst>
                <a:rect l="0" t="0" r="r" b="b"/>
                <a:pathLst>
                  <a:path w="321" h="357">
                    <a:moveTo>
                      <a:pt x="250" y="0"/>
                    </a:moveTo>
                    <a:lnTo>
                      <a:pt x="274" y="0"/>
                    </a:lnTo>
                    <a:lnTo>
                      <a:pt x="286" y="24"/>
                    </a:lnTo>
                    <a:lnTo>
                      <a:pt x="309" y="95"/>
                    </a:lnTo>
                    <a:lnTo>
                      <a:pt x="321" y="131"/>
                    </a:lnTo>
                    <a:lnTo>
                      <a:pt x="298" y="167"/>
                    </a:lnTo>
                    <a:lnTo>
                      <a:pt x="274" y="214"/>
                    </a:lnTo>
                    <a:lnTo>
                      <a:pt x="214" y="262"/>
                    </a:lnTo>
                    <a:lnTo>
                      <a:pt x="167" y="309"/>
                    </a:lnTo>
                    <a:lnTo>
                      <a:pt x="107" y="333"/>
                    </a:lnTo>
                    <a:lnTo>
                      <a:pt x="48" y="357"/>
                    </a:lnTo>
                    <a:lnTo>
                      <a:pt x="24" y="357"/>
                    </a:lnTo>
                    <a:lnTo>
                      <a:pt x="0" y="333"/>
                    </a:lnTo>
                    <a:lnTo>
                      <a:pt x="12" y="250"/>
                    </a:lnTo>
                    <a:lnTo>
                      <a:pt x="12" y="179"/>
                    </a:lnTo>
                    <a:lnTo>
                      <a:pt x="12" y="131"/>
                    </a:lnTo>
                    <a:lnTo>
                      <a:pt x="36" y="84"/>
                    </a:lnTo>
                    <a:lnTo>
                      <a:pt x="60" y="60"/>
                    </a:lnTo>
                    <a:lnTo>
                      <a:pt x="107" y="60"/>
                    </a:lnTo>
                    <a:lnTo>
                      <a:pt x="155" y="48"/>
                    </a:lnTo>
                    <a:lnTo>
                      <a:pt x="179" y="60"/>
                    </a:lnTo>
                    <a:lnTo>
                      <a:pt x="214" y="60"/>
                    </a:lnTo>
                    <a:lnTo>
                      <a:pt x="238" y="12"/>
                    </a:lnTo>
                    <a:lnTo>
                      <a:pt x="25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69" name="Freeform 135"/>
              <p:cNvSpPr>
                <a:spLocks/>
              </p:cNvSpPr>
              <p:nvPr/>
            </p:nvSpPr>
            <p:spPr bwMode="auto">
              <a:xfrm>
                <a:off x="12330113" y="-24726900"/>
                <a:ext cx="433388" cy="849313"/>
              </a:xfrm>
              <a:custGeom>
                <a:avLst/>
                <a:gdLst/>
                <a:ahLst/>
                <a:cxnLst>
                  <a:cxn ang="0">
                    <a:pos x="190" y="0"/>
                  </a:cxn>
                  <a:cxn ang="0">
                    <a:pos x="202" y="0"/>
                  </a:cxn>
                  <a:cxn ang="0">
                    <a:pos x="226" y="59"/>
                  </a:cxn>
                  <a:cxn ang="0">
                    <a:pos x="238" y="83"/>
                  </a:cxn>
                  <a:cxn ang="0">
                    <a:pos x="238" y="119"/>
                  </a:cxn>
                  <a:cxn ang="0">
                    <a:pos x="238" y="190"/>
                  </a:cxn>
                  <a:cxn ang="0">
                    <a:pos x="238" y="249"/>
                  </a:cxn>
                  <a:cxn ang="0">
                    <a:pos x="238" y="261"/>
                  </a:cxn>
                  <a:cxn ang="0">
                    <a:pos x="273" y="368"/>
                  </a:cxn>
                  <a:cxn ang="0">
                    <a:pos x="273" y="392"/>
                  </a:cxn>
                  <a:cxn ang="0">
                    <a:pos x="226" y="428"/>
                  </a:cxn>
                  <a:cxn ang="0">
                    <a:pos x="166" y="428"/>
                  </a:cxn>
                  <a:cxn ang="0">
                    <a:pos x="143" y="428"/>
                  </a:cxn>
                  <a:cxn ang="0">
                    <a:pos x="131" y="463"/>
                  </a:cxn>
                  <a:cxn ang="0">
                    <a:pos x="119" y="523"/>
                  </a:cxn>
                  <a:cxn ang="0">
                    <a:pos x="107" y="535"/>
                  </a:cxn>
                  <a:cxn ang="0">
                    <a:pos x="83" y="511"/>
                  </a:cxn>
                  <a:cxn ang="0">
                    <a:pos x="24" y="475"/>
                  </a:cxn>
                  <a:cxn ang="0">
                    <a:pos x="0" y="440"/>
                  </a:cxn>
                  <a:cxn ang="0">
                    <a:pos x="12" y="404"/>
                  </a:cxn>
                  <a:cxn ang="0">
                    <a:pos x="59" y="356"/>
                  </a:cxn>
                  <a:cxn ang="0">
                    <a:pos x="95" y="309"/>
                  </a:cxn>
                  <a:cxn ang="0">
                    <a:pos x="107" y="285"/>
                  </a:cxn>
                  <a:cxn ang="0">
                    <a:pos x="107" y="273"/>
                  </a:cxn>
                  <a:cxn ang="0">
                    <a:pos x="131" y="119"/>
                  </a:cxn>
                  <a:cxn ang="0">
                    <a:pos x="155" y="59"/>
                  </a:cxn>
                  <a:cxn ang="0">
                    <a:pos x="178" y="12"/>
                  </a:cxn>
                  <a:cxn ang="0">
                    <a:pos x="190" y="0"/>
                  </a:cxn>
                </a:cxnLst>
                <a:rect l="0" t="0" r="r" b="b"/>
                <a:pathLst>
                  <a:path w="273" h="535">
                    <a:moveTo>
                      <a:pt x="190" y="0"/>
                    </a:moveTo>
                    <a:lnTo>
                      <a:pt x="202" y="0"/>
                    </a:lnTo>
                    <a:lnTo>
                      <a:pt x="226" y="59"/>
                    </a:lnTo>
                    <a:lnTo>
                      <a:pt x="238" y="83"/>
                    </a:lnTo>
                    <a:lnTo>
                      <a:pt x="238" y="119"/>
                    </a:lnTo>
                    <a:lnTo>
                      <a:pt x="238" y="190"/>
                    </a:lnTo>
                    <a:lnTo>
                      <a:pt x="238" y="249"/>
                    </a:lnTo>
                    <a:lnTo>
                      <a:pt x="238" y="261"/>
                    </a:lnTo>
                    <a:lnTo>
                      <a:pt x="273" y="368"/>
                    </a:lnTo>
                    <a:lnTo>
                      <a:pt x="273" y="392"/>
                    </a:lnTo>
                    <a:lnTo>
                      <a:pt x="226" y="428"/>
                    </a:lnTo>
                    <a:lnTo>
                      <a:pt x="166" y="428"/>
                    </a:lnTo>
                    <a:lnTo>
                      <a:pt x="143" y="428"/>
                    </a:lnTo>
                    <a:lnTo>
                      <a:pt x="131" y="463"/>
                    </a:lnTo>
                    <a:lnTo>
                      <a:pt x="119" y="523"/>
                    </a:lnTo>
                    <a:lnTo>
                      <a:pt x="107" y="535"/>
                    </a:lnTo>
                    <a:lnTo>
                      <a:pt x="83" y="511"/>
                    </a:lnTo>
                    <a:lnTo>
                      <a:pt x="24" y="475"/>
                    </a:lnTo>
                    <a:lnTo>
                      <a:pt x="0" y="440"/>
                    </a:lnTo>
                    <a:lnTo>
                      <a:pt x="12" y="404"/>
                    </a:lnTo>
                    <a:lnTo>
                      <a:pt x="59" y="356"/>
                    </a:lnTo>
                    <a:lnTo>
                      <a:pt x="95" y="309"/>
                    </a:lnTo>
                    <a:lnTo>
                      <a:pt x="107" y="285"/>
                    </a:lnTo>
                    <a:lnTo>
                      <a:pt x="107" y="273"/>
                    </a:lnTo>
                    <a:lnTo>
                      <a:pt x="131" y="119"/>
                    </a:lnTo>
                    <a:lnTo>
                      <a:pt x="155" y="59"/>
                    </a:lnTo>
                    <a:lnTo>
                      <a:pt x="178" y="12"/>
                    </a:lnTo>
                    <a:lnTo>
                      <a:pt x="19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70" name="Freeform 344"/>
              <p:cNvSpPr>
                <a:spLocks/>
              </p:cNvSpPr>
              <p:nvPr/>
            </p:nvSpPr>
            <p:spPr bwMode="auto">
              <a:xfrm>
                <a:off x="12103100" y="-23934738"/>
                <a:ext cx="415925" cy="414338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131" y="12"/>
                  </a:cxn>
                  <a:cxn ang="0">
                    <a:pos x="226" y="59"/>
                  </a:cxn>
                  <a:cxn ang="0">
                    <a:pos x="250" y="95"/>
                  </a:cxn>
                  <a:cxn ang="0">
                    <a:pos x="262" y="226"/>
                  </a:cxn>
                  <a:cxn ang="0">
                    <a:pos x="226" y="261"/>
                  </a:cxn>
                  <a:cxn ang="0">
                    <a:pos x="191" y="261"/>
                  </a:cxn>
                  <a:cxn ang="0">
                    <a:pos x="119" y="226"/>
                  </a:cxn>
                  <a:cxn ang="0">
                    <a:pos x="96" y="214"/>
                  </a:cxn>
                  <a:cxn ang="0">
                    <a:pos x="84" y="202"/>
                  </a:cxn>
                  <a:cxn ang="0">
                    <a:pos x="96" y="178"/>
                  </a:cxn>
                  <a:cxn ang="0">
                    <a:pos x="119" y="166"/>
                  </a:cxn>
                  <a:cxn ang="0">
                    <a:pos x="155" y="166"/>
                  </a:cxn>
                  <a:cxn ang="0">
                    <a:pos x="202" y="178"/>
                  </a:cxn>
                  <a:cxn ang="0">
                    <a:pos x="202" y="166"/>
                  </a:cxn>
                  <a:cxn ang="0">
                    <a:pos x="202" y="155"/>
                  </a:cxn>
                  <a:cxn ang="0">
                    <a:pos x="119" y="131"/>
                  </a:cxn>
                  <a:cxn ang="0">
                    <a:pos x="72" y="166"/>
                  </a:cxn>
                  <a:cxn ang="0">
                    <a:pos x="36" y="166"/>
                  </a:cxn>
                  <a:cxn ang="0">
                    <a:pos x="24" y="143"/>
                  </a:cxn>
                  <a:cxn ang="0">
                    <a:pos x="0" y="71"/>
                  </a:cxn>
                  <a:cxn ang="0">
                    <a:pos x="12" y="48"/>
                  </a:cxn>
                  <a:cxn ang="0">
                    <a:pos x="72" y="0"/>
                  </a:cxn>
                </a:cxnLst>
                <a:rect l="0" t="0" r="r" b="b"/>
                <a:pathLst>
                  <a:path w="262" h="261">
                    <a:moveTo>
                      <a:pt x="72" y="0"/>
                    </a:moveTo>
                    <a:lnTo>
                      <a:pt x="131" y="12"/>
                    </a:lnTo>
                    <a:lnTo>
                      <a:pt x="226" y="59"/>
                    </a:lnTo>
                    <a:lnTo>
                      <a:pt x="250" y="95"/>
                    </a:lnTo>
                    <a:lnTo>
                      <a:pt x="262" y="226"/>
                    </a:lnTo>
                    <a:lnTo>
                      <a:pt x="226" y="261"/>
                    </a:lnTo>
                    <a:lnTo>
                      <a:pt x="191" y="261"/>
                    </a:lnTo>
                    <a:lnTo>
                      <a:pt x="119" y="226"/>
                    </a:lnTo>
                    <a:lnTo>
                      <a:pt x="96" y="214"/>
                    </a:lnTo>
                    <a:lnTo>
                      <a:pt x="84" y="202"/>
                    </a:lnTo>
                    <a:lnTo>
                      <a:pt x="96" y="178"/>
                    </a:lnTo>
                    <a:lnTo>
                      <a:pt x="119" y="166"/>
                    </a:lnTo>
                    <a:lnTo>
                      <a:pt x="155" y="166"/>
                    </a:lnTo>
                    <a:lnTo>
                      <a:pt x="202" y="178"/>
                    </a:lnTo>
                    <a:lnTo>
                      <a:pt x="202" y="166"/>
                    </a:lnTo>
                    <a:lnTo>
                      <a:pt x="202" y="155"/>
                    </a:lnTo>
                    <a:lnTo>
                      <a:pt x="119" y="131"/>
                    </a:lnTo>
                    <a:lnTo>
                      <a:pt x="72" y="166"/>
                    </a:lnTo>
                    <a:lnTo>
                      <a:pt x="36" y="166"/>
                    </a:lnTo>
                    <a:lnTo>
                      <a:pt x="24" y="143"/>
                    </a:lnTo>
                    <a:lnTo>
                      <a:pt x="0" y="71"/>
                    </a:lnTo>
                    <a:lnTo>
                      <a:pt x="12" y="48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71" name="Freeform 346"/>
              <p:cNvSpPr>
                <a:spLocks/>
              </p:cNvSpPr>
              <p:nvPr/>
            </p:nvSpPr>
            <p:spPr bwMode="auto">
              <a:xfrm>
                <a:off x="12519025" y="-23537863"/>
                <a:ext cx="150813" cy="112713"/>
              </a:xfrm>
              <a:custGeom>
                <a:avLst/>
                <a:gdLst/>
                <a:ahLst/>
                <a:cxnLst>
                  <a:cxn ang="0">
                    <a:pos x="36" y="71"/>
                  </a:cxn>
                  <a:cxn ang="0">
                    <a:pos x="0" y="59"/>
                  </a:cxn>
                  <a:cxn ang="0">
                    <a:pos x="0" y="47"/>
                  </a:cxn>
                  <a:cxn ang="0">
                    <a:pos x="12" y="35"/>
                  </a:cxn>
                  <a:cxn ang="0">
                    <a:pos x="47" y="23"/>
                  </a:cxn>
                  <a:cxn ang="0">
                    <a:pos x="59" y="0"/>
                  </a:cxn>
                  <a:cxn ang="0">
                    <a:pos x="83" y="0"/>
                  </a:cxn>
                  <a:cxn ang="0">
                    <a:pos x="95" y="23"/>
                  </a:cxn>
                  <a:cxn ang="0">
                    <a:pos x="83" y="47"/>
                  </a:cxn>
                  <a:cxn ang="0">
                    <a:pos x="36" y="71"/>
                  </a:cxn>
                </a:cxnLst>
                <a:rect l="0" t="0" r="r" b="b"/>
                <a:pathLst>
                  <a:path w="95" h="71">
                    <a:moveTo>
                      <a:pt x="36" y="71"/>
                    </a:moveTo>
                    <a:lnTo>
                      <a:pt x="0" y="59"/>
                    </a:lnTo>
                    <a:lnTo>
                      <a:pt x="0" y="47"/>
                    </a:lnTo>
                    <a:lnTo>
                      <a:pt x="12" y="35"/>
                    </a:lnTo>
                    <a:lnTo>
                      <a:pt x="47" y="23"/>
                    </a:lnTo>
                    <a:lnTo>
                      <a:pt x="59" y="0"/>
                    </a:lnTo>
                    <a:lnTo>
                      <a:pt x="83" y="0"/>
                    </a:lnTo>
                    <a:lnTo>
                      <a:pt x="95" y="23"/>
                    </a:lnTo>
                    <a:lnTo>
                      <a:pt x="83" y="47"/>
                    </a:lnTo>
                    <a:lnTo>
                      <a:pt x="36" y="7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72" name="Freeform 348"/>
              <p:cNvSpPr>
                <a:spLocks/>
              </p:cNvSpPr>
              <p:nvPr/>
            </p:nvSpPr>
            <p:spPr bwMode="auto">
              <a:xfrm>
                <a:off x="12461875" y="-23368000"/>
                <a:ext cx="131763" cy="74613"/>
              </a:xfrm>
              <a:custGeom>
                <a:avLst/>
                <a:gdLst/>
                <a:ahLst/>
                <a:cxnLst>
                  <a:cxn ang="0">
                    <a:pos x="83" y="0"/>
                  </a:cxn>
                  <a:cxn ang="0">
                    <a:pos x="83" y="11"/>
                  </a:cxn>
                  <a:cxn ang="0">
                    <a:pos x="60" y="47"/>
                  </a:cxn>
                  <a:cxn ang="0">
                    <a:pos x="0" y="23"/>
                  </a:cxn>
                  <a:cxn ang="0">
                    <a:pos x="0" y="11"/>
                  </a:cxn>
                  <a:cxn ang="0">
                    <a:pos x="83" y="0"/>
                  </a:cxn>
                </a:cxnLst>
                <a:rect l="0" t="0" r="r" b="b"/>
                <a:pathLst>
                  <a:path w="83" h="47">
                    <a:moveTo>
                      <a:pt x="83" y="0"/>
                    </a:moveTo>
                    <a:lnTo>
                      <a:pt x="83" y="11"/>
                    </a:lnTo>
                    <a:lnTo>
                      <a:pt x="60" y="47"/>
                    </a:lnTo>
                    <a:lnTo>
                      <a:pt x="0" y="23"/>
                    </a:lnTo>
                    <a:lnTo>
                      <a:pt x="0" y="11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73" name="Freeform 350"/>
              <p:cNvSpPr>
                <a:spLocks/>
              </p:cNvSpPr>
              <p:nvPr/>
            </p:nvSpPr>
            <p:spPr bwMode="auto">
              <a:xfrm>
                <a:off x="12349163" y="-23274338"/>
                <a:ext cx="188913" cy="112713"/>
              </a:xfrm>
              <a:custGeom>
                <a:avLst/>
                <a:gdLst/>
                <a:ahLst/>
                <a:cxnLst>
                  <a:cxn ang="0">
                    <a:pos x="107" y="12"/>
                  </a:cxn>
                  <a:cxn ang="0">
                    <a:pos x="119" y="24"/>
                  </a:cxn>
                  <a:cxn ang="0">
                    <a:pos x="119" y="36"/>
                  </a:cxn>
                  <a:cxn ang="0">
                    <a:pos x="83" y="71"/>
                  </a:cxn>
                  <a:cxn ang="0">
                    <a:pos x="59" y="71"/>
                  </a:cxn>
                  <a:cxn ang="0">
                    <a:pos x="0" y="36"/>
                  </a:cxn>
                  <a:cxn ang="0">
                    <a:pos x="0" y="24"/>
                  </a:cxn>
                  <a:cxn ang="0">
                    <a:pos x="12" y="12"/>
                  </a:cxn>
                  <a:cxn ang="0">
                    <a:pos x="36" y="0"/>
                  </a:cxn>
                  <a:cxn ang="0">
                    <a:pos x="107" y="12"/>
                  </a:cxn>
                </a:cxnLst>
                <a:rect l="0" t="0" r="r" b="b"/>
                <a:pathLst>
                  <a:path w="119" h="71">
                    <a:moveTo>
                      <a:pt x="107" y="12"/>
                    </a:moveTo>
                    <a:lnTo>
                      <a:pt x="119" y="24"/>
                    </a:lnTo>
                    <a:lnTo>
                      <a:pt x="119" y="36"/>
                    </a:lnTo>
                    <a:lnTo>
                      <a:pt x="83" y="71"/>
                    </a:lnTo>
                    <a:lnTo>
                      <a:pt x="59" y="71"/>
                    </a:lnTo>
                    <a:lnTo>
                      <a:pt x="0" y="36"/>
                    </a:lnTo>
                    <a:lnTo>
                      <a:pt x="0" y="24"/>
                    </a:lnTo>
                    <a:lnTo>
                      <a:pt x="12" y="12"/>
                    </a:lnTo>
                    <a:lnTo>
                      <a:pt x="36" y="0"/>
                    </a:lnTo>
                    <a:lnTo>
                      <a:pt x="107" y="1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74" name="Freeform 352"/>
              <p:cNvSpPr>
                <a:spLocks/>
              </p:cNvSpPr>
              <p:nvPr/>
            </p:nvSpPr>
            <p:spPr bwMode="auto">
              <a:xfrm>
                <a:off x="11990388" y="-23198138"/>
                <a:ext cx="698500" cy="696913"/>
              </a:xfrm>
              <a:custGeom>
                <a:avLst/>
                <a:gdLst/>
                <a:ahLst/>
                <a:cxnLst>
                  <a:cxn ang="0">
                    <a:pos x="309" y="71"/>
                  </a:cxn>
                  <a:cxn ang="0">
                    <a:pos x="357" y="23"/>
                  </a:cxn>
                  <a:cxn ang="0">
                    <a:pos x="369" y="35"/>
                  </a:cxn>
                  <a:cxn ang="0">
                    <a:pos x="380" y="71"/>
                  </a:cxn>
                  <a:cxn ang="0">
                    <a:pos x="369" y="95"/>
                  </a:cxn>
                  <a:cxn ang="0">
                    <a:pos x="369" y="118"/>
                  </a:cxn>
                  <a:cxn ang="0">
                    <a:pos x="428" y="213"/>
                  </a:cxn>
                  <a:cxn ang="0">
                    <a:pos x="440" y="273"/>
                  </a:cxn>
                  <a:cxn ang="0">
                    <a:pos x="416" y="344"/>
                  </a:cxn>
                  <a:cxn ang="0">
                    <a:pos x="380" y="368"/>
                  </a:cxn>
                  <a:cxn ang="0">
                    <a:pos x="321" y="380"/>
                  </a:cxn>
                  <a:cxn ang="0">
                    <a:pos x="297" y="404"/>
                  </a:cxn>
                  <a:cxn ang="0">
                    <a:pos x="250" y="404"/>
                  </a:cxn>
                  <a:cxn ang="0">
                    <a:pos x="214" y="439"/>
                  </a:cxn>
                  <a:cxn ang="0">
                    <a:pos x="190" y="439"/>
                  </a:cxn>
                  <a:cxn ang="0">
                    <a:pos x="167" y="415"/>
                  </a:cxn>
                  <a:cxn ang="0">
                    <a:pos x="119" y="404"/>
                  </a:cxn>
                  <a:cxn ang="0">
                    <a:pos x="71" y="332"/>
                  </a:cxn>
                  <a:cxn ang="0">
                    <a:pos x="24" y="297"/>
                  </a:cxn>
                  <a:cxn ang="0">
                    <a:pos x="0" y="249"/>
                  </a:cxn>
                  <a:cxn ang="0">
                    <a:pos x="12" y="213"/>
                  </a:cxn>
                  <a:cxn ang="0">
                    <a:pos x="60" y="154"/>
                  </a:cxn>
                  <a:cxn ang="0">
                    <a:pos x="107" y="59"/>
                  </a:cxn>
                  <a:cxn ang="0">
                    <a:pos x="131" y="11"/>
                  </a:cxn>
                  <a:cxn ang="0">
                    <a:pos x="167" y="0"/>
                  </a:cxn>
                  <a:cxn ang="0">
                    <a:pos x="190" y="11"/>
                  </a:cxn>
                  <a:cxn ang="0">
                    <a:pos x="214" y="35"/>
                  </a:cxn>
                  <a:cxn ang="0">
                    <a:pos x="250" y="47"/>
                  </a:cxn>
                  <a:cxn ang="0">
                    <a:pos x="262" y="71"/>
                  </a:cxn>
                  <a:cxn ang="0">
                    <a:pos x="285" y="83"/>
                  </a:cxn>
                  <a:cxn ang="0">
                    <a:pos x="309" y="71"/>
                  </a:cxn>
                </a:cxnLst>
                <a:rect l="0" t="0" r="r" b="b"/>
                <a:pathLst>
                  <a:path w="440" h="439">
                    <a:moveTo>
                      <a:pt x="309" y="71"/>
                    </a:moveTo>
                    <a:lnTo>
                      <a:pt x="357" y="23"/>
                    </a:lnTo>
                    <a:lnTo>
                      <a:pt x="369" y="35"/>
                    </a:lnTo>
                    <a:lnTo>
                      <a:pt x="380" y="71"/>
                    </a:lnTo>
                    <a:lnTo>
                      <a:pt x="369" y="95"/>
                    </a:lnTo>
                    <a:lnTo>
                      <a:pt x="369" y="118"/>
                    </a:lnTo>
                    <a:lnTo>
                      <a:pt x="428" y="213"/>
                    </a:lnTo>
                    <a:lnTo>
                      <a:pt x="440" y="273"/>
                    </a:lnTo>
                    <a:lnTo>
                      <a:pt x="416" y="344"/>
                    </a:lnTo>
                    <a:lnTo>
                      <a:pt x="380" y="368"/>
                    </a:lnTo>
                    <a:lnTo>
                      <a:pt x="321" y="380"/>
                    </a:lnTo>
                    <a:lnTo>
                      <a:pt x="297" y="404"/>
                    </a:lnTo>
                    <a:lnTo>
                      <a:pt x="250" y="404"/>
                    </a:lnTo>
                    <a:lnTo>
                      <a:pt x="214" y="439"/>
                    </a:lnTo>
                    <a:lnTo>
                      <a:pt x="190" y="439"/>
                    </a:lnTo>
                    <a:lnTo>
                      <a:pt x="167" y="415"/>
                    </a:lnTo>
                    <a:lnTo>
                      <a:pt x="119" y="404"/>
                    </a:lnTo>
                    <a:lnTo>
                      <a:pt x="71" y="332"/>
                    </a:lnTo>
                    <a:lnTo>
                      <a:pt x="24" y="297"/>
                    </a:lnTo>
                    <a:lnTo>
                      <a:pt x="0" y="249"/>
                    </a:lnTo>
                    <a:lnTo>
                      <a:pt x="12" y="213"/>
                    </a:lnTo>
                    <a:lnTo>
                      <a:pt x="60" y="154"/>
                    </a:lnTo>
                    <a:lnTo>
                      <a:pt x="107" y="59"/>
                    </a:lnTo>
                    <a:lnTo>
                      <a:pt x="131" y="11"/>
                    </a:lnTo>
                    <a:lnTo>
                      <a:pt x="167" y="0"/>
                    </a:lnTo>
                    <a:lnTo>
                      <a:pt x="190" y="11"/>
                    </a:lnTo>
                    <a:lnTo>
                      <a:pt x="214" y="35"/>
                    </a:lnTo>
                    <a:lnTo>
                      <a:pt x="250" y="47"/>
                    </a:lnTo>
                    <a:lnTo>
                      <a:pt x="262" y="71"/>
                    </a:lnTo>
                    <a:lnTo>
                      <a:pt x="285" y="83"/>
                    </a:lnTo>
                    <a:lnTo>
                      <a:pt x="309" y="7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75" name="Freeform 354"/>
              <p:cNvSpPr>
                <a:spLocks/>
              </p:cNvSpPr>
              <p:nvPr/>
            </p:nvSpPr>
            <p:spPr bwMode="auto">
              <a:xfrm>
                <a:off x="11499850" y="-23671213"/>
                <a:ext cx="434975" cy="169863"/>
              </a:xfrm>
              <a:custGeom>
                <a:avLst/>
                <a:gdLst/>
                <a:ahLst/>
                <a:cxnLst>
                  <a:cxn ang="0">
                    <a:pos x="202" y="0"/>
                  </a:cxn>
                  <a:cxn ang="0">
                    <a:pos x="250" y="12"/>
                  </a:cxn>
                  <a:cxn ang="0">
                    <a:pos x="274" y="36"/>
                  </a:cxn>
                  <a:cxn ang="0">
                    <a:pos x="262" y="60"/>
                  </a:cxn>
                  <a:cxn ang="0">
                    <a:pos x="226" y="60"/>
                  </a:cxn>
                  <a:cxn ang="0">
                    <a:pos x="167" y="84"/>
                  </a:cxn>
                  <a:cxn ang="0">
                    <a:pos x="107" y="72"/>
                  </a:cxn>
                  <a:cxn ang="0">
                    <a:pos x="48" y="107"/>
                  </a:cxn>
                  <a:cxn ang="0">
                    <a:pos x="24" y="107"/>
                  </a:cxn>
                  <a:cxn ang="0">
                    <a:pos x="0" y="95"/>
                  </a:cxn>
                  <a:cxn ang="0">
                    <a:pos x="12" y="72"/>
                  </a:cxn>
                  <a:cxn ang="0">
                    <a:pos x="119" y="36"/>
                  </a:cxn>
                  <a:cxn ang="0">
                    <a:pos x="202" y="0"/>
                  </a:cxn>
                </a:cxnLst>
                <a:rect l="0" t="0" r="r" b="b"/>
                <a:pathLst>
                  <a:path w="274" h="107">
                    <a:moveTo>
                      <a:pt x="202" y="0"/>
                    </a:moveTo>
                    <a:lnTo>
                      <a:pt x="250" y="12"/>
                    </a:lnTo>
                    <a:lnTo>
                      <a:pt x="274" y="36"/>
                    </a:lnTo>
                    <a:lnTo>
                      <a:pt x="262" y="60"/>
                    </a:lnTo>
                    <a:lnTo>
                      <a:pt x="226" y="60"/>
                    </a:lnTo>
                    <a:lnTo>
                      <a:pt x="167" y="84"/>
                    </a:lnTo>
                    <a:lnTo>
                      <a:pt x="107" y="72"/>
                    </a:lnTo>
                    <a:lnTo>
                      <a:pt x="48" y="107"/>
                    </a:lnTo>
                    <a:lnTo>
                      <a:pt x="24" y="107"/>
                    </a:lnTo>
                    <a:lnTo>
                      <a:pt x="0" y="95"/>
                    </a:lnTo>
                    <a:lnTo>
                      <a:pt x="12" y="72"/>
                    </a:lnTo>
                    <a:lnTo>
                      <a:pt x="119" y="36"/>
                    </a:lnTo>
                    <a:lnTo>
                      <a:pt x="20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76" name="Freeform 356"/>
              <p:cNvSpPr>
                <a:spLocks/>
              </p:cNvSpPr>
              <p:nvPr/>
            </p:nvSpPr>
            <p:spPr bwMode="auto">
              <a:xfrm>
                <a:off x="11387138" y="-23595013"/>
                <a:ext cx="735013" cy="490538"/>
              </a:xfrm>
              <a:custGeom>
                <a:avLst/>
                <a:gdLst/>
                <a:ahLst/>
                <a:cxnLst>
                  <a:cxn ang="0">
                    <a:pos x="392" y="0"/>
                  </a:cxn>
                  <a:cxn ang="0">
                    <a:pos x="440" y="0"/>
                  </a:cxn>
                  <a:cxn ang="0">
                    <a:pos x="451" y="36"/>
                  </a:cxn>
                  <a:cxn ang="0">
                    <a:pos x="463" y="119"/>
                  </a:cxn>
                  <a:cxn ang="0">
                    <a:pos x="440" y="166"/>
                  </a:cxn>
                  <a:cxn ang="0">
                    <a:pos x="428" y="202"/>
                  </a:cxn>
                  <a:cxn ang="0">
                    <a:pos x="404" y="214"/>
                  </a:cxn>
                  <a:cxn ang="0">
                    <a:pos x="380" y="226"/>
                  </a:cxn>
                  <a:cxn ang="0">
                    <a:pos x="368" y="214"/>
                  </a:cxn>
                  <a:cxn ang="0">
                    <a:pos x="356" y="214"/>
                  </a:cxn>
                  <a:cxn ang="0">
                    <a:pos x="261" y="261"/>
                  </a:cxn>
                  <a:cxn ang="0">
                    <a:pos x="190" y="273"/>
                  </a:cxn>
                  <a:cxn ang="0">
                    <a:pos x="131" y="309"/>
                  </a:cxn>
                  <a:cxn ang="0">
                    <a:pos x="107" y="309"/>
                  </a:cxn>
                  <a:cxn ang="0">
                    <a:pos x="71" y="285"/>
                  </a:cxn>
                  <a:cxn ang="0">
                    <a:pos x="24" y="285"/>
                  </a:cxn>
                  <a:cxn ang="0">
                    <a:pos x="0" y="285"/>
                  </a:cxn>
                  <a:cxn ang="0">
                    <a:pos x="0" y="250"/>
                  </a:cxn>
                  <a:cxn ang="0">
                    <a:pos x="12" y="238"/>
                  </a:cxn>
                  <a:cxn ang="0">
                    <a:pos x="12" y="190"/>
                  </a:cxn>
                  <a:cxn ang="0">
                    <a:pos x="59" y="95"/>
                  </a:cxn>
                  <a:cxn ang="0">
                    <a:pos x="238" y="59"/>
                  </a:cxn>
                  <a:cxn ang="0">
                    <a:pos x="321" y="36"/>
                  </a:cxn>
                  <a:cxn ang="0">
                    <a:pos x="392" y="0"/>
                  </a:cxn>
                </a:cxnLst>
                <a:rect l="0" t="0" r="r" b="b"/>
                <a:pathLst>
                  <a:path w="463" h="309">
                    <a:moveTo>
                      <a:pt x="392" y="0"/>
                    </a:moveTo>
                    <a:lnTo>
                      <a:pt x="440" y="0"/>
                    </a:lnTo>
                    <a:lnTo>
                      <a:pt x="451" y="36"/>
                    </a:lnTo>
                    <a:lnTo>
                      <a:pt x="463" y="119"/>
                    </a:lnTo>
                    <a:lnTo>
                      <a:pt x="440" y="166"/>
                    </a:lnTo>
                    <a:lnTo>
                      <a:pt x="428" y="202"/>
                    </a:lnTo>
                    <a:lnTo>
                      <a:pt x="404" y="214"/>
                    </a:lnTo>
                    <a:lnTo>
                      <a:pt x="380" y="226"/>
                    </a:lnTo>
                    <a:lnTo>
                      <a:pt x="368" y="214"/>
                    </a:lnTo>
                    <a:lnTo>
                      <a:pt x="356" y="214"/>
                    </a:lnTo>
                    <a:lnTo>
                      <a:pt x="261" y="261"/>
                    </a:lnTo>
                    <a:lnTo>
                      <a:pt x="190" y="273"/>
                    </a:lnTo>
                    <a:lnTo>
                      <a:pt x="131" y="309"/>
                    </a:lnTo>
                    <a:lnTo>
                      <a:pt x="107" y="309"/>
                    </a:lnTo>
                    <a:lnTo>
                      <a:pt x="71" y="285"/>
                    </a:lnTo>
                    <a:lnTo>
                      <a:pt x="24" y="285"/>
                    </a:lnTo>
                    <a:lnTo>
                      <a:pt x="0" y="285"/>
                    </a:lnTo>
                    <a:lnTo>
                      <a:pt x="0" y="250"/>
                    </a:lnTo>
                    <a:lnTo>
                      <a:pt x="12" y="238"/>
                    </a:lnTo>
                    <a:lnTo>
                      <a:pt x="12" y="190"/>
                    </a:lnTo>
                    <a:lnTo>
                      <a:pt x="59" y="95"/>
                    </a:lnTo>
                    <a:lnTo>
                      <a:pt x="238" y="59"/>
                    </a:lnTo>
                    <a:lnTo>
                      <a:pt x="321" y="36"/>
                    </a:lnTo>
                    <a:lnTo>
                      <a:pt x="39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77" name="Freeform 358"/>
              <p:cNvSpPr>
                <a:spLocks/>
              </p:cNvSpPr>
              <p:nvPr/>
            </p:nvSpPr>
            <p:spPr bwMode="auto">
              <a:xfrm>
                <a:off x="11650663" y="-23142575"/>
                <a:ext cx="265113" cy="227013"/>
              </a:xfrm>
              <a:custGeom>
                <a:avLst/>
                <a:gdLst/>
                <a:ahLst/>
                <a:cxnLst>
                  <a:cxn ang="0">
                    <a:pos x="143" y="0"/>
                  </a:cxn>
                  <a:cxn ang="0">
                    <a:pos x="167" y="0"/>
                  </a:cxn>
                  <a:cxn ang="0">
                    <a:pos x="167" y="83"/>
                  </a:cxn>
                  <a:cxn ang="0">
                    <a:pos x="143" y="119"/>
                  </a:cxn>
                  <a:cxn ang="0">
                    <a:pos x="131" y="131"/>
                  </a:cxn>
                  <a:cxn ang="0">
                    <a:pos x="72" y="143"/>
                  </a:cxn>
                  <a:cxn ang="0">
                    <a:pos x="12" y="143"/>
                  </a:cxn>
                  <a:cxn ang="0">
                    <a:pos x="0" y="131"/>
                  </a:cxn>
                  <a:cxn ang="0">
                    <a:pos x="0" y="119"/>
                  </a:cxn>
                  <a:cxn ang="0">
                    <a:pos x="12" y="83"/>
                  </a:cxn>
                  <a:cxn ang="0">
                    <a:pos x="83" y="60"/>
                  </a:cxn>
                  <a:cxn ang="0">
                    <a:pos x="143" y="0"/>
                  </a:cxn>
                </a:cxnLst>
                <a:rect l="0" t="0" r="r" b="b"/>
                <a:pathLst>
                  <a:path w="167" h="143">
                    <a:moveTo>
                      <a:pt x="143" y="0"/>
                    </a:moveTo>
                    <a:lnTo>
                      <a:pt x="167" y="0"/>
                    </a:lnTo>
                    <a:lnTo>
                      <a:pt x="167" y="83"/>
                    </a:lnTo>
                    <a:lnTo>
                      <a:pt x="143" y="119"/>
                    </a:lnTo>
                    <a:lnTo>
                      <a:pt x="131" y="131"/>
                    </a:lnTo>
                    <a:lnTo>
                      <a:pt x="72" y="143"/>
                    </a:lnTo>
                    <a:lnTo>
                      <a:pt x="12" y="143"/>
                    </a:lnTo>
                    <a:lnTo>
                      <a:pt x="0" y="131"/>
                    </a:lnTo>
                    <a:lnTo>
                      <a:pt x="0" y="119"/>
                    </a:lnTo>
                    <a:lnTo>
                      <a:pt x="12" y="83"/>
                    </a:lnTo>
                    <a:lnTo>
                      <a:pt x="83" y="60"/>
                    </a:lnTo>
                    <a:lnTo>
                      <a:pt x="143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78" name="Freeform 360"/>
              <p:cNvSpPr>
                <a:spLocks/>
              </p:cNvSpPr>
              <p:nvPr/>
            </p:nvSpPr>
            <p:spPr bwMode="auto">
              <a:xfrm>
                <a:off x="11406188" y="-23123525"/>
                <a:ext cx="244475" cy="150813"/>
              </a:xfrm>
              <a:custGeom>
                <a:avLst/>
                <a:gdLst/>
                <a:ahLst/>
                <a:cxnLst>
                  <a:cxn ang="0">
                    <a:pos x="47" y="0"/>
                  </a:cxn>
                  <a:cxn ang="0">
                    <a:pos x="83" y="12"/>
                  </a:cxn>
                  <a:cxn ang="0">
                    <a:pos x="107" y="36"/>
                  </a:cxn>
                  <a:cxn ang="0">
                    <a:pos x="154" y="36"/>
                  </a:cxn>
                  <a:cxn ang="0">
                    <a:pos x="154" y="59"/>
                  </a:cxn>
                  <a:cxn ang="0">
                    <a:pos x="130" y="95"/>
                  </a:cxn>
                  <a:cxn ang="0">
                    <a:pos x="95" y="95"/>
                  </a:cxn>
                  <a:cxn ang="0">
                    <a:pos x="83" y="71"/>
                  </a:cxn>
                  <a:cxn ang="0">
                    <a:pos x="35" y="48"/>
                  </a:cxn>
                  <a:cxn ang="0">
                    <a:pos x="0" y="36"/>
                  </a:cxn>
                  <a:cxn ang="0">
                    <a:pos x="0" y="24"/>
                  </a:cxn>
                  <a:cxn ang="0">
                    <a:pos x="0" y="12"/>
                  </a:cxn>
                  <a:cxn ang="0">
                    <a:pos x="47" y="0"/>
                  </a:cxn>
                </a:cxnLst>
                <a:rect l="0" t="0" r="r" b="b"/>
                <a:pathLst>
                  <a:path w="154" h="95">
                    <a:moveTo>
                      <a:pt x="47" y="0"/>
                    </a:moveTo>
                    <a:lnTo>
                      <a:pt x="83" y="12"/>
                    </a:lnTo>
                    <a:lnTo>
                      <a:pt x="107" y="36"/>
                    </a:lnTo>
                    <a:lnTo>
                      <a:pt x="154" y="36"/>
                    </a:lnTo>
                    <a:lnTo>
                      <a:pt x="154" y="59"/>
                    </a:lnTo>
                    <a:lnTo>
                      <a:pt x="130" y="95"/>
                    </a:lnTo>
                    <a:lnTo>
                      <a:pt x="95" y="95"/>
                    </a:lnTo>
                    <a:lnTo>
                      <a:pt x="83" y="71"/>
                    </a:lnTo>
                    <a:lnTo>
                      <a:pt x="35" y="48"/>
                    </a:lnTo>
                    <a:lnTo>
                      <a:pt x="0" y="36"/>
                    </a:lnTo>
                    <a:lnTo>
                      <a:pt x="0" y="24"/>
                    </a:lnTo>
                    <a:lnTo>
                      <a:pt x="0" y="12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79" name="Freeform 362"/>
              <p:cNvSpPr>
                <a:spLocks/>
              </p:cNvSpPr>
              <p:nvPr/>
            </p:nvSpPr>
            <p:spPr bwMode="auto">
              <a:xfrm>
                <a:off x="11461750" y="-22860000"/>
                <a:ext cx="396875" cy="377825"/>
              </a:xfrm>
              <a:custGeom>
                <a:avLst/>
                <a:gdLst/>
                <a:ahLst/>
                <a:cxnLst>
                  <a:cxn ang="0">
                    <a:pos x="191" y="12"/>
                  </a:cxn>
                  <a:cxn ang="0">
                    <a:pos x="191" y="48"/>
                  </a:cxn>
                  <a:cxn ang="0">
                    <a:pos x="214" y="48"/>
                  </a:cxn>
                  <a:cxn ang="0">
                    <a:pos x="238" y="60"/>
                  </a:cxn>
                  <a:cxn ang="0">
                    <a:pos x="250" y="84"/>
                  </a:cxn>
                  <a:cxn ang="0">
                    <a:pos x="238" y="119"/>
                  </a:cxn>
                  <a:cxn ang="0">
                    <a:pos x="179" y="155"/>
                  </a:cxn>
                  <a:cxn ang="0">
                    <a:pos x="107" y="191"/>
                  </a:cxn>
                  <a:cxn ang="0">
                    <a:pos x="24" y="238"/>
                  </a:cxn>
                  <a:cxn ang="0">
                    <a:pos x="12" y="238"/>
                  </a:cxn>
                  <a:cxn ang="0">
                    <a:pos x="0" y="214"/>
                  </a:cxn>
                  <a:cxn ang="0">
                    <a:pos x="12" y="214"/>
                  </a:cxn>
                  <a:cxn ang="0">
                    <a:pos x="60" y="167"/>
                  </a:cxn>
                  <a:cxn ang="0">
                    <a:pos x="72" y="119"/>
                  </a:cxn>
                  <a:cxn ang="0">
                    <a:pos x="107" y="36"/>
                  </a:cxn>
                  <a:cxn ang="0">
                    <a:pos x="167" y="0"/>
                  </a:cxn>
                  <a:cxn ang="0">
                    <a:pos x="191" y="0"/>
                  </a:cxn>
                  <a:cxn ang="0">
                    <a:pos x="191" y="12"/>
                  </a:cxn>
                </a:cxnLst>
                <a:rect l="0" t="0" r="r" b="b"/>
                <a:pathLst>
                  <a:path w="250" h="238">
                    <a:moveTo>
                      <a:pt x="191" y="12"/>
                    </a:moveTo>
                    <a:lnTo>
                      <a:pt x="191" y="48"/>
                    </a:lnTo>
                    <a:lnTo>
                      <a:pt x="214" y="48"/>
                    </a:lnTo>
                    <a:lnTo>
                      <a:pt x="238" y="60"/>
                    </a:lnTo>
                    <a:lnTo>
                      <a:pt x="250" y="84"/>
                    </a:lnTo>
                    <a:lnTo>
                      <a:pt x="238" y="119"/>
                    </a:lnTo>
                    <a:lnTo>
                      <a:pt x="179" y="155"/>
                    </a:lnTo>
                    <a:lnTo>
                      <a:pt x="107" y="191"/>
                    </a:lnTo>
                    <a:lnTo>
                      <a:pt x="24" y="238"/>
                    </a:lnTo>
                    <a:lnTo>
                      <a:pt x="12" y="238"/>
                    </a:lnTo>
                    <a:lnTo>
                      <a:pt x="0" y="214"/>
                    </a:lnTo>
                    <a:lnTo>
                      <a:pt x="12" y="214"/>
                    </a:lnTo>
                    <a:lnTo>
                      <a:pt x="60" y="167"/>
                    </a:lnTo>
                    <a:lnTo>
                      <a:pt x="72" y="119"/>
                    </a:lnTo>
                    <a:lnTo>
                      <a:pt x="107" y="36"/>
                    </a:lnTo>
                    <a:lnTo>
                      <a:pt x="167" y="0"/>
                    </a:lnTo>
                    <a:lnTo>
                      <a:pt x="191" y="0"/>
                    </a:lnTo>
                    <a:lnTo>
                      <a:pt x="191" y="1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80" name="Freeform 364"/>
              <p:cNvSpPr>
                <a:spLocks/>
              </p:cNvSpPr>
              <p:nvPr/>
            </p:nvSpPr>
            <p:spPr bwMode="auto">
              <a:xfrm>
                <a:off x="11291888" y="-22840950"/>
                <a:ext cx="284163" cy="284163"/>
              </a:xfrm>
              <a:custGeom>
                <a:avLst/>
                <a:gdLst/>
                <a:ahLst/>
                <a:cxnLst>
                  <a:cxn ang="0">
                    <a:pos x="179" y="0"/>
                  </a:cxn>
                  <a:cxn ang="0">
                    <a:pos x="179" y="24"/>
                  </a:cxn>
                  <a:cxn ang="0">
                    <a:pos x="155" y="83"/>
                  </a:cxn>
                  <a:cxn ang="0">
                    <a:pos x="84" y="95"/>
                  </a:cxn>
                  <a:cxn ang="0">
                    <a:pos x="24" y="179"/>
                  </a:cxn>
                  <a:cxn ang="0">
                    <a:pos x="0" y="179"/>
                  </a:cxn>
                  <a:cxn ang="0">
                    <a:pos x="0" y="155"/>
                  </a:cxn>
                  <a:cxn ang="0">
                    <a:pos x="36" y="107"/>
                  </a:cxn>
                  <a:cxn ang="0">
                    <a:pos x="48" y="83"/>
                  </a:cxn>
                  <a:cxn ang="0">
                    <a:pos x="119" y="12"/>
                  </a:cxn>
                  <a:cxn ang="0">
                    <a:pos x="155" y="0"/>
                  </a:cxn>
                  <a:cxn ang="0">
                    <a:pos x="179" y="0"/>
                  </a:cxn>
                </a:cxnLst>
                <a:rect l="0" t="0" r="r" b="b"/>
                <a:pathLst>
                  <a:path w="179" h="179">
                    <a:moveTo>
                      <a:pt x="179" y="0"/>
                    </a:moveTo>
                    <a:lnTo>
                      <a:pt x="179" y="24"/>
                    </a:lnTo>
                    <a:lnTo>
                      <a:pt x="155" y="83"/>
                    </a:lnTo>
                    <a:lnTo>
                      <a:pt x="84" y="95"/>
                    </a:lnTo>
                    <a:lnTo>
                      <a:pt x="24" y="179"/>
                    </a:lnTo>
                    <a:lnTo>
                      <a:pt x="0" y="179"/>
                    </a:lnTo>
                    <a:lnTo>
                      <a:pt x="0" y="155"/>
                    </a:lnTo>
                    <a:lnTo>
                      <a:pt x="36" y="107"/>
                    </a:lnTo>
                    <a:lnTo>
                      <a:pt x="48" y="83"/>
                    </a:lnTo>
                    <a:lnTo>
                      <a:pt x="119" y="12"/>
                    </a:lnTo>
                    <a:lnTo>
                      <a:pt x="155" y="0"/>
                    </a:lnTo>
                    <a:lnTo>
                      <a:pt x="179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81" name="Freeform 147"/>
              <p:cNvSpPr>
                <a:spLocks/>
              </p:cNvSpPr>
              <p:nvPr/>
            </p:nvSpPr>
            <p:spPr bwMode="auto">
              <a:xfrm>
                <a:off x="11141075" y="-22539325"/>
                <a:ext cx="698500" cy="755650"/>
              </a:xfrm>
              <a:custGeom>
                <a:avLst/>
                <a:gdLst/>
                <a:ahLst/>
                <a:cxnLst>
                  <a:cxn ang="0">
                    <a:pos x="381" y="0"/>
                  </a:cxn>
                  <a:cxn ang="0">
                    <a:pos x="416" y="12"/>
                  </a:cxn>
                  <a:cxn ang="0">
                    <a:pos x="440" y="36"/>
                  </a:cxn>
                  <a:cxn ang="0">
                    <a:pos x="428" y="60"/>
                  </a:cxn>
                  <a:cxn ang="0">
                    <a:pos x="393" y="167"/>
                  </a:cxn>
                  <a:cxn ang="0">
                    <a:pos x="357" y="191"/>
                  </a:cxn>
                  <a:cxn ang="0">
                    <a:pos x="286" y="202"/>
                  </a:cxn>
                  <a:cxn ang="0">
                    <a:pos x="262" y="214"/>
                  </a:cxn>
                  <a:cxn ang="0">
                    <a:pos x="202" y="274"/>
                  </a:cxn>
                  <a:cxn ang="0">
                    <a:pos x="179" y="309"/>
                  </a:cxn>
                  <a:cxn ang="0">
                    <a:pos x="12" y="476"/>
                  </a:cxn>
                  <a:cxn ang="0">
                    <a:pos x="0" y="476"/>
                  </a:cxn>
                  <a:cxn ang="0">
                    <a:pos x="0" y="464"/>
                  </a:cxn>
                  <a:cxn ang="0">
                    <a:pos x="0" y="428"/>
                  </a:cxn>
                  <a:cxn ang="0">
                    <a:pos x="48" y="369"/>
                  </a:cxn>
                  <a:cxn ang="0">
                    <a:pos x="72" y="321"/>
                  </a:cxn>
                  <a:cxn ang="0">
                    <a:pos x="48" y="309"/>
                  </a:cxn>
                  <a:cxn ang="0">
                    <a:pos x="48" y="298"/>
                  </a:cxn>
                  <a:cxn ang="0">
                    <a:pos x="48" y="274"/>
                  </a:cxn>
                  <a:cxn ang="0">
                    <a:pos x="60" y="238"/>
                  </a:cxn>
                  <a:cxn ang="0">
                    <a:pos x="95" y="155"/>
                  </a:cxn>
                  <a:cxn ang="0">
                    <a:pos x="107" y="143"/>
                  </a:cxn>
                  <a:cxn ang="0">
                    <a:pos x="167" y="143"/>
                  </a:cxn>
                  <a:cxn ang="0">
                    <a:pos x="238" y="48"/>
                  </a:cxn>
                  <a:cxn ang="0">
                    <a:pos x="381" y="0"/>
                  </a:cxn>
                </a:cxnLst>
                <a:rect l="0" t="0" r="r" b="b"/>
                <a:pathLst>
                  <a:path w="440" h="476">
                    <a:moveTo>
                      <a:pt x="381" y="0"/>
                    </a:moveTo>
                    <a:lnTo>
                      <a:pt x="416" y="12"/>
                    </a:lnTo>
                    <a:lnTo>
                      <a:pt x="440" y="36"/>
                    </a:lnTo>
                    <a:lnTo>
                      <a:pt x="428" y="60"/>
                    </a:lnTo>
                    <a:lnTo>
                      <a:pt x="393" y="167"/>
                    </a:lnTo>
                    <a:lnTo>
                      <a:pt x="357" y="191"/>
                    </a:lnTo>
                    <a:lnTo>
                      <a:pt x="286" y="202"/>
                    </a:lnTo>
                    <a:lnTo>
                      <a:pt x="262" y="214"/>
                    </a:lnTo>
                    <a:lnTo>
                      <a:pt x="202" y="274"/>
                    </a:lnTo>
                    <a:lnTo>
                      <a:pt x="179" y="309"/>
                    </a:lnTo>
                    <a:lnTo>
                      <a:pt x="12" y="476"/>
                    </a:lnTo>
                    <a:lnTo>
                      <a:pt x="0" y="476"/>
                    </a:lnTo>
                    <a:lnTo>
                      <a:pt x="0" y="464"/>
                    </a:lnTo>
                    <a:lnTo>
                      <a:pt x="0" y="428"/>
                    </a:lnTo>
                    <a:lnTo>
                      <a:pt x="48" y="369"/>
                    </a:lnTo>
                    <a:lnTo>
                      <a:pt x="72" y="321"/>
                    </a:lnTo>
                    <a:lnTo>
                      <a:pt x="48" y="309"/>
                    </a:lnTo>
                    <a:lnTo>
                      <a:pt x="48" y="298"/>
                    </a:lnTo>
                    <a:lnTo>
                      <a:pt x="48" y="274"/>
                    </a:lnTo>
                    <a:lnTo>
                      <a:pt x="60" y="238"/>
                    </a:lnTo>
                    <a:lnTo>
                      <a:pt x="95" y="155"/>
                    </a:lnTo>
                    <a:lnTo>
                      <a:pt x="107" y="143"/>
                    </a:lnTo>
                    <a:lnTo>
                      <a:pt x="167" y="143"/>
                    </a:lnTo>
                    <a:lnTo>
                      <a:pt x="238" y="48"/>
                    </a:lnTo>
                    <a:lnTo>
                      <a:pt x="381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82" name="Freeform 368"/>
              <p:cNvSpPr>
                <a:spLocks/>
              </p:cNvSpPr>
              <p:nvPr/>
            </p:nvSpPr>
            <p:spPr bwMode="auto">
              <a:xfrm>
                <a:off x="11236325" y="-22501225"/>
                <a:ext cx="150813" cy="131763"/>
              </a:xfrm>
              <a:custGeom>
                <a:avLst/>
                <a:gdLst/>
                <a:ahLst/>
                <a:cxnLst>
                  <a:cxn ang="0">
                    <a:pos x="83" y="0"/>
                  </a:cxn>
                  <a:cxn ang="0">
                    <a:pos x="95" y="24"/>
                  </a:cxn>
                  <a:cxn ang="0">
                    <a:pos x="95" y="36"/>
                  </a:cxn>
                  <a:cxn ang="0">
                    <a:pos x="59" y="83"/>
                  </a:cxn>
                  <a:cxn ang="0">
                    <a:pos x="12" y="83"/>
                  </a:cxn>
                  <a:cxn ang="0">
                    <a:pos x="0" y="60"/>
                  </a:cxn>
                  <a:cxn ang="0">
                    <a:pos x="47" y="12"/>
                  </a:cxn>
                  <a:cxn ang="0">
                    <a:pos x="83" y="0"/>
                  </a:cxn>
                </a:cxnLst>
                <a:rect l="0" t="0" r="r" b="b"/>
                <a:pathLst>
                  <a:path w="95" h="83">
                    <a:moveTo>
                      <a:pt x="83" y="0"/>
                    </a:moveTo>
                    <a:lnTo>
                      <a:pt x="95" y="24"/>
                    </a:lnTo>
                    <a:lnTo>
                      <a:pt x="95" y="36"/>
                    </a:lnTo>
                    <a:lnTo>
                      <a:pt x="59" y="83"/>
                    </a:lnTo>
                    <a:lnTo>
                      <a:pt x="12" y="83"/>
                    </a:lnTo>
                    <a:lnTo>
                      <a:pt x="0" y="60"/>
                    </a:lnTo>
                    <a:lnTo>
                      <a:pt x="47" y="12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83" name="Freeform 370"/>
              <p:cNvSpPr>
                <a:spLocks/>
              </p:cNvSpPr>
              <p:nvPr/>
            </p:nvSpPr>
            <p:spPr bwMode="auto">
              <a:xfrm>
                <a:off x="11123613" y="-23010813"/>
                <a:ext cx="395288" cy="454025"/>
              </a:xfrm>
              <a:custGeom>
                <a:avLst/>
                <a:gdLst/>
                <a:ahLst/>
                <a:cxnLst>
                  <a:cxn ang="0">
                    <a:pos x="178" y="0"/>
                  </a:cxn>
                  <a:cxn ang="0">
                    <a:pos x="202" y="12"/>
                  </a:cxn>
                  <a:cxn ang="0">
                    <a:pos x="237" y="48"/>
                  </a:cxn>
                  <a:cxn ang="0">
                    <a:pos x="249" y="72"/>
                  </a:cxn>
                  <a:cxn ang="0">
                    <a:pos x="225" y="84"/>
                  </a:cxn>
                  <a:cxn ang="0">
                    <a:pos x="166" y="95"/>
                  </a:cxn>
                  <a:cxn ang="0">
                    <a:pos x="118" y="119"/>
                  </a:cxn>
                  <a:cxn ang="0">
                    <a:pos x="95" y="167"/>
                  </a:cxn>
                  <a:cxn ang="0">
                    <a:pos x="83" y="262"/>
                  </a:cxn>
                  <a:cxn ang="0">
                    <a:pos x="59" y="286"/>
                  </a:cxn>
                  <a:cxn ang="0">
                    <a:pos x="47" y="286"/>
                  </a:cxn>
                  <a:cxn ang="0">
                    <a:pos x="11" y="262"/>
                  </a:cxn>
                  <a:cxn ang="0">
                    <a:pos x="0" y="250"/>
                  </a:cxn>
                  <a:cxn ang="0">
                    <a:pos x="47" y="202"/>
                  </a:cxn>
                  <a:cxn ang="0">
                    <a:pos x="35" y="143"/>
                  </a:cxn>
                  <a:cxn ang="0">
                    <a:pos x="47" y="95"/>
                  </a:cxn>
                  <a:cxn ang="0">
                    <a:pos x="59" y="72"/>
                  </a:cxn>
                  <a:cxn ang="0">
                    <a:pos x="95" y="60"/>
                  </a:cxn>
                  <a:cxn ang="0">
                    <a:pos x="142" y="60"/>
                  </a:cxn>
                  <a:cxn ang="0">
                    <a:pos x="178" y="0"/>
                  </a:cxn>
                </a:cxnLst>
                <a:rect l="0" t="0" r="r" b="b"/>
                <a:pathLst>
                  <a:path w="249" h="286">
                    <a:moveTo>
                      <a:pt x="178" y="0"/>
                    </a:moveTo>
                    <a:lnTo>
                      <a:pt x="202" y="12"/>
                    </a:lnTo>
                    <a:lnTo>
                      <a:pt x="237" y="48"/>
                    </a:lnTo>
                    <a:lnTo>
                      <a:pt x="249" y="72"/>
                    </a:lnTo>
                    <a:lnTo>
                      <a:pt x="225" y="84"/>
                    </a:lnTo>
                    <a:lnTo>
                      <a:pt x="166" y="95"/>
                    </a:lnTo>
                    <a:lnTo>
                      <a:pt x="118" y="119"/>
                    </a:lnTo>
                    <a:lnTo>
                      <a:pt x="95" y="167"/>
                    </a:lnTo>
                    <a:lnTo>
                      <a:pt x="83" y="262"/>
                    </a:lnTo>
                    <a:lnTo>
                      <a:pt x="59" y="286"/>
                    </a:lnTo>
                    <a:lnTo>
                      <a:pt x="47" y="286"/>
                    </a:lnTo>
                    <a:lnTo>
                      <a:pt x="11" y="262"/>
                    </a:lnTo>
                    <a:lnTo>
                      <a:pt x="0" y="250"/>
                    </a:lnTo>
                    <a:lnTo>
                      <a:pt x="47" y="202"/>
                    </a:lnTo>
                    <a:lnTo>
                      <a:pt x="35" y="143"/>
                    </a:lnTo>
                    <a:lnTo>
                      <a:pt x="47" y="95"/>
                    </a:lnTo>
                    <a:lnTo>
                      <a:pt x="59" y="72"/>
                    </a:lnTo>
                    <a:lnTo>
                      <a:pt x="95" y="60"/>
                    </a:lnTo>
                    <a:lnTo>
                      <a:pt x="142" y="60"/>
                    </a:lnTo>
                    <a:lnTo>
                      <a:pt x="178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84" name="Freeform 372"/>
              <p:cNvSpPr>
                <a:spLocks/>
              </p:cNvSpPr>
              <p:nvPr/>
            </p:nvSpPr>
            <p:spPr bwMode="auto">
              <a:xfrm>
                <a:off x="11028363" y="-22934613"/>
                <a:ext cx="131763" cy="131763"/>
              </a:xfrm>
              <a:custGeom>
                <a:avLst/>
                <a:gdLst/>
                <a:ahLst/>
                <a:cxnLst>
                  <a:cxn ang="0">
                    <a:pos x="36" y="36"/>
                  </a:cxn>
                  <a:cxn ang="0">
                    <a:pos x="71" y="0"/>
                  </a:cxn>
                  <a:cxn ang="0">
                    <a:pos x="83" y="0"/>
                  </a:cxn>
                  <a:cxn ang="0">
                    <a:pos x="83" y="36"/>
                  </a:cxn>
                  <a:cxn ang="0">
                    <a:pos x="48" y="59"/>
                  </a:cxn>
                  <a:cxn ang="0">
                    <a:pos x="0" y="83"/>
                  </a:cxn>
                  <a:cxn ang="0">
                    <a:pos x="0" y="59"/>
                  </a:cxn>
                  <a:cxn ang="0">
                    <a:pos x="36" y="36"/>
                  </a:cxn>
                </a:cxnLst>
                <a:rect l="0" t="0" r="r" b="b"/>
                <a:pathLst>
                  <a:path w="83" h="83">
                    <a:moveTo>
                      <a:pt x="36" y="36"/>
                    </a:moveTo>
                    <a:lnTo>
                      <a:pt x="71" y="0"/>
                    </a:lnTo>
                    <a:lnTo>
                      <a:pt x="83" y="0"/>
                    </a:lnTo>
                    <a:lnTo>
                      <a:pt x="83" y="36"/>
                    </a:lnTo>
                    <a:lnTo>
                      <a:pt x="48" y="59"/>
                    </a:lnTo>
                    <a:lnTo>
                      <a:pt x="0" y="83"/>
                    </a:lnTo>
                    <a:lnTo>
                      <a:pt x="0" y="59"/>
                    </a:lnTo>
                    <a:lnTo>
                      <a:pt x="36" y="3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85" name="Freeform 374"/>
              <p:cNvSpPr>
                <a:spLocks/>
              </p:cNvSpPr>
              <p:nvPr/>
            </p:nvSpPr>
            <p:spPr bwMode="auto">
              <a:xfrm>
                <a:off x="10953750" y="-22764750"/>
                <a:ext cx="187325" cy="131763"/>
              </a:xfrm>
              <a:custGeom>
                <a:avLst/>
                <a:gdLst/>
                <a:ahLst/>
                <a:cxnLst>
                  <a:cxn ang="0">
                    <a:pos x="118" y="0"/>
                  </a:cxn>
                  <a:cxn ang="0">
                    <a:pos x="118" y="12"/>
                  </a:cxn>
                  <a:cxn ang="0">
                    <a:pos x="118" y="35"/>
                  </a:cxn>
                  <a:cxn ang="0">
                    <a:pos x="95" y="71"/>
                  </a:cxn>
                  <a:cxn ang="0">
                    <a:pos x="71" y="71"/>
                  </a:cxn>
                  <a:cxn ang="0">
                    <a:pos x="35" y="83"/>
                  </a:cxn>
                  <a:cxn ang="0">
                    <a:pos x="11" y="83"/>
                  </a:cxn>
                  <a:cxn ang="0">
                    <a:pos x="0" y="71"/>
                  </a:cxn>
                  <a:cxn ang="0">
                    <a:pos x="11" y="59"/>
                  </a:cxn>
                  <a:cxn ang="0">
                    <a:pos x="59" y="35"/>
                  </a:cxn>
                  <a:cxn ang="0">
                    <a:pos x="95" y="0"/>
                  </a:cxn>
                  <a:cxn ang="0">
                    <a:pos x="118" y="0"/>
                  </a:cxn>
                </a:cxnLst>
                <a:rect l="0" t="0" r="r" b="b"/>
                <a:pathLst>
                  <a:path w="118" h="83">
                    <a:moveTo>
                      <a:pt x="118" y="0"/>
                    </a:moveTo>
                    <a:lnTo>
                      <a:pt x="118" y="12"/>
                    </a:lnTo>
                    <a:lnTo>
                      <a:pt x="118" y="35"/>
                    </a:lnTo>
                    <a:lnTo>
                      <a:pt x="95" y="71"/>
                    </a:lnTo>
                    <a:lnTo>
                      <a:pt x="71" y="71"/>
                    </a:lnTo>
                    <a:lnTo>
                      <a:pt x="35" y="83"/>
                    </a:lnTo>
                    <a:lnTo>
                      <a:pt x="11" y="83"/>
                    </a:lnTo>
                    <a:lnTo>
                      <a:pt x="0" y="71"/>
                    </a:lnTo>
                    <a:lnTo>
                      <a:pt x="11" y="59"/>
                    </a:lnTo>
                    <a:lnTo>
                      <a:pt x="59" y="35"/>
                    </a:lnTo>
                    <a:lnTo>
                      <a:pt x="95" y="0"/>
                    </a:lnTo>
                    <a:lnTo>
                      <a:pt x="118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86" name="Freeform 376"/>
              <p:cNvSpPr>
                <a:spLocks/>
              </p:cNvSpPr>
              <p:nvPr/>
            </p:nvSpPr>
            <p:spPr bwMode="auto">
              <a:xfrm>
                <a:off x="10783888" y="-22745700"/>
                <a:ext cx="169863" cy="150813"/>
              </a:xfrm>
              <a:custGeom>
                <a:avLst/>
                <a:gdLst/>
                <a:ahLst/>
                <a:cxnLst>
                  <a:cxn ang="0">
                    <a:pos x="107" y="12"/>
                  </a:cxn>
                  <a:cxn ang="0">
                    <a:pos x="107" y="23"/>
                  </a:cxn>
                  <a:cxn ang="0">
                    <a:pos x="71" y="59"/>
                  </a:cxn>
                  <a:cxn ang="0">
                    <a:pos x="11" y="95"/>
                  </a:cxn>
                  <a:cxn ang="0">
                    <a:pos x="0" y="83"/>
                  </a:cxn>
                  <a:cxn ang="0">
                    <a:pos x="0" y="47"/>
                  </a:cxn>
                  <a:cxn ang="0">
                    <a:pos x="0" y="35"/>
                  </a:cxn>
                  <a:cxn ang="0">
                    <a:pos x="47" y="23"/>
                  </a:cxn>
                  <a:cxn ang="0">
                    <a:pos x="83" y="0"/>
                  </a:cxn>
                  <a:cxn ang="0">
                    <a:pos x="107" y="12"/>
                  </a:cxn>
                </a:cxnLst>
                <a:rect l="0" t="0" r="r" b="b"/>
                <a:pathLst>
                  <a:path w="107" h="95">
                    <a:moveTo>
                      <a:pt x="107" y="12"/>
                    </a:moveTo>
                    <a:lnTo>
                      <a:pt x="107" y="23"/>
                    </a:lnTo>
                    <a:lnTo>
                      <a:pt x="71" y="59"/>
                    </a:lnTo>
                    <a:lnTo>
                      <a:pt x="11" y="95"/>
                    </a:lnTo>
                    <a:lnTo>
                      <a:pt x="0" y="83"/>
                    </a:lnTo>
                    <a:lnTo>
                      <a:pt x="0" y="47"/>
                    </a:lnTo>
                    <a:lnTo>
                      <a:pt x="0" y="35"/>
                    </a:lnTo>
                    <a:lnTo>
                      <a:pt x="47" y="23"/>
                    </a:lnTo>
                    <a:lnTo>
                      <a:pt x="83" y="0"/>
                    </a:lnTo>
                    <a:lnTo>
                      <a:pt x="107" y="1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87" name="Freeform 378"/>
              <p:cNvSpPr>
                <a:spLocks/>
              </p:cNvSpPr>
              <p:nvPr/>
            </p:nvSpPr>
            <p:spPr bwMode="auto">
              <a:xfrm>
                <a:off x="10669588" y="-23331488"/>
                <a:ext cx="528638" cy="641350"/>
              </a:xfrm>
              <a:custGeom>
                <a:avLst/>
                <a:gdLst/>
                <a:ahLst/>
                <a:cxnLst>
                  <a:cxn ang="0">
                    <a:pos x="321" y="0"/>
                  </a:cxn>
                  <a:cxn ang="0">
                    <a:pos x="333" y="0"/>
                  </a:cxn>
                  <a:cxn ang="0">
                    <a:pos x="333" y="36"/>
                  </a:cxn>
                  <a:cxn ang="0">
                    <a:pos x="297" y="202"/>
                  </a:cxn>
                  <a:cxn ang="0">
                    <a:pos x="286" y="226"/>
                  </a:cxn>
                  <a:cxn ang="0">
                    <a:pos x="250" y="250"/>
                  </a:cxn>
                  <a:cxn ang="0">
                    <a:pos x="179" y="321"/>
                  </a:cxn>
                  <a:cxn ang="0">
                    <a:pos x="107" y="345"/>
                  </a:cxn>
                  <a:cxn ang="0">
                    <a:pos x="60" y="381"/>
                  </a:cxn>
                  <a:cxn ang="0">
                    <a:pos x="12" y="404"/>
                  </a:cxn>
                  <a:cxn ang="0">
                    <a:pos x="0" y="392"/>
                  </a:cxn>
                  <a:cxn ang="0">
                    <a:pos x="0" y="369"/>
                  </a:cxn>
                  <a:cxn ang="0">
                    <a:pos x="107" y="274"/>
                  </a:cxn>
                  <a:cxn ang="0">
                    <a:pos x="143" y="179"/>
                  </a:cxn>
                  <a:cxn ang="0">
                    <a:pos x="190" y="84"/>
                  </a:cxn>
                  <a:cxn ang="0">
                    <a:pos x="250" y="24"/>
                  </a:cxn>
                  <a:cxn ang="0">
                    <a:pos x="321" y="0"/>
                  </a:cxn>
                </a:cxnLst>
                <a:rect l="0" t="0" r="r" b="b"/>
                <a:pathLst>
                  <a:path w="333" h="404">
                    <a:moveTo>
                      <a:pt x="321" y="0"/>
                    </a:moveTo>
                    <a:lnTo>
                      <a:pt x="333" y="0"/>
                    </a:lnTo>
                    <a:lnTo>
                      <a:pt x="333" y="36"/>
                    </a:lnTo>
                    <a:lnTo>
                      <a:pt x="297" y="202"/>
                    </a:lnTo>
                    <a:lnTo>
                      <a:pt x="286" y="226"/>
                    </a:lnTo>
                    <a:lnTo>
                      <a:pt x="250" y="250"/>
                    </a:lnTo>
                    <a:lnTo>
                      <a:pt x="179" y="321"/>
                    </a:lnTo>
                    <a:lnTo>
                      <a:pt x="107" y="345"/>
                    </a:lnTo>
                    <a:lnTo>
                      <a:pt x="60" y="381"/>
                    </a:lnTo>
                    <a:lnTo>
                      <a:pt x="12" y="404"/>
                    </a:lnTo>
                    <a:lnTo>
                      <a:pt x="0" y="392"/>
                    </a:lnTo>
                    <a:lnTo>
                      <a:pt x="0" y="369"/>
                    </a:lnTo>
                    <a:lnTo>
                      <a:pt x="107" y="274"/>
                    </a:lnTo>
                    <a:lnTo>
                      <a:pt x="143" y="179"/>
                    </a:lnTo>
                    <a:lnTo>
                      <a:pt x="190" y="84"/>
                    </a:lnTo>
                    <a:lnTo>
                      <a:pt x="250" y="24"/>
                    </a:lnTo>
                    <a:lnTo>
                      <a:pt x="321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88" name="Freeform 380"/>
              <p:cNvSpPr>
                <a:spLocks/>
              </p:cNvSpPr>
              <p:nvPr/>
            </p:nvSpPr>
            <p:spPr bwMode="auto">
              <a:xfrm>
                <a:off x="10783888" y="-23085425"/>
                <a:ext cx="74613" cy="169863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47" y="24"/>
                  </a:cxn>
                  <a:cxn ang="0">
                    <a:pos x="35" y="83"/>
                  </a:cxn>
                  <a:cxn ang="0">
                    <a:pos x="11" y="107"/>
                  </a:cxn>
                  <a:cxn ang="0">
                    <a:pos x="0" y="83"/>
                  </a:cxn>
                  <a:cxn ang="0">
                    <a:pos x="0" y="47"/>
                  </a:cxn>
                  <a:cxn ang="0">
                    <a:pos x="23" y="0"/>
                  </a:cxn>
                  <a:cxn ang="0">
                    <a:pos x="35" y="0"/>
                  </a:cxn>
                </a:cxnLst>
                <a:rect l="0" t="0" r="r" b="b"/>
                <a:pathLst>
                  <a:path w="47" h="107">
                    <a:moveTo>
                      <a:pt x="35" y="0"/>
                    </a:moveTo>
                    <a:lnTo>
                      <a:pt x="47" y="24"/>
                    </a:lnTo>
                    <a:lnTo>
                      <a:pt x="35" y="83"/>
                    </a:lnTo>
                    <a:lnTo>
                      <a:pt x="11" y="107"/>
                    </a:lnTo>
                    <a:lnTo>
                      <a:pt x="0" y="83"/>
                    </a:lnTo>
                    <a:lnTo>
                      <a:pt x="0" y="47"/>
                    </a:lnTo>
                    <a:lnTo>
                      <a:pt x="2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89" name="Freeform 382"/>
              <p:cNvSpPr>
                <a:spLocks/>
              </p:cNvSpPr>
              <p:nvPr/>
            </p:nvSpPr>
            <p:spPr bwMode="auto">
              <a:xfrm>
                <a:off x="11858625" y="-22501225"/>
                <a:ext cx="735013" cy="9810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59" y="0"/>
                  </a:cxn>
                  <a:cxn ang="0">
                    <a:pos x="119" y="95"/>
                  </a:cxn>
                  <a:cxn ang="0">
                    <a:pos x="131" y="107"/>
                  </a:cxn>
                  <a:cxn ang="0">
                    <a:pos x="190" y="107"/>
                  </a:cxn>
                  <a:cxn ang="0">
                    <a:pos x="238" y="143"/>
                  </a:cxn>
                  <a:cxn ang="0">
                    <a:pos x="297" y="155"/>
                  </a:cxn>
                  <a:cxn ang="0">
                    <a:pos x="356" y="202"/>
                  </a:cxn>
                  <a:cxn ang="0">
                    <a:pos x="356" y="238"/>
                  </a:cxn>
                  <a:cxn ang="0">
                    <a:pos x="333" y="274"/>
                  </a:cxn>
                  <a:cxn ang="0">
                    <a:pos x="380" y="274"/>
                  </a:cxn>
                  <a:cxn ang="0">
                    <a:pos x="416" y="262"/>
                  </a:cxn>
                  <a:cxn ang="0">
                    <a:pos x="440" y="274"/>
                  </a:cxn>
                  <a:cxn ang="0">
                    <a:pos x="452" y="333"/>
                  </a:cxn>
                  <a:cxn ang="0">
                    <a:pos x="463" y="452"/>
                  </a:cxn>
                  <a:cxn ang="0">
                    <a:pos x="392" y="523"/>
                  </a:cxn>
                  <a:cxn ang="0">
                    <a:pos x="356" y="535"/>
                  </a:cxn>
                  <a:cxn ang="0">
                    <a:pos x="309" y="535"/>
                  </a:cxn>
                  <a:cxn ang="0">
                    <a:pos x="226" y="583"/>
                  </a:cxn>
                  <a:cxn ang="0">
                    <a:pos x="178" y="583"/>
                  </a:cxn>
                  <a:cxn ang="0">
                    <a:pos x="154" y="606"/>
                  </a:cxn>
                  <a:cxn ang="0">
                    <a:pos x="119" y="618"/>
                  </a:cxn>
                  <a:cxn ang="0">
                    <a:pos x="83" y="594"/>
                  </a:cxn>
                  <a:cxn ang="0">
                    <a:pos x="59" y="571"/>
                  </a:cxn>
                  <a:cxn ang="0">
                    <a:pos x="95" y="511"/>
                  </a:cxn>
                  <a:cxn ang="0">
                    <a:pos x="95" y="416"/>
                  </a:cxn>
                  <a:cxn ang="0">
                    <a:pos x="83" y="309"/>
                  </a:cxn>
                  <a:cxn ang="0">
                    <a:pos x="48" y="250"/>
                  </a:cxn>
                  <a:cxn ang="0">
                    <a:pos x="12" y="238"/>
                  </a:cxn>
                  <a:cxn ang="0">
                    <a:pos x="0" y="202"/>
                  </a:cxn>
                  <a:cxn ang="0">
                    <a:pos x="12" y="190"/>
                  </a:cxn>
                  <a:cxn ang="0">
                    <a:pos x="36" y="178"/>
                  </a:cxn>
                  <a:cxn ang="0">
                    <a:pos x="83" y="167"/>
                  </a:cxn>
                  <a:cxn ang="0">
                    <a:pos x="119" y="178"/>
                  </a:cxn>
                  <a:cxn ang="0">
                    <a:pos x="143" y="226"/>
                  </a:cxn>
                  <a:cxn ang="0">
                    <a:pos x="131" y="262"/>
                  </a:cxn>
                  <a:cxn ang="0">
                    <a:pos x="71" y="250"/>
                  </a:cxn>
                  <a:cxn ang="0">
                    <a:pos x="95" y="274"/>
                  </a:cxn>
                  <a:cxn ang="0">
                    <a:pos x="119" y="285"/>
                  </a:cxn>
                  <a:cxn ang="0">
                    <a:pos x="154" y="274"/>
                  </a:cxn>
                  <a:cxn ang="0">
                    <a:pos x="166" y="262"/>
                  </a:cxn>
                  <a:cxn ang="0">
                    <a:pos x="166" y="202"/>
                  </a:cxn>
                  <a:cxn ang="0">
                    <a:pos x="166" y="190"/>
                  </a:cxn>
                  <a:cxn ang="0">
                    <a:pos x="154" y="178"/>
                  </a:cxn>
                  <a:cxn ang="0">
                    <a:pos x="131" y="119"/>
                  </a:cxn>
                  <a:cxn ang="0">
                    <a:pos x="119" y="119"/>
                  </a:cxn>
                  <a:cxn ang="0">
                    <a:pos x="107" y="143"/>
                  </a:cxn>
                  <a:cxn ang="0">
                    <a:pos x="48" y="155"/>
                  </a:cxn>
                  <a:cxn ang="0">
                    <a:pos x="24" y="155"/>
                  </a:cxn>
                  <a:cxn ang="0">
                    <a:pos x="12" y="119"/>
                  </a:cxn>
                  <a:cxn ang="0">
                    <a:pos x="24" y="24"/>
                  </a:cxn>
                  <a:cxn ang="0">
                    <a:pos x="36" y="0"/>
                  </a:cxn>
                </a:cxnLst>
                <a:rect l="0" t="0" r="r" b="b"/>
                <a:pathLst>
                  <a:path w="463" h="618">
                    <a:moveTo>
                      <a:pt x="36" y="0"/>
                    </a:moveTo>
                    <a:lnTo>
                      <a:pt x="59" y="0"/>
                    </a:lnTo>
                    <a:lnTo>
                      <a:pt x="119" y="95"/>
                    </a:lnTo>
                    <a:lnTo>
                      <a:pt x="131" y="107"/>
                    </a:lnTo>
                    <a:lnTo>
                      <a:pt x="190" y="107"/>
                    </a:lnTo>
                    <a:lnTo>
                      <a:pt x="238" y="143"/>
                    </a:lnTo>
                    <a:lnTo>
                      <a:pt x="297" y="155"/>
                    </a:lnTo>
                    <a:lnTo>
                      <a:pt x="356" y="202"/>
                    </a:lnTo>
                    <a:lnTo>
                      <a:pt x="356" y="238"/>
                    </a:lnTo>
                    <a:lnTo>
                      <a:pt x="333" y="274"/>
                    </a:lnTo>
                    <a:lnTo>
                      <a:pt x="380" y="274"/>
                    </a:lnTo>
                    <a:lnTo>
                      <a:pt x="416" y="262"/>
                    </a:lnTo>
                    <a:lnTo>
                      <a:pt x="440" y="274"/>
                    </a:lnTo>
                    <a:lnTo>
                      <a:pt x="452" y="333"/>
                    </a:lnTo>
                    <a:lnTo>
                      <a:pt x="463" y="452"/>
                    </a:lnTo>
                    <a:lnTo>
                      <a:pt x="392" y="523"/>
                    </a:lnTo>
                    <a:lnTo>
                      <a:pt x="356" y="535"/>
                    </a:lnTo>
                    <a:lnTo>
                      <a:pt x="309" y="535"/>
                    </a:lnTo>
                    <a:lnTo>
                      <a:pt x="226" y="583"/>
                    </a:lnTo>
                    <a:lnTo>
                      <a:pt x="178" y="583"/>
                    </a:lnTo>
                    <a:lnTo>
                      <a:pt x="154" y="606"/>
                    </a:lnTo>
                    <a:lnTo>
                      <a:pt x="119" y="618"/>
                    </a:lnTo>
                    <a:lnTo>
                      <a:pt x="83" y="594"/>
                    </a:lnTo>
                    <a:lnTo>
                      <a:pt x="59" y="571"/>
                    </a:lnTo>
                    <a:lnTo>
                      <a:pt x="95" y="511"/>
                    </a:lnTo>
                    <a:lnTo>
                      <a:pt x="95" y="416"/>
                    </a:lnTo>
                    <a:lnTo>
                      <a:pt x="83" y="309"/>
                    </a:lnTo>
                    <a:lnTo>
                      <a:pt x="48" y="250"/>
                    </a:lnTo>
                    <a:lnTo>
                      <a:pt x="12" y="238"/>
                    </a:lnTo>
                    <a:lnTo>
                      <a:pt x="0" y="202"/>
                    </a:lnTo>
                    <a:lnTo>
                      <a:pt x="12" y="190"/>
                    </a:lnTo>
                    <a:lnTo>
                      <a:pt x="36" y="178"/>
                    </a:lnTo>
                    <a:lnTo>
                      <a:pt x="83" y="167"/>
                    </a:lnTo>
                    <a:lnTo>
                      <a:pt x="119" y="178"/>
                    </a:lnTo>
                    <a:lnTo>
                      <a:pt x="143" y="226"/>
                    </a:lnTo>
                    <a:lnTo>
                      <a:pt x="131" y="262"/>
                    </a:lnTo>
                    <a:lnTo>
                      <a:pt x="71" y="250"/>
                    </a:lnTo>
                    <a:lnTo>
                      <a:pt x="95" y="274"/>
                    </a:lnTo>
                    <a:lnTo>
                      <a:pt x="119" y="285"/>
                    </a:lnTo>
                    <a:lnTo>
                      <a:pt x="154" y="274"/>
                    </a:lnTo>
                    <a:lnTo>
                      <a:pt x="166" y="262"/>
                    </a:lnTo>
                    <a:lnTo>
                      <a:pt x="166" y="202"/>
                    </a:lnTo>
                    <a:lnTo>
                      <a:pt x="166" y="190"/>
                    </a:lnTo>
                    <a:lnTo>
                      <a:pt x="154" y="178"/>
                    </a:lnTo>
                    <a:lnTo>
                      <a:pt x="131" y="119"/>
                    </a:lnTo>
                    <a:lnTo>
                      <a:pt x="119" y="119"/>
                    </a:lnTo>
                    <a:lnTo>
                      <a:pt x="107" y="143"/>
                    </a:lnTo>
                    <a:lnTo>
                      <a:pt x="48" y="155"/>
                    </a:lnTo>
                    <a:lnTo>
                      <a:pt x="24" y="155"/>
                    </a:lnTo>
                    <a:lnTo>
                      <a:pt x="12" y="119"/>
                    </a:lnTo>
                    <a:lnTo>
                      <a:pt x="24" y="2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90" name="Freeform 384"/>
              <p:cNvSpPr>
                <a:spLocks/>
              </p:cNvSpPr>
              <p:nvPr/>
            </p:nvSpPr>
            <p:spPr bwMode="auto">
              <a:xfrm>
                <a:off x="11839575" y="-22048788"/>
                <a:ext cx="131763" cy="490538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60" y="12"/>
                  </a:cxn>
                  <a:cxn ang="0">
                    <a:pos x="83" y="72"/>
                  </a:cxn>
                  <a:cxn ang="0">
                    <a:pos x="83" y="191"/>
                  </a:cxn>
                  <a:cxn ang="0">
                    <a:pos x="71" y="214"/>
                  </a:cxn>
                  <a:cxn ang="0">
                    <a:pos x="60" y="238"/>
                  </a:cxn>
                  <a:cxn ang="0">
                    <a:pos x="60" y="286"/>
                  </a:cxn>
                  <a:cxn ang="0">
                    <a:pos x="71" y="309"/>
                  </a:cxn>
                  <a:cxn ang="0">
                    <a:pos x="48" y="309"/>
                  </a:cxn>
                  <a:cxn ang="0">
                    <a:pos x="0" y="250"/>
                  </a:cxn>
                  <a:cxn ang="0">
                    <a:pos x="12" y="72"/>
                  </a:cxn>
                  <a:cxn ang="0">
                    <a:pos x="36" y="36"/>
                  </a:cxn>
                  <a:cxn ang="0">
                    <a:pos x="36" y="0"/>
                  </a:cxn>
                  <a:cxn ang="0">
                    <a:pos x="48" y="0"/>
                  </a:cxn>
                </a:cxnLst>
                <a:rect l="0" t="0" r="r" b="b"/>
                <a:pathLst>
                  <a:path w="83" h="309">
                    <a:moveTo>
                      <a:pt x="48" y="0"/>
                    </a:moveTo>
                    <a:lnTo>
                      <a:pt x="60" y="12"/>
                    </a:lnTo>
                    <a:lnTo>
                      <a:pt x="83" y="72"/>
                    </a:lnTo>
                    <a:lnTo>
                      <a:pt x="83" y="191"/>
                    </a:lnTo>
                    <a:lnTo>
                      <a:pt x="71" y="214"/>
                    </a:lnTo>
                    <a:lnTo>
                      <a:pt x="60" y="238"/>
                    </a:lnTo>
                    <a:lnTo>
                      <a:pt x="60" y="286"/>
                    </a:lnTo>
                    <a:lnTo>
                      <a:pt x="71" y="309"/>
                    </a:lnTo>
                    <a:lnTo>
                      <a:pt x="48" y="309"/>
                    </a:lnTo>
                    <a:lnTo>
                      <a:pt x="0" y="250"/>
                    </a:lnTo>
                    <a:lnTo>
                      <a:pt x="12" y="72"/>
                    </a:lnTo>
                    <a:lnTo>
                      <a:pt x="36" y="36"/>
                    </a:lnTo>
                    <a:lnTo>
                      <a:pt x="36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91" name="Freeform 386"/>
              <p:cNvSpPr>
                <a:spLocks/>
              </p:cNvSpPr>
              <p:nvPr/>
            </p:nvSpPr>
            <p:spPr bwMode="auto">
              <a:xfrm>
                <a:off x="11123613" y="-22180550"/>
                <a:ext cx="622300" cy="585788"/>
              </a:xfrm>
              <a:custGeom>
                <a:avLst/>
                <a:gdLst/>
                <a:ahLst/>
                <a:cxnLst>
                  <a:cxn ang="0">
                    <a:pos x="332" y="0"/>
                  </a:cxn>
                  <a:cxn ang="0">
                    <a:pos x="368" y="0"/>
                  </a:cxn>
                  <a:cxn ang="0">
                    <a:pos x="380" y="24"/>
                  </a:cxn>
                  <a:cxn ang="0">
                    <a:pos x="392" y="83"/>
                  </a:cxn>
                  <a:cxn ang="0">
                    <a:pos x="380" y="95"/>
                  </a:cxn>
                  <a:cxn ang="0">
                    <a:pos x="356" y="95"/>
                  </a:cxn>
                  <a:cxn ang="0">
                    <a:pos x="261" y="131"/>
                  </a:cxn>
                  <a:cxn ang="0">
                    <a:pos x="273" y="167"/>
                  </a:cxn>
                  <a:cxn ang="0">
                    <a:pos x="261" y="178"/>
                  </a:cxn>
                  <a:cxn ang="0">
                    <a:pos x="237" y="190"/>
                  </a:cxn>
                  <a:cxn ang="0">
                    <a:pos x="190" y="214"/>
                  </a:cxn>
                  <a:cxn ang="0">
                    <a:pos x="178" y="238"/>
                  </a:cxn>
                  <a:cxn ang="0">
                    <a:pos x="166" y="297"/>
                  </a:cxn>
                  <a:cxn ang="0">
                    <a:pos x="154" y="333"/>
                  </a:cxn>
                  <a:cxn ang="0">
                    <a:pos x="118" y="345"/>
                  </a:cxn>
                  <a:cxn ang="0">
                    <a:pos x="59" y="369"/>
                  </a:cxn>
                  <a:cxn ang="0">
                    <a:pos x="23" y="369"/>
                  </a:cxn>
                  <a:cxn ang="0">
                    <a:pos x="0" y="357"/>
                  </a:cxn>
                  <a:cxn ang="0">
                    <a:pos x="0" y="333"/>
                  </a:cxn>
                  <a:cxn ang="0">
                    <a:pos x="0" y="297"/>
                  </a:cxn>
                  <a:cxn ang="0">
                    <a:pos x="118" y="190"/>
                  </a:cxn>
                  <a:cxn ang="0">
                    <a:pos x="166" y="155"/>
                  </a:cxn>
                  <a:cxn ang="0">
                    <a:pos x="225" y="143"/>
                  </a:cxn>
                  <a:cxn ang="0">
                    <a:pos x="213" y="95"/>
                  </a:cxn>
                  <a:cxn ang="0">
                    <a:pos x="237" y="60"/>
                  </a:cxn>
                  <a:cxn ang="0">
                    <a:pos x="273" y="24"/>
                  </a:cxn>
                  <a:cxn ang="0">
                    <a:pos x="332" y="0"/>
                  </a:cxn>
                </a:cxnLst>
                <a:rect l="0" t="0" r="r" b="b"/>
                <a:pathLst>
                  <a:path w="392" h="369">
                    <a:moveTo>
                      <a:pt x="332" y="0"/>
                    </a:moveTo>
                    <a:lnTo>
                      <a:pt x="368" y="0"/>
                    </a:lnTo>
                    <a:lnTo>
                      <a:pt x="380" y="24"/>
                    </a:lnTo>
                    <a:lnTo>
                      <a:pt x="392" y="83"/>
                    </a:lnTo>
                    <a:lnTo>
                      <a:pt x="380" y="95"/>
                    </a:lnTo>
                    <a:lnTo>
                      <a:pt x="356" y="95"/>
                    </a:lnTo>
                    <a:lnTo>
                      <a:pt x="261" y="131"/>
                    </a:lnTo>
                    <a:lnTo>
                      <a:pt x="273" y="167"/>
                    </a:lnTo>
                    <a:lnTo>
                      <a:pt x="261" y="178"/>
                    </a:lnTo>
                    <a:lnTo>
                      <a:pt x="237" y="190"/>
                    </a:lnTo>
                    <a:lnTo>
                      <a:pt x="190" y="214"/>
                    </a:lnTo>
                    <a:lnTo>
                      <a:pt x="178" y="238"/>
                    </a:lnTo>
                    <a:lnTo>
                      <a:pt x="166" y="297"/>
                    </a:lnTo>
                    <a:lnTo>
                      <a:pt x="154" y="333"/>
                    </a:lnTo>
                    <a:lnTo>
                      <a:pt x="118" y="345"/>
                    </a:lnTo>
                    <a:lnTo>
                      <a:pt x="59" y="369"/>
                    </a:lnTo>
                    <a:lnTo>
                      <a:pt x="23" y="369"/>
                    </a:lnTo>
                    <a:lnTo>
                      <a:pt x="0" y="357"/>
                    </a:lnTo>
                    <a:lnTo>
                      <a:pt x="0" y="333"/>
                    </a:lnTo>
                    <a:lnTo>
                      <a:pt x="0" y="297"/>
                    </a:lnTo>
                    <a:lnTo>
                      <a:pt x="118" y="190"/>
                    </a:lnTo>
                    <a:lnTo>
                      <a:pt x="166" y="155"/>
                    </a:lnTo>
                    <a:lnTo>
                      <a:pt x="225" y="143"/>
                    </a:lnTo>
                    <a:lnTo>
                      <a:pt x="213" y="95"/>
                    </a:lnTo>
                    <a:lnTo>
                      <a:pt x="237" y="60"/>
                    </a:lnTo>
                    <a:lnTo>
                      <a:pt x="273" y="24"/>
                    </a:lnTo>
                    <a:lnTo>
                      <a:pt x="33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92" name="Freeform 388"/>
              <p:cNvSpPr>
                <a:spLocks/>
              </p:cNvSpPr>
              <p:nvPr/>
            </p:nvSpPr>
            <p:spPr bwMode="auto">
              <a:xfrm>
                <a:off x="11612563" y="-21991638"/>
                <a:ext cx="188913" cy="112713"/>
              </a:xfrm>
              <a:custGeom>
                <a:avLst/>
                <a:gdLst/>
                <a:ahLst/>
                <a:cxnLst>
                  <a:cxn ang="0">
                    <a:pos x="96" y="0"/>
                  </a:cxn>
                  <a:cxn ang="0">
                    <a:pos x="119" y="24"/>
                  </a:cxn>
                  <a:cxn ang="0">
                    <a:pos x="107" y="48"/>
                  </a:cxn>
                  <a:cxn ang="0">
                    <a:pos x="24" y="71"/>
                  </a:cxn>
                  <a:cxn ang="0">
                    <a:pos x="0" y="71"/>
                  </a:cxn>
                  <a:cxn ang="0">
                    <a:pos x="0" y="48"/>
                  </a:cxn>
                  <a:cxn ang="0">
                    <a:pos x="0" y="24"/>
                  </a:cxn>
                  <a:cxn ang="0">
                    <a:pos x="96" y="0"/>
                  </a:cxn>
                </a:cxnLst>
                <a:rect l="0" t="0" r="r" b="b"/>
                <a:pathLst>
                  <a:path w="119" h="71">
                    <a:moveTo>
                      <a:pt x="96" y="0"/>
                    </a:moveTo>
                    <a:lnTo>
                      <a:pt x="119" y="24"/>
                    </a:lnTo>
                    <a:lnTo>
                      <a:pt x="107" y="48"/>
                    </a:lnTo>
                    <a:lnTo>
                      <a:pt x="24" y="71"/>
                    </a:lnTo>
                    <a:lnTo>
                      <a:pt x="0" y="71"/>
                    </a:lnTo>
                    <a:lnTo>
                      <a:pt x="0" y="48"/>
                    </a:lnTo>
                    <a:lnTo>
                      <a:pt x="0" y="24"/>
                    </a:lnTo>
                    <a:lnTo>
                      <a:pt x="96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93" name="Freeform 390"/>
              <p:cNvSpPr>
                <a:spLocks/>
              </p:cNvSpPr>
              <p:nvPr/>
            </p:nvSpPr>
            <p:spPr bwMode="auto">
              <a:xfrm>
                <a:off x="11425238" y="-21859875"/>
                <a:ext cx="357188" cy="284163"/>
              </a:xfrm>
              <a:custGeom>
                <a:avLst/>
                <a:gdLst/>
                <a:ahLst/>
                <a:cxnLst>
                  <a:cxn ang="0">
                    <a:pos x="202" y="12"/>
                  </a:cxn>
                  <a:cxn ang="0">
                    <a:pos x="225" y="48"/>
                  </a:cxn>
                  <a:cxn ang="0">
                    <a:pos x="202" y="95"/>
                  </a:cxn>
                  <a:cxn ang="0">
                    <a:pos x="225" y="167"/>
                  </a:cxn>
                  <a:cxn ang="0">
                    <a:pos x="225" y="179"/>
                  </a:cxn>
                  <a:cxn ang="0">
                    <a:pos x="166" y="155"/>
                  </a:cxn>
                  <a:cxn ang="0">
                    <a:pos x="130" y="95"/>
                  </a:cxn>
                  <a:cxn ang="0">
                    <a:pos x="107" y="72"/>
                  </a:cxn>
                  <a:cxn ang="0">
                    <a:pos x="59" y="107"/>
                  </a:cxn>
                  <a:cxn ang="0">
                    <a:pos x="35" y="119"/>
                  </a:cxn>
                  <a:cxn ang="0">
                    <a:pos x="0" y="119"/>
                  </a:cxn>
                  <a:cxn ang="0">
                    <a:pos x="0" y="95"/>
                  </a:cxn>
                  <a:cxn ang="0">
                    <a:pos x="12" y="95"/>
                  </a:cxn>
                  <a:cxn ang="0">
                    <a:pos x="12" y="48"/>
                  </a:cxn>
                  <a:cxn ang="0">
                    <a:pos x="23" y="36"/>
                  </a:cxn>
                  <a:cxn ang="0">
                    <a:pos x="71" y="36"/>
                  </a:cxn>
                  <a:cxn ang="0">
                    <a:pos x="83" y="12"/>
                  </a:cxn>
                  <a:cxn ang="0">
                    <a:pos x="142" y="24"/>
                  </a:cxn>
                  <a:cxn ang="0">
                    <a:pos x="178" y="0"/>
                  </a:cxn>
                  <a:cxn ang="0">
                    <a:pos x="202" y="12"/>
                  </a:cxn>
                </a:cxnLst>
                <a:rect l="0" t="0" r="r" b="b"/>
                <a:pathLst>
                  <a:path w="225" h="179">
                    <a:moveTo>
                      <a:pt x="202" y="12"/>
                    </a:moveTo>
                    <a:lnTo>
                      <a:pt x="225" y="48"/>
                    </a:lnTo>
                    <a:lnTo>
                      <a:pt x="202" y="95"/>
                    </a:lnTo>
                    <a:lnTo>
                      <a:pt x="225" y="167"/>
                    </a:lnTo>
                    <a:lnTo>
                      <a:pt x="225" y="179"/>
                    </a:lnTo>
                    <a:lnTo>
                      <a:pt x="166" y="155"/>
                    </a:lnTo>
                    <a:lnTo>
                      <a:pt x="130" y="95"/>
                    </a:lnTo>
                    <a:lnTo>
                      <a:pt x="107" y="72"/>
                    </a:lnTo>
                    <a:lnTo>
                      <a:pt x="59" y="107"/>
                    </a:lnTo>
                    <a:lnTo>
                      <a:pt x="35" y="119"/>
                    </a:lnTo>
                    <a:lnTo>
                      <a:pt x="0" y="119"/>
                    </a:lnTo>
                    <a:lnTo>
                      <a:pt x="0" y="95"/>
                    </a:lnTo>
                    <a:lnTo>
                      <a:pt x="12" y="95"/>
                    </a:lnTo>
                    <a:lnTo>
                      <a:pt x="12" y="48"/>
                    </a:lnTo>
                    <a:lnTo>
                      <a:pt x="23" y="36"/>
                    </a:lnTo>
                    <a:lnTo>
                      <a:pt x="71" y="36"/>
                    </a:lnTo>
                    <a:lnTo>
                      <a:pt x="83" y="12"/>
                    </a:lnTo>
                    <a:lnTo>
                      <a:pt x="142" y="24"/>
                    </a:lnTo>
                    <a:lnTo>
                      <a:pt x="178" y="0"/>
                    </a:lnTo>
                    <a:lnTo>
                      <a:pt x="202" y="1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94" name="Freeform 392"/>
              <p:cNvSpPr>
                <a:spLocks/>
              </p:cNvSpPr>
              <p:nvPr/>
            </p:nvSpPr>
            <p:spPr bwMode="auto">
              <a:xfrm>
                <a:off x="11099004" y="-22255163"/>
                <a:ext cx="80172" cy="263525"/>
              </a:xfrm>
              <a:custGeom>
                <a:avLst/>
                <a:gdLst>
                  <a:gd name="connsiteX0" fmla="*/ 10745 w 10745"/>
                  <a:gd name="connsiteY0" fmla="*/ 0 h 10000"/>
                  <a:gd name="connsiteX1" fmla="*/ 10745 w 10745"/>
                  <a:gd name="connsiteY1" fmla="*/ 7831 h 10000"/>
                  <a:gd name="connsiteX2" fmla="*/ 5639 w 10745"/>
                  <a:gd name="connsiteY2" fmla="*/ 10000 h 10000"/>
                  <a:gd name="connsiteX3" fmla="*/ 3298 w 10745"/>
                  <a:gd name="connsiteY3" fmla="*/ 10000 h 10000"/>
                  <a:gd name="connsiteX4" fmla="*/ 745 w 10745"/>
                  <a:gd name="connsiteY4" fmla="*/ 8554 h 10000"/>
                  <a:gd name="connsiteX5" fmla="*/ 0 w 10745"/>
                  <a:gd name="connsiteY5" fmla="*/ 6596 h 10000"/>
                  <a:gd name="connsiteX6" fmla="*/ 3298 w 10745"/>
                  <a:gd name="connsiteY6" fmla="*/ 5000 h 10000"/>
                  <a:gd name="connsiteX7" fmla="*/ 5639 w 10745"/>
                  <a:gd name="connsiteY7" fmla="*/ 0 h 10000"/>
                  <a:gd name="connsiteX8" fmla="*/ 5639 w 10745"/>
                  <a:gd name="connsiteY8" fmla="*/ 0 h 10000"/>
                  <a:gd name="connsiteX9" fmla="*/ 10745 w 10745"/>
                  <a:gd name="connsiteY9" fmla="*/ 0 h 10000"/>
                  <a:gd name="connsiteX0" fmla="*/ 10745 w 10745"/>
                  <a:gd name="connsiteY0" fmla="*/ 0 h 10000"/>
                  <a:gd name="connsiteX1" fmla="*/ 8936 w 10745"/>
                  <a:gd name="connsiteY1" fmla="*/ 3253 h 10000"/>
                  <a:gd name="connsiteX2" fmla="*/ 10745 w 10745"/>
                  <a:gd name="connsiteY2" fmla="*/ 7831 h 10000"/>
                  <a:gd name="connsiteX3" fmla="*/ 5639 w 10745"/>
                  <a:gd name="connsiteY3" fmla="*/ 10000 h 10000"/>
                  <a:gd name="connsiteX4" fmla="*/ 3298 w 10745"/>
                  <a:gd name="connsiteY4" fmla="*/ 10000 h 10000"/>
                  <a:gd name="connsiteX5" fmla="*/ 745 w 10745"/>
                  <a:gd name="connsiteY5" fmla="*/ 8554 h 10000"/>
                  <a:gd name="connsiteX6" fmla="*/ 0 w 10745"/>
                  <a:gd name="connsiteY6" fmla="*/ 6596 h 10000"/>
                  <a:gd name="connsiteX7" fmla="*/ 3298 w 10745"/>
                  <a:gd name="connsiteY7" fmla="*/ 5000 h 10000"/>
                  <a:gd name="connsiteX8" fmla="*/ 5639 w 10745"/>
                  <a:gd name="connsiteY8" fmla="*/ 0 h 10000"/>
                  <a:gd name="connsiteX9" fmla="*/ 5639 w 10745"/>
                  <a:gd name="connsiteY9" fmla="*/ 0 h 10000"/>
                  <a:gd name="connsiteX10" fmla="*/ 10745 w 10745"/>
                  <a:gd name="connsiteY10" fmla="*/ 0 h 10000"/>
                  <a:gd name="connsiteX0" fmla="*/ 8511 w 10745"/>
                  <a:gd name="connsiteY0" fmla="*/ 361 h 10000"/>
                  <a:gd name="connsiteX1" fmla="*/ 8936 w 10745"/>
                  <a:gd name="connsiteY1" fmla="*/ 3253 h 10000"/>
                  <a:gd name="connsiteX2" fmla="*/ 10745 w 10745"/>
                  <a:gd name="connsiteY2" fmla="*/ 7831 h 10000"/>
                  <a:gd name="connsiteX3" fmla="*/ 5639 w 10745"/>
                  <a:gd name="connsiteY3" fmla="*/ 10000 h 10000"/>
                  <a:gd name="connsiteX4" fmla="*/ 3298 w 10745"/>
                  <a:gd name="connsiteY4" fmla="*/ 10000 h 10000"/>
                  <a:gd name="connsiteX5" fmla="*/ 745 w 10745"/>
                  <a:gd name="connsiteY5" fmla="*/ 8554 h 10000"/>
                  <a:gd name="connsiteX6" fmla="*/ 0 w 10745"/>
                  <a:gd name="connsiteY6" fmla="*/ 6596 h 10000"/>
                  <a:gd name="connsiteX7" fmla="*/ 3298 w 10745"/>
                  <a:gd name="connsiteY7" fmla="*/ 5000 h 10000"/>
                  <a:gd name="connsiteX8" fmla="*/ 5639 w 10745"/>
                  <a:gd name="connsiteY8" fmla="*/ 0 h 10000"/>
                  <a:gd name="connsiteX9" fmla="*/ 5639 w 10745"/>
                  <a:gd name="connsiteY9" fmla="*/ 0 h 10000"/>
                  <a:gd name="connsiteX10" fmla="*/ 8511 w 10745"/>
                  <a:gd name="connsiteY10" fmla="*/ 361 h 10000"/>
                  <a:gd name="connsiteX0" fmla="*/ 8511 w 10745"/>
                  <a:gd name="connsiteY0" fmla="*/ 361 h 10000"/>
                  <a:gd name="connsiteX1" fmla="*/ 8936 w 10745"/>
                  <a:gd name="connsiteY1" fmla="*/ 3253 h 10000"/>
                  <a:gd name="connsiteX2" fmla="*/ 10745 w 10745"/>
                  <a:gd name="connsiteY2" fmla="*/ 7831 h 10000"/>
                  <a:gd name="connsiteX3" fmla="*/ 7235 w 10745"/>
                  <a:gd name="connsiteY3" fmla="*/ 9367 h 10000"/>
                  <a:gd name="connsiteX4" fmla="*/ 3298 w 10745"/>
                  <a:gd name="connsiteY4" fmla="*/ 10000 h 10000"/>
                  <a:gd name="connsiteX5" fmla="*/ 745 w 10745"/>
                  <a:gd name="connsiteY5" fmla="*/ 8554 h 10000"/>
                  <a:gd name="connsiteX6" fmla="*/ 0 w 10745"/>
                  <a:gd name="connsiteY6" fmla="*/ 6596 h 10000"/>
                  <a:gd name="connsiteX7" fmla="*/ 3298 w 10745"/>
                  <a:gd name="connsiteY7" fmla="*/ 5000 h 10000"/>
                  <a:gd name="connsiteX8" fmla="*/ 5639 w 10745"/>
                  <a:gd name="connsiteY8" fmla="*/ 0 h 10000"/>
                  <a:gd name="connsiteX9" fmla="*/ 5639 w 10745"/>
                  <a:gd name="connsiteY9" fmla="*/ 0 h 10000"/>
                  <a:gd name="connsiteX10" fmla="*/ 8511 w 10745"/>
                  <a:gd name="connsiteY10" fmla="*/ 361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745" h="10000">
                    <a:moveTo>
                      <a:pt x="8511" y="361"/>
                    </a:moveTo>
                    <a:cubicBezTo>
                      <a:pt x="8653" y="1325"/>
                      <a:pt x="8794" y="2289"/>
                      <a:pt x="8936" y="3253"/>
                    </a:cubicBezTo>
                    <a:lnTo>
                      <a:pt x="10745" y="7831"/>
                    </a:lnTo>
                    <a:lnTo>
                      <a:pt x="7235" y="9367"/>
                    </a:lnTo>
                    <a:lnTo>
                      <a:pt x="3298" y="10000"/>
                    </a:lnTo>
                    <a:lnTo>
                      <a:pt x="745" y="8554"/>
                    </a:lnTo>
                    <a:lnTo>
                      <a:pt x="0" y="6596"/>
                    </a:lnTo>
                    <a:lnTo>
                      <a:pt x="3298" y="5000"/>
                    </a:lnTo>
                    <a:lnTo>
                      <a:pt x="5639" y="0"/>
                    </a:lnTo>
                    <a:lnTo>
                      <a:pt x="5639" y="0"/>
                    </a:lnTo>
                    <a:lnTo>
                      <a:pt x="8511" y="36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95" name="Freeform 394"/>
              <p:cNvSpPr>
                <a:spLocks/>
              </p:cNvSpPr>
              <p:nvPr/>
            </p:nvSpPr>
            <p:spPr bwMode="auto">
              <a:xfrm>
                <a:off x="16292513" y="-21539200"/>
                <a:ext cx="225425" cy="265113"/>
              </a:xfrm>
              <a:custGeom>
                <a:avLst/>
                <a:gdLst/>
                <a:ahLst/>
                <a:cxnLst>
                  <a:cxn ang="0">
                    <a:pos x="119" y="0"/>
                  </a:cxn>
                  <a:cxn ang="0">
                    <a:pos x="142" y="24"/>
                  </a:cxn>
                  <a:cxn ang="0">
                    <a:pos x="142" y="107"/>
                  </a:cxn>
                  <a:cxn ang="0">
                    <a:pos x="130" y="143"/>
                  </a:cxn>
                  <a:cxn ang="0">
                    <a:pos x="95" y="167"/>
                  </a:cxn>
                  <a:cxn ang="0">
                    <a:pos x="59" y="167"/>
                  </a:cxn>
                  <a:cxn ang="0">
                    <a:pos x="35" y="143"/>
                  </a:cxn>
                  <a:cxn ang="0">
                    <a:pos x="12" y="119"/>
                  </a:cxn>
                  <a:cxn ang="0">
                    <a:pos x="0" y="107"/>
                  </a:cxn>
                  <a:cxn ang="0">
                    <a:pos x="12" y="83"/>
                  </a:cxn>
                  <a:cxn ang="0">
                    <a:pos x="23" y="24"/>
                  </a:cxn>
                  <a:cxn ang="0">
                    <a:pos x="47" y="0"/>
                  </a:cxn>
                  <a:cxn ang="0">
                    <a:pos x="119" y="0"/>
                  </a:cxn>
                </a:cxnLst>
                <a:rect l="0" t="0" r="r" b="b"/>
                <a:pathLst>
                  <a:path w="142" h="167">
                    <a:moveTo>
                      <a:pt x="119" y="0"/>
                    </a:moveTo>
                    <a:lnTo>
                      <a:pt x="142" y="24"/>
                    </a:lnTo>
                    <a:lnTo>
                      <a:pt x="142" y="107"/>
                    </a:lnTo>
                    <a:lnTo>
                      <a:pt x="130" y="143"/>
                    </a:lnTo>
                    <a:lnTo>
                      <a:pt x="95" y="167"/>
                    </a:lnTo>
                    <a:lnTo>
                      <a:pt x="59" y="167"/>
                    </a:lnTo>
                    <a:lnTo>
                      <a:pt x="35" y="143"/>
                    </a:lnTo>
                    <a:lnTo>
                      <a:pt x="12" y="119"/>
                    </a:lnTo>
                    <a:lnTo>
                      <a:pt x="0" y="107"/>
                    </a:lnTo>
                    <a:lnTo>
                      <a:pt x="12" y="83"/>
                    </a:lnTo>
                    <a:lnTo>
                      <a:pt x="23" y="24"/>
                    </a:lnTo>
                    <a:lnTo>
                      <a:pt x="47" y="0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96" name="Freeform 396"/>
              <p:cNvSpPr>
                <a:spLocks/>
              </p:cNvSpPr>
              <p:nvPr/>
            </p:nvSpPr>
            <p:spPr bwMode="auto">
              <a:xfrm>
                <a:off x="16027400" y="-20953413"/>
                <a:ext cx="131763" cy="244475"/>
              </a:xfrm>
              <a:custGeom>
                <a:avLst/>
                <a:gdLst/>
                <a:ahLst/>
                <a:cxnLst>
                  <a:cxn ang="0">
                    <a:pos x="72" y="12"/>
                  </a:cxn>
                  <a:cxn ang="0">
                    <a:pos x="83" y="130"/>
                  </a:cxn>
                  <a:cxn ang="0">
                    <a:pos x="72" y="154"/>
                  </a:cxn>
                  <a:cxn ang="0">
                    <a:pos x="60" y="154"/>
                  </a:cxn>
                  <a:cxn ang="0">
                    <a:pos x="12" y="107"/>
                  </a:cxn>
                  <a:cxn ang="0">
                    <a:pos x="0" y="83"/>
                  </a:cxn>
                  <a:cxn ang="0">
                    <a:pos x="12" y="59"/>
                  </a:cxn>
                  <a:cxn ang="0">
                    <a:pos x="36" y="12"/>
                  </a:cxn>
                  <a:cxn ang="0">
                    <a:pos x="48" y="0"/>
                  </a:cxn>
                  <a:cxn ang="0">
                    <a:pos x="72" y="12"/>
                  </a:cxn>
                </a:cxnLst>
                <a:rect l="0" t="0" r="r" b="b"/>
                <a:pathLst>
                  <a:path w="83" h="154">
                    <a:moveTo>
                      <a:pt x="72" y="12"/>
                    </a:moveTo>
                    <a:lnTo>
                      <a:pt x="83" y="130"/>
                    </a:lnTo>
                    <a:lnTo>
                      <a:pt x="72" y="154"/>
                    </a:lnTo>
                    <a:lnTo>
                      <a:pt x="60" y="154"/>
                    </a:lnTo>
                    <a:lnTo>
                      <a:pt x="12" y="107"/>
                    </a:lnTo>
                    <a:lnTo>
                      <a:pt x="0" y="83"/>
                    </a:lnTo>
                    <a:lnTo>
                      <a:pt x="12" y="59"/>
                    </a:lnTo>
                    <a:lnTo>
                      <a:pt x="36" y="12"/>
                    </a:lnTo>
                    <a:lnTo>
                      <a:pt x="48" y="0"/>
                    </a:lnTo>
                    <a:lnTo>
                      <a:pt x="72" y="1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97" name="Freeform 398"/>
              <p:cNvSpPr>
                <a:spLocks/>
              </p:cNvSpPr>
              <p:nvPr/>
            </p:nvSpPr>
            <p:spPr bwMode="auto">
              <a:xfrm>
                <a:off x="15160625" y="-20577175"/>
                <a:ext cx="282575" cy="377825"/>
              </a:xfrm>
              <a:custGeom>
                <a:avLst/>
                <a:gdLst/>
                <a:ahLst/>
                <a:cxnLst>
                  <a:cxn ang="0">
                    <a:pos x="142" y="24"/>
                  </a:cxn>
                  <a:cxn ang="0">
                    <a:pos x="154" y="0"/>
                  </a:cxn>
                  <a:cxn ang="0">
                    <a:pos x="178" y="0"/>
                  </a:cxn>
                  <a:cxn ang="0">
                    <a:pos x="178" y="48"/>
                  </a:cxn>
                  <a:cxn ang="0">
                    <a:pos x="166" y="95"/>
                  </a:cxn>
                  <a:cxn ang="0">
                    <a:pos x="142" y="119"/>
                  </a:cxn>
                  <a:cxn ang="0">
                    <a:pos x="130" y="167"/>
                  </a:cxn>
                  <a:cxn ang="0">
                    <a:pos x="130" y="202"/>
                  </a:cxn>
                  <a:cxn ang="0">
                    <a:pos x="83" y="238"/>
                  </a:cxn>
                  <a:cxn ang="0">
                    <a:pos x="47" y="238"/>
                  </a:cxn>
                  <a:cxn ang="0">
                    <a:pos x="23" y="214"/>
                  </a:cxn>
                  <a:cxn ang="0">
                    <a:pos x="12" y="191"/>
                  </a:cxn>
                  <a:cxn ang="0">
                    <a:pos x="0" y="167"/>
                  </a:cxn>
                  <a:cxn ang="0">
                    <a:pos x="0" y="143"/>
                  </a:cxn>
                  <a:cxn ang="0">
                    <a:pos x="23" y="119"/>
                  </a:cxn>
                  <a:cxn ang="0">
                    <a:pos x="59" y="84"/>
                  </a:cxn>
                  <a:cxn ang="0">
                    <a:pos x="83" y="24"/>
                  </a:cxn>
                  <a:cxn ang="0">
                    <a:pos x="107" y="12"/>
                  </a:cxn>
                  <a:cxn ang="0">
                    <a:pos x="118" y="24"/>
                  </a:cxn>
                  <a:cxn ang="0">
                    <a:pos x="142" y="24"/>
                  </a:cxn>
                </a:cxnLst>
                <a:rect l="0" t="0" r="r" b="b"/>
                <a:pathLst>
                  <a:path w="178" h="238">
                    <a:moveTo>
                      <a:pt x="142" y="24"/>
                    </a:moveTo>
                    <a:lnTo>
                      <a:pt x="154" y="0"/>
                    </a:lnTo>
                    <a:lnTo>
                      <a:pt x="178" y="0"/>
                    </a:lnTo>
                    <a:lnTo>
                      <a:pt x="178" y="48"/>
                    </a:lnTo>
                    <a:lnTo>
                      <a:pt x="166" y="95"/>
                    </a:lnTo>
                    <a:lnTo>
                      <a:pt x="142" y="119"/>
                    </a:lnTo>
                    <a:lnTo>
                      <a:pt x="130" y="167"/>
                    </a:lnTo>
                    <a:lnTo>
                      <a:pt x="130" y="202"/>
                    </a:lnTo>
                    <a:lnTo>
                      <a:pt x="83" y="238"/>
                    </a:lnTo>
                    <a:lnTo>
                      <a:pt x="47" y="238"/>
                    </a:lnTo>
                    <a:lnTo>
                      <a:pt x="23" y="214"/>
                    </a:lnTo>
                    <a:lnTo>
                      <a:pt x="12" y="191"/>
                    </a:lnTo>
                    <a:lnTo>
                      <a:pt x="0" y="167"/>
                    </a:lnTo>
                    <a:lnTo>
                      <a:pt x="0" y="143"/>
                    </a:lnTo>
                    <a:lnTo>
                      <a:pt x="23" y="119"/>
                    </a:lnTo>
                    <a:lnTo>
                      <a:pt x="59" y="84"/>
                    </a:lnTo>
                    <a:lnTo>
                      <a:pt x="83" y="24"/>
                    </a:lnTo>
                    <a:lnTo>
                      <a:pt x="107" y="12"/>
                    </a:lnTo>
                    <a:lnTo>
                      <a:pt x="118" y="24"/>
                    </a:lnTo>
                    <a:lnTo>
                      <a:pt x="142" y="2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98" name="Freeform 164"/>
              <p:cNvSpPr>
                <a:spLocks/>
              </p:cNvSpPr>
              <p:nvPr/>
            </p:nvSpPr>
            <p:spPr bwMode="auto">
              <a:xfrm>
                <a:off x="14009688" y="-20180300"/>
                <a:ext cx="150813" cy="74613"/>
              </a:xfrm>
              <a:custGeom>
                <a:avLst/>
                <a:gdLst/>
                <a:ahLst/>
                <a:cxnLst>
                  <a:cxn ang="0">
                    <a:pos x="83" y="0"/>
                  </a:cxn>
                  <a:cxn ang="0">
                    <a:pos x="95" y="24"/>
                  </a:cxn>
                  <a:cxn ang="0">
                    <a:pos x="83" y="36"/>
                  </a:cxn>
                  <a:cxn ang="0">
                    <a:pos x="35" y="47"/>
                  </a:cxn>
                  <a:cxn ang="0">
                    <a:pos x="0" y="36"/>
                  </a:cxn>
                  <a:cxn ang="0">
                    <a:pos x="12" y="12"/>
                  </a:cxn>
                  <a:cxn ang="0">
                    <a:pos x="47" y="0"/>
                  </a:cxn>
                  <a:cxn ang="0">
                    <a:pos x="83" y="0"/>
                  </a:cxn>
                </a:cxnLst>
                <a:rect l="0" t="0" r="r" b="b"/>
                <a:pathLst>
                  <a:path w="95" h="47">
                    <a:moveTo>
                      <a:pt x="83" y="0"/>
                    </a:moveTo>
                    <a:lnTo>
                      <a:pt x="95" y="24"/>
                    </a:lnTo>
                    <a:lnTo>
                      <a:pt x="83" y="36"/>
                    </a:lnTo>
                    <a:lnTo>
                      <a:pt x="35" y="47"/>
                    </a:lnTo>
                    <a:lnTo>
                      <a:pt x="0" y="36"/>
                    </a:lnTo>
                    <a:lnTo>
                      <a:pt x="12" y="12"/>
                    </a:lnTo>
                    <a:lnTo>
                      <a:pt x="47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99" name="Freeform 165"/>
              <p:cNvSpPr>
                <a:spLocks/>
              </p:cNvSpPr>
              <p:nvPr/>
            </p:nvSpPr>
            <p:spPr bwMode="auto">
              <a:xfrm>
                <a:off x="12217400" y="-20142200"/>
                <a:ext cx="263525" cy="93663"/>
              </a:xfrm>
              <a:custGeom>
                <a:avLst/>
                <a:gdLst/>
                <a:ahLst/>
                <a:cxnLst>
                  <a:cxn ang="0">
                    <a:pos x="83" y="35"/>
                  </a:cxn>
                  <a:cxn ang="0">
                    <a:pos x="166" y="35"/>
                  </a:cxn>
                  <a:cxn ang="0">
                    <a:pos x="166" y="47"/>
                  </a:cxn>
                  <a:cxn ang="0">
                    <a:pos x="142" y="59"/>
                  </a:cxn>
                  <a:cxn ang="0">
                    <a:pos x="83" y="59"/>
                  </a:cxn>
                  <a:cxn ang="0">
                    <a:pos x="12" y="23"/>
                  </a:cxn>
                  <a:cxn ang="0">
                    <a:pos x="0" y="0"/>
                  </a:cxn>
                  <a:cxn ang="0">
                    <a:pos x="24" y="0"/>
                  </a:cxn>
                  <a:cxn ang="0">
                    <a:pos x="83" y="35"/>
                  </a:cxn>
                </a:cxnLst>
                <a:rect l="0" t="0" r="r" b="b"/>
                <a:pathLst>
                  <a:path w="166" h="59">
                    <a:moveTo>
                      <a:pt x="83" y="35"/>
                    </a:moveTo>
                    <a:lnTo>
                      <a:pt x="166" y="35"/>
                    </a:lnTo>
                    <a:lnTo>
                      <a:pt x="166" y="47"/>
                    </a:lnTo>
                    <a:lnTo>
                      <a:pt x="142" y="59"/>
                    </a:lnTo>
                    <a:lnTo>
                      <a:pt x="83" y="59"/>
                    </a:lnTo>
                    <a:lnTo>
                      <a:pt x="12" y="23"/>
                    </a:lnTo>
                    <a:lnTo>
                      <a:pt x="0" y="0"/>
                    </a:lnTo>
                    <a:lnTo>
                      <a:pt x="24" y="0"/>
                    </a:lnTo>
                    <a:lnTo>
                      <a:pt x="83" y="3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00" name="Freeform 403"/>
              <p:cNvSpPr>
                <a:spLocks/>
              </p:cNvSpPr>
              <p:nvPr/>
            </p:nvSpPr>
            <p:spPr bwMode="auto">
              <a:xfrm>
                <a:off x="12480925" y="-20029488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36" y="0"/>
                  </a:cxn>
                  <a:cxn ang="0">
                    <a:pos x="48" y="12"/>
                  </a:cxn>
                  <a:cxn ang="0">
                    <a:pos x="0" y="48"/>
                  </a:cxn>
                  <a:cxn ang="0">
                    <a:pos x="0" y="24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36" y="0"/>
                    </a:lnTo>
                    <a:lnTo>
                      <a:pt x="48" y="12"/>
                    </a:lnTo>
                    <a:lnTo>
                      <a:pt x="0" y="48"/>
                    </a:lnTo>
                    <a:lnTo>
                      <a:pt x="0" y="2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01" name="Freeform 405"/>
              <p:cNvSpPr>
                <a:spLocks/>
              </p:cNvSpPr>
              <p:nvPr/>
            </p:nvSpPr>
            <p:spPr bwMode="auto">
              <a:xfrm>
                <a:off x="14311313" y="-19369088"/>
                <a:ext cx="38100" cy="93663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36"/>
                  </a:cxn>
                  <a:cxn ang="0">
                    <a:pos x="12" y="59"/>
                  </a:cxn>
                  <a:cxn ang="0">
                    <a:pos x="0" y="47"/>
                  </a:cxn>
                  <a:cxn ang="0">
                    <a:pos x="0" y="24"/>
                  </a:cxn>
                  <a:cxn ang="0">
                    <a:pos x="0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24" y="36"/>
                    </a:lnTo>
                    <a:lnTo>
                      <a:pt x="12" y="59"/>
                    </a:lnTo>
                    <a:lnTo>
                      <a:pt x="0" y="47"/>
                    </a:lnTo>
                    <a:lnTo>
                      <a:pt x="0" y="24"/>
                    </a:lnTo>
                    <a:lnTo>
                      <a:pt x="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02" name="Freeform 408"/>
              <p:cNvSpPr>
                <a:spLocks/>
              </p:cNvSpPr>
              <p:nvPr/>
            </p:nvSpPr>
            <p:spPr bwMode="auto">
              <a:xfrm>
                <a:off x="14349413" y="-19330988"/>
                <a:ext cx="74613" cy="169863"/>
              </a:xfrm>
              <a:custGeom>
                <a:avLst/>
                <a:gdLst/>
                <a:ahLst/>
                <a:cxnLst>
                  <a:cxn ang="0">
                    <a:pos x="47" y="0"/>
                  </a:cxn>
                  <a:cxn ang="0">
                    <a:pos x="47" y="35"/>
                  </a:cxn>
                  <a:cxn ang="0">
                    <a:pos x="23" y="71"/>
                  </a:cxn>
                  <a:cxn ang="0">
                    <a:pos x="23" y="107"/>
                  </a:cxn>
                  <a:cxn ang="0">
                    <a:pos x="0" y="107"/>
                  </a:cxn>
                  <a:cxn ang="0">
                    <a:pos x="12" y="59"/>
                  </a:cxn>
                  <a:cxn ang="0">
                    <a:pos x="12" y="12"/>
                  </a:cxn>
                  <a:cxn ang="0">
                    <a:pos x="35" y="0"/>
                  </a:cxn>
                  <a:cxn ang="0">
                    <a:pos x="47" y="0"/>
                  </a:cxn>
                </a:cxnLst>
                <a:rect l="0" t="0" r="r" b="b"/>
                <a:pathLst>
                  <a:path w="47" h="107">
                    <a:moveTo>
                      <a:pt x="47" y="0"/>
                    </a:moveTo>
                    <a:lnTo>
                      <a:pt x="47" y="35"/>
                    </a:lnTo>
                    <a:lnTo>
                      <a:pt x="23" y="71"/>
                    </a:lnTo>
                    <a:lnTo>
                      <a:pt x="23" y="107"/>
                    </a:lnTo>
                    <a:lnTo>
                      <a:pt x="0" y="107"/>
                    </a:lnTo>
                    <a:lnTo>
                      <a:pt x="12" y="59"/>
                    </a:lnTo>
                    <a:lnTo>
                      <a:pt x="12" y="12"/>
                    </a:lnTo>
                    <a:lnTo>
                      <a:pt x="35" y="0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03" name="Freeform 410"/>
              <p:cNvSpPr>
                <a:spLocks/>
              </p:cNvSpPr>
              <p:nvPr/>
            </p:nvSpPr>
            <p:spPr bwMode="auto">
              <a:xfrm>
                <a:off x="14216063" y="-19142075"/>
                <a:ext cx="114300" cy="2254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48" y="11"/>
                  </a:cxn>
                  <a:cxn ang="0">
                    <a:pos x="48" y="47"/>
                  </a:cxn>
                  <a:cxn ang="0">
                    <a:pos x="60" y="59"/>
                  </a:cxn>
                  <a:cxn ang="0">
                    <a:pos x="72" y="71"/>
                  </a:cxn>
                  <a:cxn ang="0">
                    <a:pos x="48" y="106"/>
                  </a:cxn>
                  <a:cxn ang="0">
                    <a:pos x="12" y="142"/>
                  </a:cxn>
                  <a:cxn ang="0">
                    <a:pos x="0" y="130"/>
                  </a:cxn>
                  <a:cxn ang="0">
                    <a:pos x="0" y="59"/>
                  </a:cxn>
                  <a:cxn ang="0">
                    <a:pos x="12" y="23"/>
                  </a:cxn>
                  <a:cxn ang="0">
                    <a:pos x="36" y="0"/>
                  </a:cxn>
                </a:cxnLst>
                <a:rect l="0" t="0" r="r" b="b"/>
                <a:pathLst>
                  <a:path w="72" h="142">
                    <a:moveTo>
                      <a:pt x="36" y="0"/>
                    </a:moveTo>
                    <a:lnTo>
                      <a:pt x="48" y="11"/>
                    </a:lnTo>
                    <a:lnTo>
                      <a:pt x="48" y="47"/>
                    </a:lnTo>
                    <a:lnTo>
                      <a:pt x="60" y="59"/>
                    </a:lnTo>
                    <a:lnTo>
                      <a:pt x="72" y="71"/>
                    </a:lnTo>
                    <a:lnTo>
                      <a:pt x="48" y="106"/>
                    </a:lnTo>
                    <a:lnTo>
                      <a:pt x="12" y="142"/>
                    </a:lnTo>
                    <a:lnTo>
                      <a:pt x="0" y="130"/>
                    </a:lnTo>
                    <a:lnTo>
                      <a:pt x="0" y="59"/>
                    </a:lnTo>
                    <a:lnTo>
                      <a:pt x="12" y="23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04" name="Freeform 412"/>
              <p:cNvSpPr>
                <a:spLocks/>
              </p:cNvSpPr>
              <p:nvPr/>
            </p:nvSpPr>
            <p:spPr bwMode="auto">
              <a:xfrm>
                <a:off x="14160500" y="-18916650"/>
                <a:ext cx="150813" cy="246063"/>
              </a:xfrm>
              <a:custGeom>
                <a:avLst/>
                <a:gdLst/>
                <a:ahLst/>
                <a:cxnLst>
                  <a:cxn ang="0">
                    <a:pos x="95" y="0"/>
                  </a:cxn>
                  <a:cxn ang="0">
                    <a:pos x="95" y="12"/>
                  </a:cxn>
                  <a:cxn ang="0">
                    <a:pos x="59" y="107"/>
                  </a:cxn>
                  <a:cxn ang="0">
                    <a:pos x="24" y="155"/>
                  </a:cxn>
                  <a:cxn ang="0">
                    <a:pos x="0" y="155"/>
                  </a:cxn>
                  <a:cxn ang="0">
                    <a:pos x="0" y="131"/>
                  </a:cxn>
                  <a:cxn ang="0">
                    <a:pos x="24" y="107"/>
                  </a:cxn>
                  <a:cxn ang="0">
                    <a:pos x="35" y="71"/>
                  </a:cxn>
                  <a:cxn ang="0">
                    <a:pos x="59" y="24"/>
                  </a:cxn>
                  <a:cxn ang="0">
                    <a:pos x="95" y="0"/>
                  </a:cxn>
                </a:cxnLst>
                <a:rect l="0" t="0" r="r" b="b"/>
                <a:pathLst>
                  <a:path w="95" h="155">
                    <a:moveTo>
                      <a:pt x="95" y="0"/>
                    </a:moveTo>
                    <a:lnTo>
                      <a:pt x="95" y="12"/>
                    </a:lnTo>
                    <a:lnTo>
                      <a:pt x="59" y="107"/>
                    </a:lnTo>
                    <a:lnTo>
                      <a:pt x="24" y="155"/>
                    </a:lnTo>
                    <a:lnTo>
                      <a:pt x="0" y="155"/>
                    </a:lnTo>
                    <a:lnTo>
                      <a:pt x="0" y="131"/>
                    </a:lnTo>
                    <a:lnTo>
                      <a:pt x="24" y="107"/>
                    </a:lnTo>
                    <a:lnTo>
                      <a:pt x="35" y="71"/>
                    </a:lnTo>
                    <a:lnTo>
                      <a:pt x="59" y="24"/>
                    </a:lnTo>
                    <a:lnTo>
                      <a:pt x="95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05" name="Freeform 414"/>
              <p:cNvSpPr>
                <a:spLocks/>
              </p:cNvSpPr>
              <p:nvPr/>
            </p:nvSpPr>
            <p:spPr bwMode="auto">
              <a:xfrm>
                <a:off x="13782675" y="-18349913"/>
                <a:ext cx="131763" cy="45243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48" y="12"/>
                  </a:cxn>
                  <a:cxn ang="0">
                    <a:pos x="71" y="35"/>
                  </a:cxn>
                  <a:cxn ang="0">
                    <a:pos x="83" y="59"/>
                  </a:cxn>
                  <a:cxn ang="0">
                    <a:pos x="71" y="83"/>
                  </a:cxn>
                  <a:cxn ang="0">
                    <a:pos x="71" y="166"/>
                  </a:cxn>
                  <a:cxn ang="0">
                    <a:pos x="83" y="249"/>
                  </a:cxn>
                  <a:cxn ang="0">
                    <a:pos x="83" y="273"/>
                  </a:cxn>
                  <a:cxn ang="0">
                    <a:pos x="71" y="285"/>
                  </a:cxn>
                  <a:cxn ang="0">
                    <a:pos x="48" y="285"/>
                  </a:cxn>
                  <a:cxn ang="0">
                    <a:pos x="36" y="261"/>
                  </a:cxn>
                  <a:cxn ang="0">
                    <a:pos x="36" y="154"/>
                  </a:cxn>
                  <a:cxn ang="0">
                    <a:pos x="0" y="107"/>
                  </a:cxn>
                  <a:cxn ang="0">
                    <a:pos x="12" y="47"/>
                  </a:cxn>
                  <a:cxn ang="0">
                    <a:pos x="0" y="12"/>
                  </a:cxn>
                  <a:cxn ang="0">
                    <a:pos x="12" y="0"/>
                  </a:cxn>
                </a:cxnLst>
                <a:rect l="0" t="0" r="r" b="b"/>
                <a:pathLst>
                  <a:path w="83" h="285">
                    <a:moveTo>
                      <a:pt x="12" y="0"/>
                    </a:moveTo>
                    <a:lnTo>
                      <a:pt x="48" y="12"/>
                    </a:lnTo>
                    <a:lnTo>
                      <a:pt x="71" y="35"/>
                    </a:lnTo>
                    <a:lnTo>
                      <a:pt x="83" y="59"/>
                    </a:lnTo>
                    <a:lnTo>
                      <a:pt x="71" y="83"/>
                    </a:lnTo>
                    <a:lnTo>
                      <a:pt x="71" y="166"/>
                    </a:lnTo>
                    <a:lnTo>
                      <a:pt x="83" y="249"/>
                    </a:lnTo>
                    <a:lnTo>
                      <a:pt x="83" y="273"/>
                    </a:lnTo>
                    <a:lnTo>
                      <a:pt x="71" y="285"/>
                    </a:lnTo>
                    <a:lnTo>
                      <a:pt x="48" y="285"/>
                    </a:lnTo>
                    <a:lnTo>
                      <a:pt x="36" y="261"/>
                    </a:lnTo>
                    <a:lnTo>
                      <a:pt x="36" y="154"/>
                    </a:lnTo>
                    <a:lnTo>
                      <a:pt x="0" y="107"/>
                    </a:lnTo>
                    <a:lnTo>
                      <a:pt x="12" y="47"/>
                    </a:lnTo>
                    <a:lnTo>
                      <a:pt x="0" y="1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06" name="Freeform 416"/>
              <p:cNvSpPr>
                <a:spLocks/>
              </p:cNvSpPr>
              <p:nvPr/>
            </p:nvSpPr>
            <p:spPr bwMode="auto">
              <a:xfrm>
                <a:off x="13971588" y="-17708563"/>
                <a:ext cx="150813" cy="5461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36" y="12"/>
                  </a:cxn>
                  <a:cxn ang="0">
                    <a:pos x="83" y="83"/>
                  </a:cxn>
                  <a:cxn ang="0">
                    <a:pos x="83" y="166"/>
                  </a:cxn>
                  <a:cxn ang="0">
                    <a:pos x="95" y="214"/>
                  </a:cxn>
                  <a:cxn ang="0">
                    <a:pos x="71" y="273"/>
                  </a:cxn>
                  <a:cxn ang="0">
                    <a:pos x="71" y="332"/>
                  </a:cxn>
                  <a:cxn ang="0">
                    <a:pos x="59" y="344"/>
                  </a:cxn>
                  <a:cxn ang="0">
                    <a:pos x="36" y="332"/>
                  </a:cxn>
                  <a:cxn ang="0">
                    <a:pos x="12" y="273"/>
                  </a:cxn>
                  <a:cxn ang="0">
                    <a:pos x="0" y="225"/>
                  </a:cxn>
                  <a:cxn ang="0">
                    <a:pos x="12" y="166"/>
                  </a:cxn>
                  <a:cxn ang="0">
                    <a:pos x="0" y="35"/>
                  </a:cxn>
                  <a:cxn ang="0">
                    <a:pos x="0" y="0"/>
                  </a:cxn>
                  <a:cxn ang="0">
                    <a:pos x="24" y="0"/>
                  </a:cxn>
                </a:cxnLst>
                <a:rect l="0" t="0" r="r" b="b"/>
                <a:pathLst>
                  <a:path w="95" h="344">
                    <a:moveTo>
                      <a:pt x="24" y="0"/>
                    </a:moveTo>
                    <a:lnTo>
                      <a:pt x="36" y="12"/>
                    </a:lnTo>
                    <a:lnTo>
                      <a:pt x="83" y="83"/>
                    </a:lnTo>
                    <a:lnTo>
                      <a:pt x="83" y="166"/>
                    </a:lnTo>
                    <a:lnTo>
                      <a:pt x="95" y="214"/>
                    </a:lnTo>
                    <a:lnTo>
                      <a:pt x="71" y="273"/>
                    </a:lnTo>
                    <a:lnTo>
                      <a:pt x="71" y="332"/>
                    </a:lnTo>
                    <a:lnTo>
                      <a:pt x="59" y="344"/>
                    </a:lnTo>
                    <a:lnTo>
                      <a:pt x="36" y="332"/>
                    </a:lnTo>
                    <a:lnTo>
                      <a:pt x="12" y="273"/>
                    </a:lnTo>
                    <a:lnTo>
                      <a:pt x="0" y="225"/>
                    </a:lnTo>
                    <a:lnTo>
                      <a:pt x="12" y="166"/>
                    </a:lnTo>
                    <a:lnTo>
                      <a:pt x="0" y="35"/>
                    </a:lnTo>
                    <a:lnTo>
                      <a:pt x="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07" name="Freeform 457"/>
              <p:cNvSpPr>
                <a:spLocks/>
              </p:cNvSpPr>
              <p:nvPr/>
            </p:nvSpPr>
            <p:spPr bwMode="auto">
              <a:xfrm>
                <a:off x="-3649663" y="-28500388"/>
                <a:ext cx="24450675" cy="23675975"/>
              </a:xfrm>
              <a:custGeom>
                <a:avLst/>
                <a:gdLst/>
                <a:ahLst/>
                <a:cxnLst>
                  <a:cxn ang="0">
                    <a:pos x="15224" y="4433"/>
                  </a:cxn>
                  <a:cxn ang="0">
                    <a:pos x="15057" y="4326"/>
                  </a:cxn>
                  <a:cxn ang="0">
                    <a:pos x="14915" y="4231"/>
                  </a:cxn>
                  <a:cxn ang="0">
                    <a:pos x="14653" y="4255"/>
                  </a:cxn>
                  <a:cxn ang="0">
                    <a:pos x="14487" y="4029"/>
                  </a:cxn>
                  <a:cxn ang="0">
                    <a:pos x="14190" y="4136"/>
                  </a:cxn>
                  <a:cxn ang="0">
                    <a:pos x="14000" y="3898"/>
                  </a:cxn>
                  <a:cxn ang="0">
                    <a:pos x="13821" y="4112"/>
                  </a:cxn>
                  <a:cxn ang="0">
                    <a:pos x="13512" y="3815"/>
                  </a:cxn>
                  <a:cxn ang="0">
                    <a:pos x="13239" y="3922"/>
                  </a:cxn>
                  <a:cxn ang="0">
                    <a:pos x="12918" y="4088"/>
                  </a:cxn>
                  <a:cxn ang="0">
                    <a:pos x="12621" y="4682"/>
                  </a:cxn>
                  <a:cxn ang="0">
                    <a:pos x="13001" y="4932"/>
                  </a:cxn>
                  <a:cxn ang="0">
                    <a:pos x="13096" y="5003"/>
                  </a:cxn>
                  <a:cxn ang="0">
                    <a:pos x="12383" y="4884"/>
                  </a:cxn>
                  <a:cxn ang="0">
                    <a:pos x="11849" y="5324"/>
                  </a:cxn>
                  <a:cxn ang="0">
                    <a:pos x="11350" y="5253"/>
                  </a:cxn>
                  <a:cxn ang="0">
                    <a:pos x="10839" y="5562"/>
                  </a:cxn>
                  <a:cxn ang="0">
                    <a:pos x="10482" y="5336"/>
                  </a:cxn>
                  <a:cxn ang="0">
                    <a:pos x="9864" y="5277"/>
                  </a:cxn>
                  <a:cxn ang="0">
                    <a:pos x="9745" y="5633"/>
                  </a:cxn>
                  <a:cxn ang="0">
                    <a:pos x="9448" y="5799"/>
                  </a:cxn>
                  <a:cxn ang="0">
                    <a:pos x="9698" y="5336"/>
                  </a:cxn>
                  <a:cxn ang="0">
                    <a:pos x="9603" y="4433"/>
                  </a:cxn>
                  <a:cxn ang="0">
                    <a:pos x="8331" y="4837"/>
                  </a:cxn>
                  <a:cxn ang="0">
                    <a:pos x="8129" y="4468"/>
                  </a:cxn>
                  <a:cxn ang="0">
                    <a:pos x="7511" y="3791"/>
                  </a:cxn>
                  <a:cxn ang="0">
                    <a:pos x="6869" y="2662"/>
                  </a:cxn>
                  <a:cxn ang="0">
                    <a:pos x="6572" y="1854"/>
                  </a:cxn>
                  <a:cxn ang="0">
                    <a:pos x="6287" y="1462"/>
                  </a:cxn>
                  <a:cxn ang="0">
                    <a:pos x="5800" y="1295"/>
                  </a:cxn>
                  <a:cxn ang="0">
                    <a:pos x="5111" y="975"/>
                  </a:cxn>
                  <a:cxn ang="0">
                    <a:pos x="4635" y="48"/>
                  </a:cxn>
                  <a:cxn ang="0">
                    <a:pos x="3613" y="143"/>
                  </a:cxn>
                  <a:cxn ang="0">
                    <a:pos x="3423" y="915"/>
                  </a:cxn>
                  <a:cxn ang="0">
                    <a:pos x="2270" y="832"/>
                  </a:cxn>
                  <a:cxn ang="0">
                    <a:pos x="1308" y="1093"/>
                  </a:cxn>
                  <a:cxn ang="0">
                    <a:pos x="618" y="1379"/>
                  </a:cxn>
                  <a:cxn ang="0">
                    <a:pos x="24" y="1664"/>
                  </a:cxn>
                  <a:cxn ang="0">
                    <a:pos x="214" y="3874"/>
                  </a:cxn>
                  <a:cxn ang="0">
                    <a:pos x="939" y="4564"/>
                  </a:cxn>
                  <a:cxn ang="0">
                    <a:pos x="1605" y="5015"/>
                  </a:cxn>
                  <a:cxn ang="0">
                    <a:pos x="2449" y="5479"/>
                  </a:cxn>
                  <a:cxn ang="0">
                    <a:pos x="3399" y="5538"/>
                  </a:cxn>
                  <a:cxn ang="0">
                    <a:pos x="1236" y="9935"/>
                  </a:cxn>
                  <a:cxn ang="0">
                    <a:pos x="654" y="11432"/>
                  </a:cxn>
                  <a:cxn ang="0">
                    <a:pos x="1213" y="12312"/>
                  </a:cxn>
                  <a:cxn ang="0">
                    <a:pos x="1747" y="13607"/>
                  </a:cxn>
                  <a:cxn ang="0">
                    <a:pos x="2627" y="14380"/>
                  </a:cxn>
                  <a:cxn ang="0">
                    <a:pos x="10506" y="14534"/>
                  </a:cxn>
                  <a:cxn ang="0">
                    <a:pos x="11373" y="13251"/>
                  </a:cxn>
                  <a:cxn ang="0">
                    <a:pos x="11409" y="12193"/>
                  </a:cxn>
                  <a:cxn ang="0">
                    <a:pos x="12229" y="11064"/>
                  </a:cxn>
                  <a:cxn ang="0">
                    <a:pos x="12764" y="10232"/>
                  </a:cxn>
                  <a:cxn ang="0">
                    <a:pos x="12276" y="9555"/>
                  </a:cxn>
                  <a:cxn ang="0">
                    <a:pos x="13774" y="8259"/>
                  </a:cxn>
                  <a:cxn ang="0">
                    <a:pos x="14356" y="7154"/>
                  </a:cxn>
                  <a:cxn ang="0">
                    <a:pos x="14653" y="6774"/>
                  </a:cxn>
                  <a:cxn ang="0">
                    <a:pos x="14713" y="6406"/>
                  </a:cxn>
                  <a:cxn ang="0">
                    <a:pos x="14915" y="5954"/>
                  </a:cxn>
                  <a:cxn ang="0">
                    <a:pos x="15224" y="5348"/>
                  </a:cxn>
                  <a:cxn ang="0">
                    <a:pos x="15307" y="4825"/>
                  </a:cxn>
                </a:cxnLst>
                <a:rect l="0" t="0" r="r" b="b"/>
                <a:pathLst>
                  <a:path w="15402" h="14914">
                    <a:moveTo>
                      <a:pt x="15331" y="4801"/>
                    </a:moveTo>
                    <a:lnTo>
                      <a:pt x="15343" y="4766"/>
                    </a:lnTo>
                    <a:lnTo>
                      <a:pt x="15343" y="4742"/>
                    </a:lnTo>
                    <a:lnTo>
                      <a:pt x="15319" y="4659"/>
                    </a:lnTo>
                    <a:lnTo>
                      <a:pt x="15319" y="4623"/>
                    </a:lnTo>
                    <a:lnTo>
                      <a:pt x="15319" y="4575"/>
                    </a:lnTo>
                    <a:lnTo>
                      <a:pt x="15378" y="4492"/>
                    </a:lnTo>
                    <a:lnTo>
                      <a:pt x="15378" y="4409"/>
                    </a:lnTo>
                    <a:lnTo>
                      <a:pt x="15402" y="4373"/>
                    </a:lnTo>
                    <a:lnTo>
                      <a:pt x="15402" y="4362"/>
                    </a:lnTo>
                    <a:lnTo>
                      <a:pt x="15390" y="4350"/>
                    </a:lnTo>
                    <a:lnTo>
                      <a:pt x="15331" y="4385"/>
                    </a:lnTo>
                    <a:lnTo>
                      <a:pt x="15295" y="4480"/>
                    </a:lnTo>
                    <a:lnTo>
                      <a:pt x="15283" y="4504"/>
                    </a:lnTo>
                    <a:lnTo>
                      <a:pt x="15259" y="4504"/>
                    </a:lnTo>
                    <a:lnTo>
                      <a:pt x="15259" y="4468"/>
                    </a:lnTo>
                    <a:lnTo>
                      <a:pt x="15307" y="4373"/>
                    </a:lnTo>
                    <a:lnTo>
                      <a:pt x="15307" y="4350"/>
                    </a:lnTo>
                    <a:lnTo>
                      <a:pt x="15283" y="4350"/>
                    </a:lnTo>
                    <a:lnTo>
                      <a:pt x="15224" y="4433"/>
                    </a:lnTo>
                    <a:lnTo>
                      <a:pt x="15188" y="4528"/>
                    </a:lnTo>
                    <a:lnTo>
                      <a:pt x="15176" y="4552"/>
                    </a:lnTo>
                    <a:lnTo>
                      <a:pt x="15164" y="4564"/>
                    </a:lnTo>
                    <a:lnTo>
                      <a:pt x="15140" y="4552"/>
                    </a:lnTo>
                    <a:lnTo>
                      <a:pt x="15152" y="4528"/>
                    </a:lnTo>
                    <a:lnTo>
                      <a:pt x="15224" y="4385"/>
                    </a:lnTo>
                    <a:lnTo>
                      <a:pt x="15224" y="4326"/>
                    </a:lnTo>
                    <a:lnTo>
                      <a:pt x="15247" y="4290"/>
                    </a:lnTo>
                    <a:lnTo>
                      <a:pt x="15236" y="4207"/>
                    </a:lnTo>
                    <a:lnTo>
                      <a:pt x="15224" y="4207"/>
                    </a:lnTo>
                    <a:lnTo>
                      <a:pt x="15164" y="4255"/>
                    </a:lnTo>
                    <a:lnTo>
                      <a:pt x="15164" y="4290"/>
                    </a:lnTo>
                    <a:lnTo>
                      <a:pt x="15117" y="4350"/>
                    </a:lnTo>
                    <a:lnTo>
                      <a:pt x="15117" y="4421"/>
                    </a:lnTo>
                    <a:lnTo>
                      <a:pt x="15105" y="4421"/>
                    </a:lnTo>
                    <a:lnTo>
                      <a:pt x="15093" y="4421"/>
                    </a:lnTo>
                    <a:lnTo>
                      <a:pt x="15093" y="4338"/>
                    </a:lnTo>
                    <a:lnTo>
                      <a:pt x="15093" y="4326"/>
                    </a:lnTo>
                    <a:lnTo>
                      <a:pt x="15069" y="4338"/>
                    </a:lnTo>
                    <a:lnTo>
                      <a:pt x="15057" y="4326"/>
                    </a:lnTo>
                    <a:lnTo>
                      <a:pt x="15034" y="4326"/>
                    </a:lnTo>
                    <a:lnTo>
                      <a:pt x="15022" y="4373"/>
                    </a:lnTo>
                    <a:lnTo>
                      <a:pt x="14998" y="4397"/>
                    </a:lnTo>
                    <a:lnTo>
                      <a:pt x="14986" y="4397"/>
                    </a:lnTo>
                    <a:lnTo>
                      <a:pt x="14986" y="4373"/>
                    </a:lnTo>
                    <a:lnTo>
                      <a:pt x="15010" y="4338"/>
                    </a:lnTo>
                    <a:lnTo>
                      <a:pt x="14986" y="4326"/>
                    </a:lnTo>
                    <a:lnTo>
                      <a:pt x="14962" y="4326"/>
                    </a:lnTo>
                    <a:lnTo>
                      <a:pt x="14927" y="4362"/>
                    </a:lnTo>
                    <a:lnTo>
                      <a:pt x="14891" y="4362"/>
                    </a:lnTo>
                    <a:lnTo>
                      <a:pt x="14855" y="4373"/>
                    </a:lnTo>
                    <a:lnTo>
                      <a:pt x="14843" y="4373"/>
                    </a:lnTo>
                    <a:lnTo>
                      <a:pt x="14831" y="4350"/>
                    </a:lnTo>
                    <a:lnTo>
                      <a:pt x="14831" y="4326"/>
                    </a:lnTo>
                    <a:lnTo>
                      <a:pt x="14855" y="4314"/>
                    </a:lnTo>
                    <a:lnTo>
                      <a:pt x="14879" y="4326"/>
                    </a:lnTo>
                    <a:lnTo>
                      <a:pt x="14879" y="4326"/>
                    </a:lnTo>
                    <a:lnTo>
                      <a:pt x="14903" y="4326"/>
                    </a:lnTo>
                    <a:lnTo>
                      <a:pt x="14915" y="4278"/>
                    </a:lnTo>
                    <a:lnTo>
                      <a:pt x="14915" y="4231"/>
                    </a:lnTo>
                    <a:lnTo>
                      <a:pt x="14927" y="4207"/>
                    </a:lnTo>
                    <a:lnTo>
                      <a:pt x="14962" y="4195"/>
                    </a:lnTo>
                    <a:lnTo>
                      <a:pt x="14986" y="4159"/>
                    </a:lnTo>
                    <a:lnTo>
                      <a:pt x="14986" y="4136"/>
                    </a:lnTo>
                    <a:lnTo>
                      <a:pt x="14962" y="4136"/>
                    </a:lnTo>
                    <a:lnTo>
                      <a:pt x="14927" y="4159"/>
                    </a:lnTo>
                    <a:lnTo>
                      <a:pt x="14891" y="4148"/>
                    </a:lnTo>
                    <a:lnTo>
                      <a:pt x="14867" y="4171"/>
                    </a:lnTo>
                    <a:lnTo>
                      <a:pt x="14855" y="4219"/>
                    </a:lnTo>
                    <a:lnTo>
                      <a:pt x="14843" y="4243"/>
                    </a:lnTo>
                    <a:lnTo>
                      <a:pt x="14831" y="4243"/>
                    </a:lnTo>
                    <a:lnTo>
                      <a:pt x="14831" y="4195"/>
                    </a:lnTo>
                    <a:lnTo>
                      <a:pt x="14820" y="4195"/>
                    </a:lnTo>
                    <a:lnTo>
                      <a:pt x="14808" y="4243"/>
                    </a:lnTo>
                    <a:lnTo>
                      <a:pt x="14784" y="4266"/>
                    </a:lnTo>
                    <a:lnTo>
                      <a:pt x="14725" y="4255"/>
                    </a:lnTo>
                    <a:lnTo>
                      <a:pt x="14653" y="4278"/>
                    </a:lnTo>
                    <a:lnTo>
                      <a:pt x="14641" y="4266"/>
                    </a:lnTo>
                    <a:lnTo>
                      <a:pt x="14653" y="4255"/>
                    </a:lnTo>
                    <a:lnTo>
                      <a:pt x="14653" y="4255"/>
                    </a:lnTo>
                    <a:lnTo>
                      <a:pt x="14689" y="4231"/>
                    </a:lnTo>
                    <a:lnTo>
                      <a:pt x="14725" y="4195"/>
                    </a:lnTo>
                    <a:lnTo>
                      <a:pt x="14725" y="4171"/>
                    </a:lnTo>
                    <a:lnTo>
                      <a:pt x="14665" y="4148"/>
                    </a:lnTo>
                    <a:lnTo>
                      <a:pt x="14653" y="4124"/>
                    </a:lnTo>
                    <a:lnTo>
                      <a:pt x="14629" y="4136"/>
                    </a:lnTo>
                    <a:lnTo>
                      <a:pt x="14629" y="4171"/>
                    </a:lnTo>
                    <a:lnTo>
                      <a:pt x="14641" y="4207"/>
                    </a:lnTo>
                    <a:lnTo>
                      <a:pt x="14629" y="4231"/>
                    </a:lnTo>
                    <a:lnTo>
                      <a:pt x="14618" y="4219"/>
                    </a:lnTo>
                    <a:lnTo>
                      <a:pt x="14606" y="4171"/>
                    </a:lnTo>
                    <a:lnTo>
                      <a:pt x="14570" y="4159"/>
                    </a:lnTo>
                    <a:lnTo>
                      <a:pt x="14546" y="4171"/>
                    </a:lnTo>
                    <a:lnTo>
                      <a:pt x="14534" y="4207"/>
                    </a:lnTo>
                    <a:lnTo>
                      <a:pt x="14523" y="4231"/>
                    </a:lnTo>
                    <a:lnTo>
                      <a:pt x="14499" y="4231"/>
                    </a:lnTo>
                    <a:lnTo>
                      <a:pt x="14511" y="4159"/>
                    </a:lnTo>
                    <a:lnTo>
                      <a:pt x="14487" y="4112"/>
                    </a:lnTo>
                    <a:lnTo>
                      <a:pt x="14499" y="4064"/>
                    </a:lnTo>
                    <a:lnTo>
                      <a:pt x="14487" y="4029"/>
                    </a:lnTo>
                    <a:lnTo>
                      <a:pt x="14475" y="4029"/>
                    </a:lnTo>
                    <a:lnTo>
                      <a:pt x="14463" y="4076"/>
                    </a:lnTo>
                    <a:lnTo>
                      <a:pt x="14416" y="4112"/>
                    </a:lnTo>
                    <a:lnTo>
                      <a:pt x="14404" y="4171"/>
                    </a:lnTo>
                    <a:lnTo>
                      <a:pt x="14368" y="4183"/>
                    </a:lnTo>
                    <a:lnTo>
                      <a:pt x="14344" y="4171"/>
                    </a:lnTo>
                    <a:lnTo>
                      <a:pt x="14380" y="4148"/>
                    </a:lnTo>
                    <a:lnTo>
                      <a:pt x="14380" y="4136"/>
                    </a:lnTo>
                    <a:lnTo>
                      <a:pt x="14344" y="4064"/>
                    </a:lnTo>
                    <a:lnTo>
                      <a:pt x="14356" y="4005"/>
                    </a:lnTo>
                    <a:lnTo>
                      <a:pt x="14344" y="3993"/>
                    </a:lnTo>
                    <a:lnTo>
                      <a:pt x="14320" y="3981"/>
                    </a:lnTo>
                    <a:lnTo>
                      <a:pt x="14320" y="3993"/>
                    </a:lnTo>
                    <a:lnTo>
                      <a:pt x="14309" y="4041"/>
                    </a:lnTo>
                    <a:lnTo>
                      <a:pt x="14273" y="4076"/>
                    </a:lnTo>
                    <a:lnTo>
                      <a:pt x="14273" y="4100"/>
                    </a:lnTo>
                    <a:lnTo>
                      <a:pt x="14237" y="4124"/>
                    </a:lnTo>
                    <a:lnTo>
                      <a:pt x="14225" y="4159"/>
                    </a:lnTo>
                    <a:lnTo>
                      <a:pt x="14190" y="4171"/>
                    </a:lnTo>
                    <a:lnTo>
                      <a:pt x="14190" y="4136"/>
                    </a:lnTo>
                    <a:lnTo>
                      <a:pt x="14202" y="4088"/>
                    </a:lnTo>
                    <a:lnTo>
                      <a:pt x="14190" y="4053"/>
                    </a:lnTo>
                    <a:lnTo>
                      <a:pt x="14178" y="3946"/>
                    </a:lnTo>
                    <a:lnTo>
                      <a:pt x="14166" y="3934"/>
                    </a:lnTo>
                    <a:lnTo>
                      <a:pt x="14142" y="3946"/>
                    </a:lnTo>
                    <a:lnTo>
                      <a:pt x="14154" y="3993"/>
                    </a:lnTo>
                    <a:lnTo>
                      <a:pt x="14130" y="4029"/>
                    </a:lnTo>
                    <a:lnTo>
                      <a:pt x="14130" y="4076"/>
                    </a:lnTo>
                    <a:lnTo>
                      <a:pt x="14107" y="4076"/>
                    </a:lnTo>
                    <a:lnTo>
                      <a:pt x="14095" y="4029"/>
                    </a:lnTo>
                    <a:lnTo>
                      <a:pt x="14107" y="3969"/>
                    </a:lnTo>
                    <a:lnTo>
                      <a:pt x="14107" y="3957"/>
                    </a:lnTo>
                    <a:lnTo>
                      <a:pt x="14095" y="3957"/>
                    </a:lnTo>
                    <a:lnTo>
                      <a:pt x="14059" y="3993"/>
                    </a:lnTo>
                    <a:lnTo>
                      <a:pt x="14023" y="3981"/>
                    </a:lnTo>
                    <a:lnTo>
                      <a:pt x="14012" y="3969"/>
                    </a:lnTo>
                    <a:lnTo>
                      <a:pt x="14035" y="3946"/>
                    </a:lnTo>
                    <a:lnTo>
                      <a:pt x="14047" y="3934"/>
                    </a:lnTo>
                    <a:lnTo>
                      <a:pt x="14023" y="3910"/>
                    </a:lnTo>
                    <a:lnTo>
                      <a:pt x="14000" y="3898"/>
                    </a:lnTo>
                    <a:lnTo>
                      <a:pt x="13976" y="3886"/>
                    </a:lnTo>
                    <a:lnTo>
                      <a:pt x="13964" y="3851"/>
                    </a:lnTo>
                    <a:lnTo>
                      <a:pt x="13928" y="3839"/>
                    </a:lnTo>
                    <a:lnTo>
                      <a:pt x="13893" y="3862"/>
                    </a:lnTo>
                    <a:lnTo>
                      <a:pt x="13845" y="3910"/>
                    </a:lnTo>
                    <a:lnTo>
                      <a:pt x="13809" y="3922"/>
                    </a:lnTo>
                    <a:lnTo>
                      <a:pt x="13798" y="3898"/>
                    </a:lnTo>
                    <a:lnTo>
                      <a:pt x="13798" y="3874"/>
                    </a:lnTo>
                    <a:lnTo>
                      <a:pt x="13786" y="3851"/>
                    </a:lnTo>
                    <a:lnTo>
                      <a:pt x="13774" y="3839"/>
                    </a:lnTo>
                    <a:lnTo>
                      <a:pt x="13762" y="3851"/>
                    </a:lnTo>
                    <a:lnTo>
                      <a:pt x="13750" y="3874"/>
                    </a:lnTo>
                    <a:lnTo>
                      <a:pt x="13762" y="3910"/>
                    </a:lnTo>
                    <a:lnTo>
                      <a:pt x="13762" y="3957"/>
                    </a:lnTo>
                    <a:lnTo>
                      <a:pt x="13798" y="3981"/>
                    </a:lnTo>
                    <a:lnTo>
                      <a:pt x="13821" y="4029"/>
                    </a:lnTo>
                    <a:lnTo>
                      <a:pt x="13833" y="4053"/>
                    </a:lnTo>
                    <a:lnTo>
                      <a:pt x="13845" y="4112"/>
                    </a:lnTo>
                    <a:lnTo>
                      <a:pt x="13833" y="4124"/>
                    </a:lnTo>
                    <a:lnTo>
                      <a:pt x="13821" y="4112"/>
                    </a:lnTo>
                    <a:lnTo>
                      <a:pt x="13809" y="4076"/>
                    </a:lnTo>
                    <a:lnTo>
                      <a:pt x="13774" y="4041"/>
                    </a:lnTo>
                    <a:lnTo>
                      <a:pt x="13726" y="4017"/>
                    </a:lnTo>
                    <a:lnTo>
                      <a:pt x="13703" y="3934"/>
                    </a:lnTo>
                    <a:lnTo>
                      <a:pt x="13655" y="3886"/>
                    </a:lnTo>
                    <a:lnTo>
                      <a:pt x="13655" y="3862"/>
                    </a:lnTo>
                    <a:lnTo>
                      <a:pt x="13631" y="3827"/>
                    </a:lnTo>
                    <a:lnTo>
                      <a:pt x="13596" y="3827"/>
                    </a:lnTo>
                    <a:lnTo>
                      <a:pt x="13584" y="3910"/>
                    </a:lnTo>
                    <a:lnTo>
                      <a:pt x="13584" y="3934"/>
                    </a:lnTo>
                    <a:lnTo>
                      <a:pt x="13548" y="3946"/>
                    </a:lnTo>
                    <a:lnTo>
                      <a:pt x="13512" y="3981"/>
                    </a:lnTo>
                    <a:lnTo>
                      <a:pt x="13489" y="3993"/>
                    </a:lnTo>
                    <a:lnTo>
                      <a:pt x="13477" y="3993"/>
                    </a:lnTo>
                    <a:lnTo>
                      <a:pt x="13465" y="3993"/>
                    </a:lnTo>
                    <a:lnTo>
                      <a:pt x="13477" y="3969"/>
                    </a:lnTo>
                    <a:lnTo>
                      <a:pt x="13512" y="3957"/>
                    </a:lnTo>
                    <a:lnTo>
                      <a:pt x="13524" y="3910"/>
                    </a:lnTo>
                    <a:lnTo>
                      <a:pt x="13524" y="3839"/>
                    </a:lnTo>
                    <a:lnTo>
                      <a:pt x="13512" y="3815"/>
                    </a:lnTo>
                    <a:lnTo>
                      <a:pt x="13489" y="3815"/>
                    </a:lnTo>
                    <a:lnTo>
                      <a:pt x="13477" y="3839"/>
                    </a:lnTo>
                    <a:lnTo>
                      <a:pt x="13465" y="3839"/>
                    </a:lnTo>
                    <a:lnTo>
                      <a:pt x="13453" y="3755"/>
                    </a:lnTo>
                    <a:lnTo>
                      <a:pt x="13429" y="3767"/>
                    </a:lnTo>
                    <a:lnTo>
                      <a:pt x="13394" y="3803"/>
                    </a:lnTo>
                    <a:lnTo>
                      <a:pt x="13394" y="3862"/>
                    </a:lnTo>
                    <a:lnTo>
                      <a:pt x="13382" y="3874"/>
                    </a:lnTo>
                    <a:lnTo>
                      <a:pt x="13370" y="3874"/>
                    </a:lnTo>
                    <a:lnTo>
                      <a:pt x="13358" y="3839"/>
                    </a:lnTo>
                    <a:lnTo>
                      <a:pt x="13334" y="3827"/>
                    </a:lnTo>
                    <a:lnTo>
                      <a:pt x="13346" y="3791"/>
                    </a:lnTo>
                    <a:lnTo>
                      <a:pt x="13322" y="3779"/>
                    </a:lnTo>
                    <a:lnTo>
                      <a:pt x="13310" y="3791"/>
                    </a:lnTo>
                    <a:lnTo>
                      <a:pt x="13322" y="3839"/>
                    </a:lnTo>
                    <a:lnTo>
                      <a:pt x="13298" y="3862"/>
                    </a:lnTo>
                    <a:lnTo>
                      <a:pt x="13287" y="3910"/>
                    </a:lnTo>
                    <a:lnTo>
                      <a:pt x="13251" y="3934"/>
                    </a:lnTo>
                    <a:lnTo>
                      <a:pt x="13239" y="3934"/>
                    </a:lnTo>
                    <a:lnTo>
                      <a:pt x="13239" y="3922"/>
                    </a:lnTo>
                    <a:lnTo>
                      <a:pt x="13263" y="3862"/>
                    </a:lnTo>
                    <a:lnTo>
                      <a:pt x="13275" y="3839"/>
                    </a:lnTo>
                    <a:lnTo>
                      <a:pt x="13251" y="3827"/>
                    </a:lnTo>
                    <a:lnTo>
                      <a:pt x="13215" y="3839"/>
                    </a:lnTo>
                    <a:lnTo>
                      <a:pt x="13203" y="3862"/>
                    </a:lnTo>
                    <a:lnTo>
                      <a:pt x="13156" y="3898"/>
                    </a:lnTo>
                    <a:lnTo>
                      <a:pt x="13144" y="3910"/>
                    </a:lnTo>
                    <a:lnTo>
                      <a:pt x="13156" y="3969"/>
                    </a:lnTo>
                    <a:lnTo>
                      <a:pt x="13156" y="3993"/>
                    </a:lnTo>
                    <a:lnTo>
                      <a:pt x="13132" y="3957"/>
                    </a:lnTo>
                    <a:lnTo>
                      <a:pt x="13108" y="3957"/>
                    </a:lnTo>
                    <a:lnTo>
                      <a:pt x="13096" y="3993"/>
                    </a:lnTo>
                    <a:lnTo>
                      <a:pt x="13073" y="3993"/>
                    </a:lnTo>
                    <a:lnTo>
                      <a:pt x="13061" y="3922"/>
                    </a:lnTo>
                    <a:lnTo>
                      <a:pt x="13037" y="3910"/>
                    </a:lnTo>
                    <a:lnTo>
                      <a:pt x="13013" y="3910"/>
                    </a:lnTo>
                    <a:lnTo>
                      <a:pt x="12966" y="3993"/>
                    </a:lnTo>
                    <a:lnTo>
                      <a:pt x="12918" y="4029"/>
                    </a:lnTo>
                    <a:lnTo>
                      <a:pt x="12918" y="4064"/>
                    </a:lnTo>
                    <a:lnTo>
                      <a:pt x="12918" y="4088"/>
                    </a:lnTo>
                    <a:lnTo>
                      <a:pt x="12918" y="4100"/>
                    </a:lnTo>
                    <a:lnTo>
                      <a:pt x="12883" y="4100"/>
                    </a:lnTo>
                    <a:lnTo>
                      <a:pt x="12847" y="4112"/>
                    </a:lnTo>
                    <a:lnTo>
                      <a:pt x="12811" y="4148"/>
                    </a:lnTo>
                    <a:lnTo>
                      <a:pt x="12799" y="4183"/>
                    </a:lnTo>
                    <a:lnTo>
                      <a:pt x="12776" y="4219"/>
                    </a:lnTo>
                    <a:lnTo>
                      <a:pt x="12716" y="4266"/>
                    </a:lnTo>
                    <a:lnTo>
                      <a:pt x="12716" y="4302"/>
                    </a:lnTo>
                    <a:lnTo>
                      <a:pt x="12740" y="4338"/>
                    </a:lnTo>
                    <a:lnTo>
                      <a:pt x="12728" y="4362"/>
                    </a:lnTo>
                    <a:lnTo>
                      <a:pt x="12728" y="4397"/>
                    </a:lnTo>
                    <a:lnTo>
                      <a:pt x="12740" y="4433"/>
                    </a:lnTo>
                    <a:lnTo>
                      <a:pt x="12740" y="4516"/>
                    </a:lnTo>
                    <a:lnTo>
                      <a:pt x="12716" y="4540"/>
                    </a:lnTo>
                    <a:lnTo>
                      <a:pt x="12716" y="4575"/>
                    </a:lnTo>
                    <a:lnTo>
                      <a:pt x="12681" y="4611"/>
                    </a:lnTo>
                    <a:lnTo>
                      <a:pt x="12681" y="4694"/>
                    </a:lnTo>
                    <a:lnTo>
                      <a:pt x="12681" y="4694"/>
                    </a:lnTo>
                    <a:lnTo>
                      <a:pt x="12657" y="4694"/>
                    </a:lnTo>
                    <a:lnTo>
                      <a:pt x="12621" y="4682"/>
                    </a:lnTo>
                    <a:lnTo>
                      <a:pt x="12657" y="4611"/>
                    </a:lnTo>
                    <a:lnTo>
                      <a:pt x="12645" y="4575"/>
                    </a:lnTo>
                    <a:lnTo>
                      <a:pt x="12621" y="4552"/>
                    </a:lnTo>
                    <a:lnTo>
                      <a:pt x="12597" y="4564"/>
                    </a:lnTo>
                    <a:lnTo>
                      <a:pt x="12597" y="4540"/>
                    </a:lnTo>
                    <a:lnTo>
                      <a:pt x="12574" y="4540"/>
                    </a:lnTo>
                    <a:lnTo>
                      <a:pt x="12562" y="4552"/>
                    </a:lnTo>
                    <a:lnTo>
                      <a:pt x="12526" y="4611"/>
                    </a:lnTo>
                    <a:lnTo>
                      <a:pt x="12514" y="4718"/>
                    </a:lnTo>
                    <a:lnTo>
                      <a:pt x="12514" y="4742"/>
                    </a:lnTo>
                    <a:lnTo>
                      <a:pt x="12526" y="4777"/>
                    </a:lnTo>
                    <a:lnTo>
                      <a:pt x="12574" y="4813"/>
                    </a:lnTo>
                    <a:lnTo>
                      <a:pt x="12669" y="4849"/>
                    </a:lnTo>
                    <a:lnTo>
                      <a:pt x="12716" y="4849"/>
                    </a:lnTo>
                    <a:lnTo>
                      <a:pt x="12752" y="4837"/>
                    </a:lnTo>
                    <a:lnTo>
                      <a:pt x="12799" y="4849"/>
                    </a:lnTo>
                    <a:lnTo>
                      <a:pt x="12847" y="4884"/>
                    </a:lnTo>
                    <a:lnTo>
                      <a:pt x="12906" y="4932"/>
                    </a:lnTo>
                    <a:lnTo>
                      <a:pt x="12978" y="4944"/>
                    </a:lnTo>
                    <a:lnTo>
                      <a:pt x="13001" y="4932"/>
                    </a:lnTo>
                    <a:lnTo>
                      <a:pt x="13037" y="4873"/>
                    </a:lnTo>
                    <a:lnTo>
                      <a:pt x="13096" y="4873"/>
                    </a:lnTo>
                    <a:lnTo>
                      <a:pt x="13120" y="4896"/>
                    </a:lnTo>
                    <a:lnTo>
                      <a:pt x="13108" y="4932"/>
                    </a:lnTo>
                    <a:lnTo>
                      <a:pt x="13108" y="4968"/>
                    </a:lnTo>
                    <a:lnTo>
                      <a:pt x="13144" y="4968"/>
                    </a:lnTo>
                    <a:lnTo>
                      <a:pt x="13192" y="4956"/>
                    </a:lnTo>
                    <a:lnTo>
                      <a:pt x="13239" y="4979"/>
                    </a:lnTo>
                    <a:lnTo>
                      <a:pt x="13263" y="5003"/>
                    </a:lnTo>
                    <a:lnTo>
                      <a:pt x="13322" y="5015"/>
                    </a:lnTo>
                    <a:lnTo>
                      <a:pt x="13334" y="5039"/>
                    </a:lnTo>
                    <a:lnTo>
                      <a:pt x="13370" y="5086"/>
                    </a:lnTo>
                    <a:lnTo>
                      <a:pt x="13358" y="5098"/>
                    </a:lnTo>
                    <a:lnTo>
                      <a:pt x="13346" y="5110"/>
                    </a:lnTo>
                    <a:lnTo>
                      <a:pt x="13310" y="5063"/>
                    </a:lnTo>
                    <a:lnTo>
                      <a:pt x="13251" y="5063"/>
                    </a:lnTo>
                    <a:lnTo>
                      <a:pt x="13192" y="5003"/>
                    </a:lnTo>
                    <a:lnTo>
                      <a:pt x="13132" y="5015"/>
                    </a:lnTo>
                    <a:lnTo>
                      <a:pt x="13108" y="5015"/>
                    </a:lnTo>
                    <a:lnTo>
                      <a:pt x="13096" y="5003"/>
                    </a:lnTo>
                    <a:lnTo>
                      <a:pt x="13085" y="4944"/>
                    </a:lnTo>
                    <a:lnTo>
                      <a:pt x="13096" y="4908"/>
                    </a:lnTo>
                    <a:lnTo>
                      <a:pt x="13073" y="4884"/>
                    </a:lnTo>
                    <a:lnTo>
                      <a:pt x="13061" y="4884"/>
                    </a:lnTo>
                    <a:lnTo>
                      <a:pt x="13049" y="4932"/>
                    </a:lnTo>
                    <a:lnTo>
                      <a:pt x="13013" y="4968"/>
                    </a:lnTo>
                    <a:lnTo>
                      <a:pt x="12942" y="4979"/>
                    </a:lnTo>
                    <a:lnTo>
                      <a:pt x="12883" y="4956"/>
                    </a:lnTo>
                    <a:lnTo>
                      <a:pt x="12799" y="4884"/>
                    </a:lnTo>
                    <a:lnTo>
                      <a:pt x="12764" y="4873"/>
                    </a:lnTo>
                    <a:lnTo>
                      <a:pt x="12681" y="4908"/>
                    </a:lnTo>
                    <a:lnTo>
                      <a:pt x="12574" y="4920"/>
                    </a:lnTo>
                    <a:lnTo>
                      <a:pt x="12526" y="4944"/>
                    </a:lnTo>
                    <a:lnTo>
                      <a:pt x="12526" y="4991"/>
                    </a:lnTo>
                    <a:lnTo>
                      <a:pt x="12609" y="5110"/>
                    </a:lnTo>
                    <a:lnTo>
                      <a:pt x="12574" y="5122"/>
                    </a:lnTo>
                    <a:lnTo>
                      <a:pt x="12538" y="5051"/>
                    </a:lnTo>
                    <a:lnTo>
                      <a:pt x="12478" y="5015"/>
                    </a:lnTo>
                    <a:lnTo>
                      <a:pt x="12419" y="4920"/>
                    </a:lnTo>
                    <a:lnTo>
                      <a:pt x="12383" y="4884"/>
                    </a:lnTo>
                    <a:lnTo>
                      <a:pt x="12348" y="4777"/>
                    </a:lnTo>
                    <a:lnTo>
                      <a:pt x="12324" y="4777"/>
                    </a:lnTo>
                    <a:lnTo>
                      <a:pt x="12312" y="4801"/>
                    </a:lnTo>
                    <a:lnTo>
                      <a:pt x="12288" y="4813"/>
                    </a:lnTo>
                    <a:lnTo>
                      <a:pt x="12265" y="4837"/>
                    </a:lnTo>
                    <a:lnTo>
                      <a:pt x="12265" y="4873"/>
                    </a:lnTo>
                    <a:lnTo>
                      <a:pt x="12229" y="4908"/>
                    </a:lnTo>
                    <a:lnTo>
                      <a:pt x="12217" y="4944"/>
                    </a:lnTo>
                    <a:lnTo>
                      <a:pt x="12181" y="4968"/>
                    </a:lnTo>
                    <a:lnTo>
                      <a:pt x="12158" y="5003"/>
                    </a:lnTo>
                    <a:lnTo>
                      <a:pt x="12086" y="5063"/>
                    </a:lnTo>
                    <a:lnTo>
                      <a:pt x="12051" y="5122"/>
                    </a:lnTo>
                    <a:lnTo>
                      <a:pt x="12039" y="5158"/>
                    </a:lnTo>
                    <a:lnTo>
                      <a:pt x="11979" y="5229"/>
                    </a:lnTo>
                    <a:lnTo>
                      <a:pt x="11979" y="5265"/>
                    </a:lnTo>
                    <a:lnTo>
                      <a:pt x="11956" y="5277"/>
                    </a:lnTo>
                    <a:lnTo>
                      <a:pt x="11896" y="5265"/>
                    </a:lnTo>
                    <a:lnTo>
                      <a:pt x="11884" y="5277"/>
                    </a:lnTo>
                    <a:lnTo>
                      <a:pt x="11884" y="5300"/>
                    </a:lnTo>
                    <a:lnTo>
                      <a:pt x="11849" y="5324"/>
                    </a:lnTo>
                    <a:lnTo>
                      <a:pt x="11801" y="5300"/>
                    </a:lnTo>
                    <a:lnTo>
                      <a:pt x="11789" y="5253"/>
                    </a:lnTo>
                    <a:lnTo>
                      <a:pt x="11813" y="5205"/>
                    </a:lnTo>
                    <a:lnTo>
                      <a:pt x="11813" y="5182"/>
                    </a:lnTo>
                    <a:lnTo>
                      <a:pt x="11789" y="5182"/>
                    </a:lnTo>
                    <a:lnTo>
                      <a:pt x="11754" y="5217"/>
                    </a:lnTo>
                    <a:lnTo>
                      <a:pt x="11754" y="5253"/>
                    </a:lnTo>
                    <a:lnTo>
                      <a:pt x="11706" y="5312"/>
                    </a:lnTo>
                    <a:lnTo>
                      <a:pt x="11706" y="5336"/>
                    </a:lnTo>
                    <a:lnTo>
                      <a:pt x="11718" y="5348"/>
                    </a:lnTo>
                    <a:lnTo>
                      <a:pt x="11670" y="5384"/>
                    </a:lnTo>
                    <a:lnTo>
                      <a:pt x="11516" y="5300"/>
                    </a:lnTo>
                    <a:lnTo>
                      <a:pt x="11540" y="5277"/>
                    </a:lnTo>
                    <a:lnTo>
                      <a:pt x="11552" y="5241"/>
                    </a:lnTo>
                    <a:lnTo>
                      <a:pt x="11528" y="5205"/>
                    </a:lnTo>
                    <a:lnTo>
                      <a:pt x="11516" y="5170"/>
                    </a:lnTo>
                    <a:lnTo>
                      <a:pt x="11492" y="5158"/>
                    </a:lnTo>
                    <a:lnTo>
                      <a:pt x="11468" y="5170"/>
                    </a:lnTo>
                    <a:lnTo>
                      <a:pt x="11373" y="5241"/>
                    </a:lnTo>
                    <a:lnTo>
                      <a:pt x="11350" y="5253"/>
                    </a:lnTo>
                    <a:lnTo>
                      <a:pt x="11314" y="5229"/>
                    </a:lnTo>
                    <a:lnTo>
                      <a:pt x="11278" y="5229"/>
                    </a:lnTo>
                    <a:lnTo>
                      <a:pt x="11254" y="5253"/>
                    </a:lnTo>
                    <a:lnTo>
                      <a:pt x="11254" y="5312"/>
                    </a:lnTo>
                    <a:lnTo>
                      <a:pt x="11231" y="5324"/>
                    </a:lnTo>
                    <a:lnTo>
                      <a:pt x="11195" y="5300"/>
                    </a:lnTo>
                    <a:lnTo>
                      <a:pt x="11148" y="5336"/>
                    </a:lnTo>
                    <a:lnTo>
                      <a:pt x="11112" y="5336"/>
                    </a:lnTo>
                    <a:lnTo>
                      <a:pt x="11112" y="5384"/>
                    </a:lnTo>
                    <a:lnTo>
                      <a:pt x="11100" y="5395"/>
                    </a:lnTo>
                    <a:lnTo>
                      <a:pt x="11088" y="5395"/>
                    </a:lnTo>
                    <a:lnTo>
                      <a:pt x="11052" y="5372"/>
                    </a:lnTo>
                    <a:lnTo>
                      <a:pt x="10993" y="5360"/>
                    </a:lnTo>
                    <a:lnTo>
                      <a:pt x="10922" y="5360"/>
                    </a:lnTo>
                    <a:lnTo>
                      <a:pt x="10898" y="5372"/>
                    </a:lnTo>
                    <a:lnTo>
                      <a:pt x="10874" y="5407"/>
                    </a:lnTo>
                    <a:lnTo>
                      <a:pt x="10874" y="5455"/>
                    </a:lnTo>
                    <a:lnTo>
                      <a:pt x="10862" y="5479"/>
                    </a:lnTo>
                    <a:lnTo>
                      <a:pt x="10862" y="5538"/>
                    </a:lnTo>
                    <a:lnTo>
                      <a:pt x="10839" y="5562"/>
                    </a:lnTo>
                    <a:lnTo>
                      <a:pt x="10827" y="5562"/>
                    </a:lnTo>
                    <a:lnTo>
                      <a:pt x="10827" y="5526"/>
                    </a:lnTo>
                    <a:lnTo>
                      <a:pt x="10839" y="5479"/>
                    </a:lnTo>
                    <a:lnTo>
                      <a:pt x="10850" y="5443"/>
                    </a:lnTo>
                    <a:lnTo>
                      <a:pt x="10850" y="5407"/>
                    </a:lnTo>
                    <a:lnTo>
                      <a:pt x="10839" y="5372"/>
                    </a:lnTo>
                    <a:lnTo>
                      <a:pt x="10803" y="5372"/>
                    </a:lnTo>
                    <a:lnTo>
                      <a:pt x="10779" y="5348"/>
                    </a:lnTo>
                    <a:lnTo>
                      <a:pt x="10755" y="5348"/>
                    </a:lnTo>
                    <a:lnTo>
                      <a:pt x="10732" y="5348"/>
                    </a:lnTo>
                    <a:lnTo>
                      <a:pt x="10720" y="5336"/>
                    </a:lnTo>
                    <a:lnTo>
                      <a:pt x="10743" y="5324"/>
                    </a:lnTo>
                    <a:lnTo>
                      <a:pt x="10743" y="5312"/>
                    </a:lnTo>
                    <a:lnTo>
                      <a:pt x="10708" y="5277"/>
                    </a:lnTo>
                    <a:lnTo>
                      <a:pt x="10589" y="5288"/>
                    </a:lnTo>
                    <a:lnTo>
                      <a:pt x="10589" y="5336"/>
                    </a:lnTo>
                    <a:lnTo>
                      <a:pt x="10565" y="5336"/>
                    </a:lnTo>
                    <a:lnTo>
                      <a:pt x="10518" y="5324"/>
                    </a:lnTo>
                    <a:lnTo>
                      <a:pt x="10494" y="5324"/>
                    </a:lnTo>
                    <a:lnTo>
                      <a:pt x="10482" y="5336"/>
                    </a:lnTo>
                    <a:lnTo>
                      <a:pt x="10482" y="5384"/>
                    </a:lnTo>
                    <a:lnTo>
                      <a:pt x="10470" y="5407"/>
                    </a:lnTo>
                    <a:lnTo>
                      <a:pt x="10411" y="5372"/>
                    </a:lnTo>
                    <a:lnTo>
                      <a:pt x="10280" y="5384"/>
                    </a:lnTo>
                    <a:lnTo>
                      <a:pt x="10256" y="5407"/>
                    </a:lnTo>
                    <a:lnTo>
                      <a:pt x="10244" y="5431"/>
                    </a:lnTo>
                    <a:lnTo>
                      <a:pt x="10244" y="5502"/>
                    </a:lnTo>
                    <a:lnTo>
                      <a:pt x="10197" y="5514"/>
                    </a:lnTo>
                    <a:lnTo>
                      <a:pt x="10185" y="5550"/>
                    </a:lnTo>
                    <a:lnTo>
                      <a:pt x="10161" y="5538"/>
                    </a:lnTo>
                    <a:lnTo>
                      <a:pt x="10149" y="5526"/>
                    </a:lnTo>
                    <a:lnTo>
                      <a:pt x="10149" y="5467"/>
                    </a:lnTo>
                    <a:lnTo>
                      <a:pt x="10125" y="5431"/>
                    </a:lnTo>
                    <a:lnTo>
                      <a:pt x="10125" y="5395"/>
                    </a:lnTo>
                    <a:lnTo>
                      <a:pt x="10114" y="5384"/>
                    </a:lnTo>
                    <a:lnTo>
                      <a:pt x="10066" y="5384"/>
                    </a:lnTo>
                    <a:lnTo>
                      <a:pt x="10019" y="5348"/>
                    </a:lnTo>
                    <a:lnTo>
                      <a:pt x="9947" y="5277"/>
                    </a:lnTo>
                    <a:lnTo>
                      <a:pt x="9900" y="5265"/>
                    </a:lnTo>
                    <a:lnTo>
                      <a:pt x="9864" y="5277"/>
                    </a:lnTo>
                    <a:lnTo>
                      <a:pt x="9840" y="5324"/>
                    </a:lnTo>
                    <a:lnTo>
                      <a:pt x="9852" y="5372"/>
                    </a:lnTo>
                    <a:lnTo>
                      <a:pt x="9852" y="5395"/>
                    </a:lnTo>
                    <a:lnTo>
                      <a:pt x="9840" y="5395"/>
                    </a:lnTo>
                    <a:lnTo>
                      <a:pt x="9781" y="5395"/>
                    </a:lnTo>
                    <a:lnTo>
                      <a:pt x="9745" y="5407"/>
                    </a:lnTo>
                    <a:lnTo>
                      <a:pt x="9733" y="5419"/>
                    </a:lnTo>
                    <a:lnTo>
                      <a:pt x="9710" y="5443"/>
                    </a:lnTo>
                    <a:lnTo>
                      <a:pt x="9710" y="5467"/>
                    </a:lnTo>
                    <a:lnTo>
                      <a:pt x="9710" y="5479"/>
                    </a:lnTo>
                    <a:lnTo>
                      <a:pt x="9769" y="5597"/>
                    </a:lnTo>
                    <a:lnTo>
                      <a:pt x="9781" y="5657"/>
                    </a:lnTo>
                    <a:lnTo>
                      <a:pt x="9864" y="5681"/>
                    </a:lnTo>
                    <a:lnTo>
                      <a:pt x="9888" y="5704"/>
                    </a:lnTo>
                    <a:lnTo>
                      <a:pt x="9900" y="5716"/>
                    </a:lnTo>
                    <a:lnTo>
                      <a:pt x="9876" y="5728"/>
                    </a:lnTo>
                    <a:lnTo>
                      <a:pt x="9769" y="5704"/>
                    </a:lnTo>
                    <a:lnTo>
                      <a:pt x="9733" y="5681"/>
                    </a:lnTo>
                    <a:lnTo>
                      <a:pt x="9745" y="5657"/>
                    </a:lnTo>
                    <a:lnTo>
                      <a:pt x="9745" y="5633"/>
                    </a:lnTo>
                    <a:lnTo>
                      <a:pt x="9674" y="5502"/>
                    </a:lnTo>
                    <a:lnTo>
                      <a:pt x="9650" y="5490"/>
                    </a:lnTo>
                    <a:lnTo>
                      <a:pt x="9567" y="5467"/>
                    </a:lnTo>
                    <a:lnTo>
                      <a:pt x="9519" y="5502"/>
                    </a:lnTo>
                    <a:lnTo>
                      <a:pt x="9519" y="5597"/>
                    </a:lnTo>
                    <a:lnTo>
                      <a:pt x="9519" y="5657"/>
                    </a:lnTo>
                    <a:lnTo>
                      <a:pt x="9496" y="5704"/>
                    </a:lnTo>
                    <a:lnTo>
                      <a:pt x="9484" y="5728"/>
                    </a:lnTo>
                    <a:lnTo>
                      <a:pt x="9484" y="5776"/>
                    </a:lnTo>
                    <a:lnTo>
                      <a:pt x="9496" y="5883"/>
                    </a:lnTo>
                    <a:lnTo>
                      <a:pt x="9531" y="5978"/>
                    </a:lnTo>
                    <a:lnTo>
                      <a:pt x="9555" y="5990"/>
                    </a:lnTo>
                    <a:lnTo>
                      <a:pt x="9579" y="6013"/>
                    </a:lnTo>
                    <a:lnTo>
                      <a:pt x="9626" y="6049"/>
                    </a:lnTo>
                    <a:lnTo>
                      <a:pt x="9603" y="6061"/>
                    </a:lnTo>
                    <a:lnTo>
                      <a:pt x="9579" y="6073"/>
                    </a:lnTo>
                    <a:lnTo>
                      <a:pt x="9567" y="6037"/>
                    </a:lnTo>
                    <a:lnTo>
                      <a:pt x="9472" y="5930"/>
                    </a:lnTo>
                    <a:lnTo>
                      <a:pt x="9460" y="5847"/>
                    </a:lnTo>
                    <a:lnTo>
                      <a:pt x="9448" y="5799"/>
                    </a:lnTo>
                    <a:lnTo>
                      <a:pt x="9448" y="5764"/>
                    </a:lnTo>
                    <a:lnTo>
                      <a:pt x="9424" y="5716"/>
                    </a:lnTo>
                    <a:lnTo>
                      <a:pt x="9424" y="5704"/>
                    </a:lnTo>
                    <a:lnTo>
                      <a:pt x="9472" y="5669"/>
                    </a:lnTo>
                    <a:lnTo>
                      <a:pt x="9484" y="5645"/>
                    </a:lnTo>
                    <a:lnTo>
                      <a:pt x="9496" y="5526"/>
                    </a:lnTo>
                    <a:lnTo>
                      <a:pt x="9496" y="5455"/>
                    </a:lnTo>
                    <a:lnTo>
                      <a:pt x="9519" y="5443"/>
                    </a:lnTo>
                    <a:lnTo>
                      <a:pt x="9543" y="5431"/>
                    </a:lnTo>
                    <a:lnTo>
                      <a:pt x="9567" y="5431"/>
                    </a:lnTo>
                    <a:lnTo>
                      <a:pt x="9626" y="5455"/>
                    </a:lnTo>
                    <a:lnTo>
                      <a:pt x="9650" y="5455"/>
                    </a:lnTo>
                    <a:lnTo>
                      <a:pt x="9674" y="5443"/>
                    </a:lnTo>
                    <a:lnTo>
                      <a:pt x="9662" y="5395"/>
                    </a:lnTo>
                    <a:lnTo>
                      <a:pt x="9662" y="5372"/>
                    </a:lnTo>
                    <a:lnTo>
                      <a:pt x="9614" y="5372"/>
                    </a:lnTo>
                    <a:lnTo>
                      <a:pt x="9603" y="5336"/>
                    </a:lnTo>
                    <a:lnTo>
                      <a:pt x="9626" y="5312"/>
                    </a:lnTo>
                    <a:lnTo>
                      <a:pt x="9662" y="5312"/>
                    </a:lnTo>
                    <a:lnTo>
                      <a:pt x="9698" y="5336"/>
                    </a:lnTo>
                    <a:lnTo>
                      <a:pt x="9733" y="5336"/>
                    </a:lnTo>
                    <a:lnTo>
                      <a:pt x="9817" y="5288"/>
                    </a:lnTo>
                    <a:lnTo>
                      <a:pt x="9828" y="5241"/>
                    </a:lnTo>
                    <a:lnTo>
                      <a:pt x="9840" y="5229"/>
                    </a:lnTo>
                    <a:lnTo>
                      <a:pt x="9817" y="5193"/>
                    </a:lnTo>
                    <a:lnTo>
                      <a:pt x="9817" y="5170"/>
                    </a:lnTo>
                    <a:lnTo>
                      <a:pt x="9852" y="5003"/>
                    </a:lnTo>
                    <a:lnTo>
                      <a:pt x="9817" y="4956"/>
                    </a:lnTo>
                    <a:lnTo>
                      <a:pt x="9793" y="4944"/>
                    </a:lnTo>
                    <a:lnTo>
                      <a:pt x="9733" y="4837"/>
                    </a:lnTo>
                    <a:lnTo>
                      <a:pt x="9733" y="4766"/>
                    </a:lnTo>
                    <a:lnTo>
                      <a:pt x="9721" y="4718"/>
                    </a:lnTo>
                    <a:lnTo>
                      <a:pt x="9721" y="4659"/>
                    </a:lnTo>
                    <a:lnTo>
                      <a:pt x="9769" y="4540"/>
                    </a:lnTo>
                    <a:lnTo>
                      <a:pt x="9757" y="4480"/>
                    </a:lnTo>
                    <a:lnTo>
                      <a:pt x="9710" y="4397"/>
                    </a:lnTo>
                    <a:lnTo>
                      <a:pt x="9686" y="4385"/>
                    </a:lnTo>
                    <a:lnTo>
                      <a:pt x="9674" y="4373"/>
                    </a:lnTo>
                    <a:lnTo>
                      <a:pt x="9626" y="4433"/>
                    </a:lnTo>
                    <a:lnTo>
                      <a:pt x="9603" y="4433"/>
                    </a:lnTo>
                    <a:lnTo>
                      <a:pt x="9531" y="4433"/>
                    </a:lnTo>
                    <a:lnTo>
                      <a:pt x="9484" y="4373"/>
                    </a:lnTo>
                    <a:lnTo>
                      <a:pt x="9448" y="4362"/>
                    </a:lnTo>
                    <a:lnTo>
                      <a:pt x="9412" y="4362"/>
                    </a:lnTo>
                    <a:lnTo>
                      <a:pt x="9389" y="4373"/>
                    </a:lnTo>
                    <a:lnTo>
                      <a:pt x="9294" y="4445"/>
                    </a:lnTo>
                    <a:lnTo>
                      <a:pt x="9258" y="4457"/>
                    </a:lnTo>
                    <a:lnTo>
                      <a:pt x="9187" y="4540"/>
                    </a:lnTo>
                    <a:lnTo>
                      <a:pt x="9139" y="4575"/>
                    </a:lnTo>
                    <a:lnTo>
                      <a:pt x="9103" y="4587"/>
                    </a:lnTo>
                    <a:lnTo>
                      <a:pt x="9068" y="4575"/>
                    </a:lnTo>
                    <a:lnTo>
                      <a:pt x="9056" y="4587"/>
                    </a:lnTo>
                    <a:lnTo>
                      <a:pt x="8949" y="4706"/>
                    </a:lnTo>
                    <a:lnTo>
                      <a:pt x="8747" y="4777"/>
                    </a:lnTo>
                    <a:lnTo>
                      <a:pt x="8616" y="4861"/>
                    </a:lnTo>
                    <a:lnTo>
                      <a:pt x="8509" y="4920"/>
                    </a:lnTo>
                    <a:lnTo>
                      <a:pt x="8390" y="4979"/>
                    </a:lnTo>
                    <a:lnTo>
                      <a:pt x="8390" y="4920"/>
                    </a:lnTo>
                    <a:lnTo>
                      <a:pt x="8379" y="4884"/>
                    </a:lnTo>
                    <a:lnTo>
                      <a:pt x="8331" y="4837"/>
                    </a:lnTo>
                    <a:lnTo>
                      <a:pt x="8295" y="4825"/>
                    </a:lnTo>
                    <a:lnTo>
                      <a:pt x="8260" y="4789"/>
                    </a:lnTo>
                    <a:lnTo>
                      <a:pt x="8331" y="4754"/>
                    </a:lnTo>
                    <a:lnTo>
                      <a:pt x="8390" y="4706"/>
                    </a:lnTo>
                    <a:lnTo>
                      <a:pt x="8414" y="4682"/>
                    </a:lnTo>
                    <a:lnTo>
                      <a:pt x="8414" y="4659"/>
                    </a:lnTo>
                    <a:lnTo>
                      <a:pt x="8402" y="4635"/>
                    </a:lnTo>
                    <a:lnTo>
                      <a:pt x="8426" y="4516"/>
                    </a:lnTo>
                    <a:lnTo>
                      <a:pt x="8414" y="4492"/>
                    </a:lnTo>
                    <a:lnTo>
                      <a:pt x="8402" y="4480"/>
                    </a:lnTo>
                    <a:lnTo>
                      <a:pt x="8355" y="4480"/>
                    </a:lnTo>
                    <a:lnTo>
                      <a:pt x="8343" y="4468"/>
                    </a:lnTo>
                    <a:lnTo>
                      <a:pt x="8319" y="4457"/>
                    </a:lnTo>
                    <a:lnTo>
                      <a:pt x="8284" y="4492"/>
                    </a:lnTo>
                    <a:lnTo>
                      <a:pt x="8236" y="4516"/>
                    </a:lnTo>
                    <a:lnTo>
                      <a:pt x="8212" y="4564"/>
                    </a:lnTo>
                    <a:lnTo>
                      <a:pt x="8200" y="4564"/>
                    </a:lnTo>
                    <a:lnTo>
                      <a:pt x="8188" y="4552"/>
                    </a:lnTo>
                    <a:lnTo>
                      <a:pt x="8153" y="4492"/>
                    </a:lnTo>
                    <a:lnTo>
                      <a:pt x="8129" y="4468"/>
                    </a:lnTo>
                    <a:lnTo>
                      <a:pt x="7998" y="4445"/>
                    </a:lnTo>
                    <a:lnTo>
                      <a:pt x="7903" y="4409"/>
                    </a:lnTo>
                    <a:lnTo>
                      <a:pt x="7868" y="4385"/>
                    </a:lnTo>
                    <a:lnTo>
                      <a:pt x="7844" y="4350"/>
                    </a:lnTo>
                    <a:lnTo>
                      <a:pt x="7808" y="4338"/>
                    </a:lnTo>
                    <a:lnTo>
                      <a:pt x="7796" y="4302"/>
                    </a:lnTo>
                    <a:lnTo>
                      <a:pt x="7772" y="4231"/>
                    </a:lnTo>
                    <a:lnTo>
                      <a:pt x="7808" y="4171"/>
                    </a:lnTo>
                    <a:lnTo>
                      <a:pt x="7808" y="4136"/>
                    </a:lnTo>
                    <a:lnTo>
                      <a:pt x="7796" y="4112"/>
                    </a:lnTo>
                    <a:lnTo>
                      <a:pt x="7784" y="4100"/>
                    </a:lnTo>
                    <a:lnTo>
                      <a:pt x="7749" y="4088"/>
                    </a:lnTo>
                    <a:lnTo>
                      <a:pt x="7666" y="4112"/>
                    </a:lnTo>
                    <a:lnTo>
                      <a:pt x="7654" y="4088"/>
                    </a:lnTo>
                    <a:lnTo>
                      <a:pt x="7689" y="3969"/>
                    </a:lnTo>
                    <a:lnTo>
                      <a:pt x="7689" y="3898"/>
                    </a:lnTo>
                    <a:lnTo>
                      <a:pt x="7654" y="3791"/>
                    </a:lnTo>
                    <a:lnTo>
                      <a:pt x="7606" y="3779"/>
                    </a:lnTo>
                    <a:lnTo>
                      <a:pt x="7535" y="3791"/>
                    </a:lnTo>
                    <a:lnTo>
                      <a:pt x="7511" y="3791"/>
                    </a:lnTo>
                    <a:lnTo>
                      <a:pt x="7487" y="3767"/>
                    </a:lnTo>
                    <a:lnTo>
                      <a:pt x="7464" y="3696"/>
                    </a:lnTo>
                    <a:lnTo>
                      <a:pt x="7464" y="3542"/>
                    </a:lnTo>
                    <a:lnTo>
                      <a:pt x="7487" y="3494"/>
                    </a:lnTo>
                    <a:lnTo>
                      <a:pt x="7464" y="3446"/>
                    </a:lnTo>
                    <a:lnTo>
                      <a:pt x="7380" y="3387"/>
                    </a:lnTo>
                    <a:lnTo>
                      <a:pt x="7297" y="3292"/>
                    </a:lnTo>
                    <a:lnTo>
                      <a:pt x="7178" y="3244"/>
                    </a:lnTo>
                    <a:lnTo>
                      <a:pt x="7155" y="3221"/>
                    </a:lnTo>
                    <a:lnTo>
                      <a:pt x="7119" y="3102"/>
                    </a:lnTo>
                    <a:lnTo>
                      <a:pt x="7095" y="3054"/>
                    </a:lnTo>
                    <a:lnTo>
                      <a:pt x="7095" y="3042"/>
                    </a:lnTo>
                    <a:lnTo>
                      <a:pt x="7024" y="2912"/>
                    </a:lnTo>
                    <a:lnTo>
                      <a:pt x="7012" y="2888"/>
                    </a:lnTo>
                    <a:lnTo>
                      <a:pt x="6988" y="2864"/>
                    </a:lnTo>
                    <a:lnTo>
                      <a:pt x="6964" y="2769"/>
                    </a:lnTo>
                    <a:lnTo>
                      <a:pt x="6917" y="2686"/>
                    </a:lnTo>
                    <a:lnTo>
                      <a:pt x="6893" y="2686"/>
                    </a:lnTo>
                    <a:lnTo>
                      <a:pt x="6881" y="2686"/>
                    </a:lnTo>
                    <a:lnTo>
                      <a:pt x="6869" y="2662"/>
                    </a:lnTo>
                    <a:lnTo>
                      <a:pt x="6881" y="2591"/>
                    </a:lnTo>
                    <a:lnTo>
                      <a:pt x="6869" y="2579"/>
                    </a:lnTo>
                    <a:lnTo>
                      <a:pt x="6881" y="2555"/>
                    </a:lnTo>
                    <a:lnTo>
                      <a:pt x="6917" y="2436"/>
                    </a:lnTo>
                    <a:lnTo>
                      <a:pt x="6905" y="2401"/>
                    </a:lnTo>
                    <a:lnTo>
                      <a:pt x="6905" y="2389"/>
                    </a:lnTo>
                    <a:lnTo>
                      <a:pt x="6929" y="2377"/>
                    </a:lnTo>
                    <a:lnTo>
                      <a:pt x="6941" y="2353"/>
                    </a:lnTo>
                    <a:lnTo>
                      <a:pt x="6941" y="2341"/>
                    </a:lnTo>
                    <a:lnTo>
                      <a:pt x="6941" y="2318"/>
                    </a:lnTo>
                    <a:lnTo>
                      <a:pt x="6953" y="2306"/>
                    </a:lnTo>
                    <a:lnTo>
                      <a:pt x="6929" y="2282"/>
                    </a:lnTo>
                    <a:lnTo>
                      <a:pt x="6869" y="2234"/>
                    </a:lnTo>
                    <a:lnTo>
                      <a:pt x="6822" y="2163"/>
                    </a:lnTo>
                    <a:lnTo>
                      <a:pt x="6679" y="2056"/>
                    </a:lnTo>
                    <a:lnTo>
                      <a:pt x="6632" y="2032"/>
                    </a:lnTo>
                    <a:lnTo>
                      <a:pt x="6608" y="2009"/>
                    </a:lnTo>
                    <a:lnTo>
                      <a:pt x="6596" y="1985"/>
                    </a:lnTo>
                    <a:lnTo>
                      <a:pt x="6596" y="1949"/>
                    </a:lnTo>
                    <a:lnTo>
                      <a:pt x="6572" y="1854"/>
                    </a:lnTo>
                    <a:lnTo>
                      <a:pt x="6537" y="1783"/>
                    </a:lnTo>
                    <a:lnTo>
                      <a:pt x="6548" y="1747"/>
                    </a:lnTo>
                    <a:lnTo>
                      <a:pt x="6584" y="1735"/>
                    </a:lnTo>
                    <a:lnTo>
                      <a:pt x="6596" y="1723"/>
                    </a:lnTo>
                    <a:lnTo>
                      <a:pt x="6596" y="1700"/>
                    </a:lnTo>
                    <a:lnTo>
                      <a:pt x="6572" y="1628"/>
                    </a:lnTo>
                    <a:lnTo>
                      <a:pt x="6548" y="1616"/>
                    </a:lnTo>
                    <a:lnTo>
                      <a:pt x="6513" y="1628"/>
                    </a:lnTo>
                    <a:lnTo>
                      <a:pt x="6477" y="1652"/>
                    </a:lnTo>
                    <a:lnTo>
                      <a:pt x="6453" y="1652"/>
                    </a:lnTo>
                    <a:lnTo>
                      <a:pt x="6453" y="1640"/>
                    </a:lnTo>
                    <a:lnTo>
                      <a:pt x="6453" y="1604"/>
                    </a:lnTo>
                    <a:lnTo>
                      <a:pt x="6430" y="1521"/>
                    </a:lnTo>
                    <a:lnTo>
                      <a:pt x="6382" y="1498"/>
                    </a:lnTo>
                    <a:lnTo>
                      <a:pt x="6323" y="1509"/>
                    </a:lnTo>
                    <a:lnTo>
                      <a:pt x="6311" y="1509"/>
                    </a:lnTo>
                    <a:lnTo>
                      <a:pt x="6335" y="1486"/>
                    </a:lnTo>
                    <a:lnTo>
                      <a:pt x="6323" y="1450"/>
                    </a:lnTo>
                    <a:lnTo>
                      <a:pt x="6299" y="1450"/>
                    </a:lnTo>
                    <a:lnTo>
                      <a:pt x="6287" y="1462"/>
                    </a:lnTo>
                    <a:lnTo>
                      <a:pt x="6263" y="1450"/>
                    </a:lnTo>
                    <a:lnTo>
                      <a:pt x="6228" y="1402"/>
                    </a:lnTo>
                    <a:lnTo>
                      <a:pt x="6216" y="1414"/>
                    </a:lnTo>
                    <a:lnTo>
                      <a:pt x="6216" y="1438"/>
                    </a:lnTo>
                    <a:lnTo>
                      <a:pt x="6204" y="1450"/>
                    </a:lnTo>
                    <a:lnTo>
                      <a:pt x="6156" y="1438"/>
                    </a:lnTo>
                    <a:lnTo>
                      <a:pt x="6109" y="1414"/>
                    </a:lnTo>
                    <a:lnTo>
                      <a:pt x="6109" y="1438"/>
                    </a:lnTo>
                    <a:lnTo>
                      <a:pt x="6097" y="1450"/>
                    </a:lnTo>
                    <a:lnTo>
                      <a:pt x="6073" y="1426"/>
                    </a:lnTo>
                    <a:lnTo>
                      <a:pt x="6037" y="1426"/>
                    </a:lnTo>
                    <a:lnTo>
                      <a:pt x="6014" y="1391"/>
                    </a:lnTo>
                    <a:lnTo>
                      <a:pt x="5990" y="1391"/>
                    </a:lnTo>
                    <a:lnTo>
                      <a:pt x="5966" y="1367"/>
                    </a:lnTo>
                    <a:lnTo>
                      <a:pt x="5931" y="1355"/>
                    </a:lnTo>
                    <a:lnTo>
                      <a:pt x="5895" y="1295"/>
                    </a:lnTo>
                    <a:lnTo>
                      <a:pt x="5859" y="1295"/>
                    </a:lnTo>
                    <a:lnTo>
                      <a:pt x="5824" y="1319"/>
                    </a:lnTo>
                    <a:lnTo>
                      <a:pt x="5812" y="1319"/>
                    </a:lnTo>
                    <a:lnTo>
                      <a:pt x="5800" y="1295"/>
                    </a:lnTo>
                    <a:lnTo>
                      <a:pt x="5812" y="1272"/>
                    </a:lnTo>
                    <a:lnTo>
                      <a:pt x="5776" y="1236"/>
                    </a:lnTo>
                    <a:lnTo>
                      <a:pt x="5776" y="1212"/>
                    </a:lnTo>
                    <a:lnTo>
                      <a:pt x="5752" y="1189"/>
                    </a:lnTo>
                    <a:lnTo>
                      <a:pt x="5752" y="1165"/>
                    </a:lnTo>
                    <a:lnTo>
                      <a:pt x="5717" y="1129"/>
                    </a:lnTo>
                    <a:lnTo>
                      <a:pt x="5693" y="1129"/>
                    </a:lnTo>
                    <a:lnTo>
                      <a:pt x="5669" y="1165"/>
                    </a:lnTo>
                    <a:lnTo>
                      <a:pt x="5657" y="1153"/>
                    </a:lnTo>
                    <a:lnTo>
                      <a:pt x="5598" y="1093"/>
                    </a:lnTo>
                    <a:lnTo>
                      <a:pt x="5562" y="1058"/>
                    </a:lnTo>
                    <a:lnTo>
                      <a:pt x="5526" y="1022"/>
                    </a:lnTo>
                    <a:lnTo>
                      <a:pt x="5491" y="1010"/>
                    </a:lnTo>
                    <a:lnTo>
                      <a:pt x="5467" y="987"/>
                    </a:lnTo>
                    <a:lnTo>
                      <a:pt x="5443" y="998"/>
                    </a:lnTo>
                    <a:lnTo>
                      <a:pt x="5420" y="1010"/>
                    </a:lnTo>
                    <a:lnTo>
                      <a:pt x="5360" y="998"/>
                    </a:lnTo>
                    <a:lnTo>
                      <a:pt x="5289" y="1010"/>
                    </a:lnTo>
                    <a:lnTo>
                      <a:pt x="5194" y="963"/>
                    </a:lnTo>
                    <a:lnTo>
                      <a:pt x="5111" y="975"/>
                    </a:lnTo>
                    <a:lnTo>
                      <a:pt x="5039" y="975"/>
                    </a:lnTo>
                    <a:lnTo>
                      <a:pt x="5015" y="963"/>
                    </a:lnTo>
                    <a:lnTo>
                      <a:pt x="5004" y="939"/>
                    </a:lnTo>
                    <a:lnTo>
                      <a:pt x="4980" y="749"/>
                    </a:lnTo>
                    <a:lnTo>
                      <a:pt x="4944" y="678"/>
                    </a:lnTo>
                    <a:lnTo>
                      <a:pt x="4932" y="642"/>
                    </a:lnTo>
                    <a:lnTo>
                      <a:pt x="4944" y="582"/>
                    </a:lnTo>
                    <a:lnTo>
                      <a:pt x="4968" y="523"/>
                    </a:lnTo>
                    <a:lnTo>
                      <a:pt x="4980" y="487"/>
                    </a:lnTo>
                    <a:lnTo>
                      <a:pt x="4944" y="404"/>
                    </a:lnTo>
                    <a:lnTo>
                      <a:pt x="4944" y="321"/>
                    </a:lnTo>
                    <a:lnTo>
                      <a:pt x="4920" y="285"/>
                    </a:lnTo>
                    <a:lnTo>
                      <a:pt x="4885" y="250"/>
                    </a:lnTo>
                    <a:lnTo>
                      <a:pt x="4861" y="214"/>
                    </a:lnTo>
                    <a:lnTo>
                      <a:pt x="4849" y="214"/>
                    </a:lnTo>
                    <a:lnTo>
                      <a:pt x="4778" y="119"/>
                    </a:lnTo>
                    <a:lnTo>
                      <a:pt x="4730" y="0"/>
                    </a:lnTo>
                    <a:lnTo>
                      <a:pt x="4659" y="24"/>
                    </a:lnTo>
                    <a:lnTo>
                      <a:pt x="4659" y="36"/>
                    </a:lnTo>
                    <a:lnTo>
                      <a:pt x="4635" y="48"/>
                    </a:lnTo>
                    <a:lnTo>
                      <a:pt x="4635" y="60"/>
                    </a:lnTo>
                    <a:lnTo>
                      <a:pt x="4552" y="60"/>
                    </a:lnTo>
                    <a:lnTo>
                      <a:pt x="4504" y="83"/>
                    </a:lnTo>
                    <a:lnTo>
                      <a:pt x="4445" y="131"/>
                    </a:lnTo>
                    <a:lnTo>
                      <a:pt x="4421" y="143"/>
                    </a:lnTo>
                    <a:lnTo>
                      <a:pt x="4326" y="131"/>
                    </a:lnTo>
                    <a:lnTo>
                      <a:pt x="4291" y="167"/>
                    </a:lnTo>
                    <a:lnTo>
                      <a:pt x="4302" y="178"/>
                    </a:lnTo>
                    <a:lnTo>
                      <a:pt x="4267" y="238"/>
                    </a:lnTo>
                    <a:lnTo>
                      <a:pt x="4160" y="214"/>
                    </a:lnTo>
                    <a:lnTo>
                      <a:pt x="4148" y="214"/>
                    </a:lnTo>
                    <a:lnTo>
                      <a:pt x="4089" y="214"/>
                    </a:lnTo>
                    <a:lnTo>
                      <a:pt x="4029" y="226"/>
                    </a:lnTo>
                    <a:lnTo>
                      <a:pt x="3958" y="214"/>
                    </a:lnTo>
                    <a:lnTo>
                      <a:pt x="3910" y="226"/>
                    </a:lnTo>
                    <a:lnTo>
                      <a:pt x="3839" y="262"/>
                    </a:lnTo>
                    <a:lnTo>
                      <a:pt x="3815" y="250"/>
                    </a:lnTo>
                    <a:lnTo>
                      <a:pt x="3744" y="190"/>
                    </a:lnTo>
                    <a:lnTo>
                      <a:pt x="3684" y="178"/>
                    </a:lnTo>
                    <a:lnTo>
                      <a:pt x="3613" y="143"/>
                    </a:lnTo>
                    <a:lnTo>
                      <a:pt x="3578" y="131"/>
                    </a:lnTo>
                    <a:lnTo>
                      <a:pt x="3530" y="131"/>
                    </a:lnTo>
                    <a:lnTo>
                      <a:pt x="3494" y="155"/>
                    </a:lnTo>
                    <a:lnTo>
                      <a:pt x="3506" y="238"/>
                    </a:lnTo>
                    <a:lnTo>
                      <a:pt x="3494" y="262"/>
                    </a:lnTo>
                    <a:lnTo>
                      <a:pt x="3435" y="333"/>
                    </a:lnTo>
                    <a:lnTo>
                      <a:pt x="3399" y="333"/>
                    </a:lnTo>
                    <a:lnTo>
                      <a:pt x="3364" y="357"/>
                    </a:lnTo>
                    <a:lnTo>
                      <a:pt x="3352" y="416"/>
                    </a:lnTo>
                    <a:lnTo>
                      <a:pt x="3399" y="464"/>
                    </a:lnTo>
                    <a:lnTo>
                      <a:pt x="3423" y="464"/>
                    </a:lnTo>
                    <a:lnTo>
                      <a:pt x="3459" y="535"/>
                    </a:lnTo>
                    <a:lnTo>
                      <a:pt x="3494" y="547"/>
                    </a:lnTo>
                    <a:lnTo>
                      <a:pt x="3518" y="606"/>
                    </a:lnTo>
                    <a:lnTo>
                      <a:pt x="3578" y="630"/>
                    </a:lnTo>
                    <a:lnTo>
                      <a:pt x="3601" y="713"/>
                    </a:lnTo>
                    <a:lnTo>
                      <a:pt x="3578" y="856"/>
                    </a:lnTo>
                    <a:lnTo>
                      <a:pt x="3554" y="891"/>
                    </a:lnTo>
                    <a:lnTo>
                      <a:pt x="3530" y="903"/>
                    </a:lnTo>
                    <a:lnTo>
                      <a:pt x="3423" y="915"/>
                    </a:lnTo>
                    <a:lnTo>
                      <a:pt x="3375" y="903"/>
                    </a:lnTo>
                    <a:lnTo>
                      <a:pt x="3292" y="856"/>
                    </a:lnTo>
                    <a:lnTo>
                      <a:pt x="3185" y="844"/>
                    </a:lnTo>
                    <a:lnTo>
                      <a:pt x="3150" y="832"/>
                    </a:lnTo>
                    <a:lnTo>
                      <a:pt x="3102" y="796"/>
                    </a:lnTo>
                    <a:lnTo>
                      <a:pt x="3055" y="784"/>
                    </a:lnTo>
                    <a:lnTo>
                      <a:pt x="2995" y="784"/>
                    </a:lnTo>
                    <a:lnTo>
                      <a:pt x="2971" y="796"/>
                    </a:lnTo>
                    <a:lnTo>
                      <a:pt x="2912" y="796"/>
                    </a:lnTo>
                    <a:lnTo>
                      <a:pt x="2888" y="820"/>
                    </a:lnTo>
                    <a:lnTo>
                      <a:pt x="2853" y="832"/>
                    </a:lnTo>
                    <a:lnTo>
                      <a:pt x="2746" y="820"/>
                    </a:lnTo>
                    <a:lnTo>
                      <a:pt x="2698" y="832"/>
                    </a:lnTo>
                    <a:lnTo>
                      <a:pt x="2579" y="903"/>
                    </a:lnTo>
                    <a:lnTo>
                      <a:pt x="2520" y="891"/>
                    </a:lnTo>
                    <a:lnTo>
                      <a:pt x="2484" y="891"/>
                    </a:lnTo>
                    <a:lnTo>
                      <a:pt x="2449" y="891"/>
                    </a:lnTo>
                    <a:lnTo>
                      <a:pt x="2413" y="856"/>
                    </a:lnTo>
                    <a:lnTo>
                      <a:pt x="2365" y="844"/>
                    </a:lnTo>
                    <a:lnTo>
                      <a:pt x="2270" y="832"/>
                    </a:lnTo>
                    <a:lnTo>
                      <a:pt x="2270" y="844"/>
                    </a:lnTo>
                    <a:lnTo>
                      <a:pt x="2223" y="784"/>
                    </a:lnTo>
                    <a:lnTo>
                      <a:pt x="2223" y="761"/>
                    </a:lnTo>
                    <a:lnTo>
                      <a:pt x="2175" y="725"/>
                    </a:lnTo>
                    <a:lnTo>
                      <a:pt x="2116" y="737"/>
                    </a:lnTo>
                    <a:lnTo>
                      <a:pt x="2068" y="773"/>
                    </a:lnTo>
                    <a:lnTo>
                      <a:pt x="1985" y="784"/>
                    </a:lnTo>
                    <a:lnTo>
                      <a:pt x="1938" y="761"/>
                    </a:lnTo>
                    <a:lnTo>
                      <a:pt x="1890" y="784"/>
                    </a:lnTo>
                    <a:lnTo>
                      <a:pt x="1854" y="820"/>
                    </a:lnTo>
                    <a:lnTo>
                      <a:pt x="1807" y="844"/>
                    </a:lnTo>
                    <a:lnTo>
                      <a:pt x="1771" y="951"/>
                    </a:lnTo>
                    <a:lnTo>
                      <a:pt x="1771" y="963"/>
                    </a:lnTo>
                    <a:lnTo>
                      <a:pt x="1617" y="1093"/>
                    </a:lnTo>
                    <a:lnTo>
                      <a:pt x="1545" y="1117"/>
                    </a:lnTo>
                    <a:lnTo>
                      <a:pt x="1510" y="1117"/>
                    </a:lnTo>
                    <a:lnTo>
                      <a:pt x="1415" y="1070"/>
                    </a:lnTo>
                    <a:lnTo>
                      <a:pt x="1367" y="1082"/>
                    </a:lnTo>
                    <a:lnTo>
                      <a:pt x="1343" y="1093"/>
                    </a:lnTo>
                    <a:lnTo>
                      <a:pt x="1308" y="1093"/>
                    </a:lnTo>
                    <a:lnTo>
                      <a:pt x="1308" y="1105"/>
                    </a:lnTo>
                    <a:lnTo>
                      <a:pt x="1189" y="1153"/>
                    </a:lnTo>
                    <a:lnTo>
                      <a:pt x="1165" y="1141"/>
                    </a:lnTo>
                    <a:lnTo>
                      <a:pt x="1165" y="1153"/>
                    </a:lnTo>
                    <a:lnTo>
                      <a:pt x="1118" y="1189"/>
                    </a:lnTo>
                    <a:lnTo>
                      <a:pt x="1118" y="1284"/>
                    </a:lnTo>
                    <a:lnTo>
                      <a:pt x="1118" y="1319"/>
                    </a:lnTo>
                    <a:lnTo>
                      <a:pt x="1106" y="1331"/>
                    </a:lnTo>
                    <a:lnTo>
                      <a:pt x="1070" y="1331"/>
                    </a:lnTo>
                    <a:lnTo>
                      <a:pt x="1046" y="1319"/>
                    </a:lnTo>
                    <a:lnTo>
                      <a:pt x="963" y="1307"/>
                    </a:lnTo>
                    <a:lnTo>
                      <a:pt x="892" y="1260"/>
                    </a:lnTo>
                    <a:lnTo>
                      <a:pt x="797" y="1260"/>
                    </a:lnTo>
                    <a:lnTo>
                      <a:pt x="737" y="1224"/>
                    </a:lnTo>
                    <a:lnTo>
                      <a:pt x="690" y="1224"/>
                    </a:lnTo>
                    <a:lnTo>
                      <a:pt x="666" y="1248"/>
                    </a:lnTo>
                    <a:lnTo>
                      <a:pt x="654" y="1260"/>
                    </a:lnTo>
                    <a:lnTo>
                      <a:pt x="666" y="1319"/>
                    </a:lnTo>
                    <a:lnTo>
                      <a:pt x="654" y="1343"/>
                    </a:lnTo>
                    <a:lnTo>
                      <a:pt x="618" y="1379"/>
                    </a:lnTo>
                    <a:lnTo>
                      <a:pt x="583" y="1391"/>
                    </a:lnTo>
                    <a:lnTo>
                      <a:pt x="535" y="1355"/>
                    </a:lnTo>
                    <a:lnTo>
                      <a:pt x="523" y="1355"/>
                    </a:lnTo>
                    <a:lnTo>
                      <a:pt x="500" y="1343"/>
                    </a:lnTo>
                    <a:lnTo>
                      <a:pt x="452" y="1355"/>
                    </a:lnTo>
                    <a:lnTo>
                      <a:pt x="464" y="1402"/>
                    </a:lnTo>
                    <a:lnTo>
                      <a:pt x="523" y="1462"/>
                    </a:lnTo>
                    <a:lnTo>
                      <a:pt x="523" y="1486"/>
                    </a:lnTo>
                    <a:lnTo>
                      <a:pt x="523" y="1533"/>
                    </a:lnTo>
                    <a:lnTo>
                      <a:pt x="476" y="1604"/>
                    </a:lnTo>
                    <a:lnTo>
                      <a:pt x="440" y="1604"/>
                    </a:lnTo>
                    <a:lnTo>
                      <a:pt x="393" y="1581"/>
                    </a:lnTo>
                    <a:lnTo>
                      <a:pt x="262" y="1593"/>
                    </a:lnTo>
                    <a:lnTo>
                      <a:pt x="226" y="1664"/>
                    </a:lnTo>
                    <a:lnTo>
                      <a:pt x="191" y="1688"/>
                    </a:lnTo>
                    <a:lnTo>
                      <a:pt x="155" y="1700"/>
                    </a:lnTo>
                    <a:lnTo>
                      <a:pt x="107" y="1700"/>
                    </a:lnTo>
                    <a:lnTo>
                      <a:pt x="36" y="1676"/>
                    </a:lnTo>
                    <a:lnTo>
                      <a:pt x="24" y="1664"/>
                    </a:lnTo>
                    <a:lnTo>
                      <a:pt x="24" y="1664"/>
                    </a:lnTo>
                    <a:lnTo>
                      <a:pt x="12" y="2020"/>
                    </a:lnTo>
                    <a:lnTo>
                      <a:pt x="24" y="2068"/>
                    </a:lnTo>
                    <a:lnTo>
                      <a:pt x="12" y="2199"/>
                    </a:lnTo>
                    <a:lnTo>
                      <a:pt x="0" y="2840"/>
                    </a:lnTo>
                    <a:lnTo>
                      <a:pt x="0" y="3007"/>
                    </a:lnTo>
                    <a:lnTo>
                      <a:pt x="12" y="3031"/>
                    </a:lnTo>
                    <a:lnTo>
                      <a:pt x="12" y="3173"/>
                    </a:lnTo>
                    <a:lnTo>
                      <a:pt x="60" y="3197"/>
                    </a:lnTo>
                    <a:lnTo>
                      <a:pt x="96" y="3233"/>
                    </a:lnTo>
                    <a:lnTo>
                      <a:pt x="96" y="3256"/>
                    </a:lnTo>
                    <a:lnTo>
                      <a:pt x="60" y="3351"/>
                    </a:lnTo>
                    <a:lnTo>
                      <a:pt x="60" y="3530"/>
                    </a:lnTo>
                    <a:lnTo>
                      <a:pt x="96" y="3565"/>
                    </a:lnTo>
                    <a:lnTo>
                      <a:pt x="191" y="3613"/>
                    </a:lnTo>
                    <a:lnTo>
                      <a:pt x="214" y="3648"/>
                    </a:lnTo>
                    <a:lnTo>
                      <a:pt x="250" y="3767"/>
                    </a:lnTo>
                    <a:lnTo>
                      <a:pt x="250" y="3779"/>
                    </a:lnTo>
                    <a:lnTo>
                      <a:pt x="226" y="3791"/>
                    </a:lnTo>
                    <a:lnTo>
                      <a:pt x="214" y="3815"/>
                    </a:lnTo>
                    <a:lnTo>
                      <a:pt x="214" y="3874"/>
                    </a:lnTo>
                    <a:lnTo>
                      <a:pt x="226" y="3910"/>
                    </a:lnTo>
                    <a:lnTo>
                      <a:pt x="262" y="3946"/>
                    </a:lnTo>
                    <a:lnTo>
                      <a:pt x="286" y="3957"/>
                    </a:lnTo>
                    <a:lnTo>
                      <a:pt x="440" y="4100"/>
                    </a:lnTo>
                    <a:lnTo>
                      <a:pt x="476" y="4112"/>
                    </a:lnTo>
                    <a:lnTo>
                      <a:pt x="488" y="4100"/>
                    </a:lnTo>
                    <a:lnTo>
                      <a:pt x="523" y="4148"/>
                    </a:lnTo>
                    <a:lnTo>
                      <a:pt x="583" y="4171"/>
                    </a:lnTo>
                    <a:lnTo>
                      <a:pt x="583" y="4183"/>
                    </a:lnTo>
                    <a:lnTo>
                      <a:pt x="559" y="4219"/>
                    </a:lnTo>
                    <a:lnTo>
                      <a:pt x="583" y="4255"/>
                    </a:lnTo>
                    <a:lnTo>
                      <a:pt x="595" y="4362"/>
                    </a:lnTo>
                    <a:lnTo>
                      <a:pt x="618" y="4385"/>
                    </a:lnTo>
                    <a:lnTo>
                      <a:pt x="678" y="4421"/>
                    </a:lnTo>
                    <a:lnTo>
                      <a:pt x="714" y="4468"/>
                    </a:lnTo>
                    <a:lnTo>
                      <a:pt x="761" y="4468"/>
                    </a:lnTo>
                    <a:lnTo>
                      <a:pt x="785" y="4480"/>
                    </a:lnTo>
                    <a:lnTo>
                      <a:pt x="856" y="4564"/>
                    </a:lnTo>
                    <a:lnTo>
                      <a:pt x="904" y="4575"/>
                    </a:lnTo>
                    <a:lnTo>
                      <a:pt x="939" y="4564"/>
                    </a:lnTo>
                    <a:lnTo>
                      <a:pt x="987" y="4492"/>
                    </a:lnTo>
                    <a:lnTo>
                      <a:pt x="1022" y="4480"/>
                    </a:lnTo>
                    <a:lnTo>
                      <a:pt x="1034" y="4468"/>
                    </a:lnTo>
                    <a:lnTo>
                      <a:pt x="1034" y="4433"/>
                    </a:lnTo>
                    <a:lnTo>
                      <a:pt x="1046" y="4433"/>
                    </a:lnTo>
                    <a:lnTo>
                      <a:pt x="1070" y="4433"/>
                    </a:lnTo>
                    <a:lnTo>
                      <a:pt x="1106" y="4504"/>
                    </a:lnTo>
                    <a:lnTo>
                      <a:pt x="1129" y="4528"/>
                    </a:lnTo>
                    <a:lnTo>
                      <a:pt x="1141" y="4575"/>
                    </a:lnTo>
                    <a:lnTo>
                      <a:pt x="1106" y="4730"/>
                    </a:lnTo>
                    <a:lnTo>
                      <a:pt x="1153" y="4777"/>
                    </a:lnTo>
                    <a:lnTo>
                      <a:pt x="1189" y="4801"/>
                    </a:lnTo>
                    <a:lnTo>
                      <a:pt x="1272" y="4825"/>
                    </a:lnTo>
                    <a:lnTo>
                      <a:pt x="1355" y="4908"/>
                    </a:lnTo>
                    <a:lnTo>
                      <a:pt x="1438" y="4944"/>
                    </a:lnTo>
                    <a:lnTo>
                      <a:pt x="1462" y="4991"/>
                    </a:lnTo>
                    <a:lnTo>
                      <a:pt x="1474" y="5003"/>
                    </a:lnTo>
                    <a:lnTo>
                      <a:pt x="1545" y="5003"/>
                    </a:lnTo>
                    <a:lnTo>
                      <a:pt x="1581" y="4979"/>
                    </a:lnTo>
                    <a:lnTo>
                      <a:pt x="1605" y="5015"/>
                    </a:lnTo>
                    <a:lnTo>
                      <a:pt x="1629" y="5027"/>
                    </a:lnTo>
                    <a:lnTo>
                      <a:pt x="1664" y="5075"/>
                    </a:lnTo>
                    <a:lnTo>
                      <a:pt x="1747" y="5110"/>
                    </a:lnTo>
                    <a:lnTo>
                      <a:pt x="1759" y="5110"/>
                    </a:lnTo>
                    <a:lnTo>
                      <a:pt x="1807" y="5110"/>
                    </a:lnTo>
                    <a:lnTo>
                      <a:pt x="1854" y="5170"/>
                    </a:lnTo>
                    <a:lnTo>
                      <a:pt x="1997" y="5170"/>
                    </a:lnTo>
                    <a:lnTo>
                      <a:pt x="2033" y="5158"/>
                    </a:lnTo>
                    <a:lnTo>
                      <a:pt x="2068" y="5158"/>
                    </a:lnTo>
                    <a:lnTo>
                      <a:pt x="2128" y="5217"/>
                    </a:lnTo>
                    <a:lnTo>
                      <a:pt x="2211" y="5253"/>
                    </a:lnTo>
                    <a:lnTo>
                      <a:pt x="2223" y="5288"/>
                    </a:lnTo>
                    <a:lnTo>
                      <a:pt x="2235" y="5336"/>
                    </a:lnTo>
                    <a:lnTo>
                      <a:pt x="2235" y="5348"/>
                    </a:lnTo>
                    <a:lnTo>
                      <a:pt x="2258" y="5384"/>
                    </a:lnTo>
                    <a:lnTo>
                      <a:pt x="2282" y="5407"/>
                    </a:lnTo>
                    <a:lnTo>
                      <a:pt x="2318" y="5419"/>
                    </a:lnTo>
                    <a:lnTo>
                      <a:pt x="2330" y="5419"/>
                    </a:lnTo>
                    <a:lnTo>
                      <a:pt x="2377" y="5455"/>
                    </a:lnTo>
                    <a:lnTo>
                      <a:pt x="2449" y="5479"/>
                    </a:lnTo>
                    <a:lnTo>
                      <a:pt x="2472" y="5502"/>
                    </a:lnTo>
                    <a:lnTo>
                      <a:pt x="2567" y="5514"/>
                    </a:lnTo>
                    <a:lnTo>
                      <a:pt x="2615" y="5550"/>
                    </a:lnTo>
                    <a:lnTo>
                      <a:pt x="2627" y="5574"/>
                    </a:lnTo>
                    <a:lnTo>
                      <a:pt x="2627" y="5597"/>
                    </a:lnTo>
                    <a:lnTo>
                      <a:pt x="2603" y="5669"/>
                    </a:lnTo>
                    <a:lnTo>
                      <a:pt x="2603" y="5704"/>
                    </a:lnTo>
                    <a:lnTo>
                      <a:pt x="2686" y="5740"/>
                    </a:lnTo>
                    <a:lnTo>
                      <a:pt x="2758" y="5740"/>
                    </a:lnTo>
                    <a:lnTo>
                      <a:pt x="2817" y="5704"/>
                    </a:lnTo>
                    <a:lnTo>
                      <a:pt x="2876" y="5693"/>
                    </a:lnTo>
                    <a:lnTo>
                      <a:pt x="2995" y="5716"/>
                    </a:lnTo>
                    <a:lnTo>
                      <a:pt x="3055" y="5704"/>
                    </a:lnTo>
                    <a:lnTo>
                      <a:pt x="3090" y="5681"/>
                    </a:lnTo>
                    <a:lnTo>
                      <a:pt x="3126" y="5669"/>
                    </a:lnTo>
                    <a:lnTo>
                      <a:pt x="3138" y="5645"/>
                    </a:lnTo>
                    <a:lnTo>
                      <a:pt x="3162" y="5645"/>
                    </a:lnTo>
                    <a:lnTo>
                      <a:pt x="3185" y="5586"/>
                    </a:lnTo>
                    <a:lnTo>
                      <a:pt x="3209" y="5574"/>
                    </a:lnTo>
                    <a:lnTo>
                      <a:pt x="3399" y="5538"/>
                    </a:lnTo>
                    <a:lnTo>
                      <a:pt x="3340" y="5657"/>
                    </a:lnTo>
                    <a:lnTo>
                      <a:pt x="3292" y="5693"/>
                    </a:lnTo>
                    <a:lnTo>
                      <a:pt x="3197" y="5752"/>
                    </a:lnTo>
                    <a:lnTo>
                      <a:pt x="3162" y="5776"/>
                    </a:lnTo>
                    <a:lnTo>
                      <a:pt x="3055" y="5811"/>
                    </a:lnTo>
                    <a:lnTo>
                      <a:pt x="3019" y="5871"/>
                    </a:lnTo>
                    <a:lnTo>
                      <a:pt x="3019" y="5954"/>
                    </a:lnTo>
                    <a:lnTo>
                      <a:pt x="3031" y="5978"/>
                    </a:lnTo>
                    <a:lnTo>
                      <a:pt x="3031" y="6013"/>
                    </a:lnTo>
                    <a:lnTo>
                      <a:pt x="2472" y="7249"/>
                    </a:lnTo>
                    <a:lnTo>
                      <a:pt x="2437" y="7297"/>
                    </a:lnTo>
                    <a:lnTo>
                      <a:pt x="2437" y="7344"/>
                    </a:lnTo>
                    <a:lnTo>
                      <a:pt x="2401" y="7392"/>
                    </a:lnTo>
                    <a:lnTo>
                      <a:pt x="1771" y="8782"/>
                    </a:lnTo>
                    <a:lnTo>
                      <a:pt x="1724" y="8854"/>
                    </a:lnTo>
                    <a:lnTo>
                      <a:pt x="1724" y="8889"/>
                    </a:lnTo>
                    <a:lnTo>
                      <a:pt x="1355" y="9674"/>
                    </a:lnTo>
                    <a:lnTo>
                      <a:pt x="1320" y="9745"/>
                    </a:lnTo>
                    <a:lnTo>
                      <a:pt x="1320" y="9769"/>
                    </a:lnTo>
                    <a:lnTo>
                      <a:pt x="1236" y="9935"/>
                    </a:lnTo>
                    <a:lnTo>
                      <a:pt x="1225" y="9971"/>
                    </a:lnTo>
                    <a:lnTo>
                      <a:pt x="1225" y="9983"/>
                    </a:lnTo>
                    <a:lnTo>
                      <a:pt x="1189" y="10018"/>
                    </a:lnTo>
                    <a:lnTo>
                      <a:pt x="1058" y="10339"/>
                    </a:lnTo>
                    <a:lnTo>
                      <a:pt x="1011" y="10410"/>
                    </a:lnTo>
                    <a:lnTo>
                      <a:pt x="999" y="10470"/>
                    </a:lnTo>
                    <a:lnTo>
                      <a:pt x="975" y="10494"/>
                    </a:lnTo>
                    <a:lnTo>
                      <a:pt x="844" y="10803"/>
                    </a:lnTo>
                    <a:lnTo>
                      <a:pt x="773" y="10838"/>
                    </a:lnTo>
                    <a:lnTo>
                      <a:pt x="749" y="10874"/>
                    </a:lnTo>
                    <a:lnTo>
                      <a:pt x="725" y="10921"/>
                    </a:lnTo>
                    <a:lnTo>
                      <a:pt x="607" y="11005"/>
                    </a:lnTo>
                    <a:lnTo>
                      <a:pt x="583" y="11064"/>
                    </a:lnTo>
                    <a:lnTo>
                      <a:pt x="535" y="11112"/>
                    </a:lnTo>
                    <a:lnTo>
                      <a:pt x="535" y="11135"/>
                    </a:lnTo>
                    <a:lnTo>
                      <a:pt x="535" y="11183"/>
                    </a:lnTo>
                    <a:lnTo>
                      <a:pt x="547" y="11266"/>
                    </a:lnTo>
                    <a:lnTo>
                      <a:pt x="583" y="11314"/>
                    </a:lnTo>
                    <a:lnTo>
                      <a:pt x="595" y="11361"/>
                    </a:lnTo>
                    <a:lnTo>
                      <a:pt x="654" y="11432"/>
                    </a:lnTo>
                    <a:lnTo>
                      <a:pt x="678" y="11444"/>
                    </a:lnTo>
                    <a:lnTo>
                      <a:pt x="690" y="11444"/>
                    </a:lnTo>
                    <a:lnTo>
                      <a:pt x="714" y="11480"/>
                    </a:lnTo>
                    <a:lnTo>
                      <a:pt x="749" y="11504"/>
                    </a:lnTo>
                    <a:lnTo>
                      <a:pt x="785" y="11563"/>
                    </a:lnTo>
                    <a:lnTo>
                      <a:pt x="868" y="11623"/>
                    </a:lnTo>
                    <a:lnTo>
                      <a:pt x="916" y="11706"/>
                    </a:lnTo>
                    <a:lnTo>
                      <a:pt x="927" y="11765"/>
                    </a:lnTo>
                    <a:lnTo>
                      <a:pt x="939" y="11813"/>
                    </a:lnTo>
                    <a:lnTo>
                      <a:pt x="939" y="11884"/>
                    </a:lnTo>
                    <a:lnTo>
                      <a:pt x="951" y="11908"/>
                    </a:lnTo>
                    <a:lnTo>
                      <a:pt x="975" y="11932"/>
                    </a:lnTo>
                    <a:lnTo>
                      <a:pt x="975" y="11943"/>
                    </a:lnTo>
                    <a:lnTo>
                      <a:pt x="975" y="11943"/>
                    </a:lnTo>
                    <a:lnTo>
                      <a:pt x="1011" y="11967"/>
                    </a:lnTo>
                    <a:lnTo>
                      <a:pt x="1034" y="11979"/>
                    </a:lnTo>
                    <a:lnTo>
                      <a:pt x="1094" y="12122"/>
                    </a:lnTo>
                    <a:lnTo>
                      <a:pt x="1165" y="12181"/>
                    </a:lnTo>
                    <a:lnTo>
                      <a:pt x="1201" y="12288"/>
                    </a:lnTo>
                    <a:lnTo>
                      <a:pt x="1213" y="12312"/>
                    </a:lnTo>
                    <a:lnTo>
                      <a:pt x="1296" y="12478"/>
                    </a:lnTo>
                    <a:lnTo>
                      <a:pt x="1331" y="12573"/>
                    </a:lnTo>
                    <a:lnTo>
                      <a:pt x="1343" y="12633"/>
                    </a:lnTo>
                    <a:lnTo>
                      <a:pt x="1486" y="12847"/>
                    </a:lnTo>
                    <a:lnTo>
                      <a:pt x="1498" y="12894"/>
                    </a:lnTo>
                    <a:lnTo>
                      <a:pt x="1557" y="12965"/>
                    </a:lnTo>
                    <a:lnTo>
                      <a:pt x="1557" y="13013"/>
                    </a:lnTo>
                    <a:lnTo>
                      <a:pt x="1533" y="13108"/>
                    </a:lnTo>
                    <a:lnTo>
                      <a:pt x="1533" y="13156"/>
                    </a:lnTo>
                    <a:lnTo>
                      <a:pt x="1522" y="13203"/>
                    </a:lnTo>
                    <a:lnTo>
                      <a:pt x="1557" y="13274"/>
                    </a:lnTo>
                    <a:lnTo>
                      <a:pt x="1569" y="13346"/>
                    </a:lnTo>
                    <a:lnTo>
                      <a:pt x="1581" y="13405"/>
                    </a:lnTo>
                    <a:lnTo>
                      <a:pt x="1581" y="13441"/>
                    </a:lnTo>
                    <a:lnTo>
                      <a:pt x="1593" y="13476"/>
                    </a:lnTo>
                    <a:lnTo>
                      <a:pt x="1605" y="13560"/>
                    </a:lnTo>
                    <a:lnTo>
                      <a:pt x="1629" y="13583"/>
                    </a:lnTo>
                    <a:lnTo>
                      <a:pt x="1664" y="13595"/>
                    </a:lnTo>
                    <a:lnTo>
                      <a:pt x="1712" y="13583"/>
                    </a:lnTo>
                    <a:lnTo>
                      <a:pt x="1747" y="13607"/>
                    </a:lnTo>
                    <a:lnTo>
                      <a:pt x="1819" y="13607"/>
                    </a:lnTo>
                    <a:lnTo>
                      <a:pt x="1831" y="13643"/>
                    </a:lnTo>
                    <a:lnTo>
                      <a:pt x="1831" y="13690"/>
                    </a:lnTo>
                    <a:lnTo>
                      <a:pt x="1878" y="13738"/>
                    </a:lnTo>
                    <a:lnTo>
                      <a:pt x="2080" y="13797"/>
                    </a:lnTo>
                    <a:lnTo>
                      <a:pt x="2116" y="13821"/>
                    </a:lnTo>
                    <a:lnTo>
                      <a:pt x="2140" y="13857"/>
                    </a:lnTo>
                    <a:lnTo>
                      <a:pt x="2199" y="13904"/>
                    </a:lnTo>
                    <a:lnTo>
                      <a:pt x="2247" y="13928"/>
                    </a:lnTo>
                    <a:lnTo>
                      <a:pt x="2282" y="13976"/>
                    </a:lnTo>
                    <a:lnTo>
                      <a:pt x="2306" y="14023"/>
                    </a:lnTo>
                    <a:lnTo>
                      <a:pt x="2282" y="14082"/>
                    </a:lnTo>
                    <a:lnTo>
                      <a:pt x="2306" y="14142"/>
                    </a:lnTo>
                    <a:lnTo>
                      <a:pt x="2342" y="14154"/>
                    </a:lnTo>
                    <a:lnTo>
                      <a:pt x="2389" y="14166"/>
                    </a:lnTo>
                    <a:lnTo>
                      <a:pt x="2472" y="14166"/>
                    </a:lnTo>
                    <a:lnTo>
                      <a:pt x="2532" y="14189"/>
                    </a:lnTo>
                    <a:lnTo>
                      <a:pt x="2567" y="14237"/>
                    </a:lnTo>
                    <a:lnTo>
                      <a:pt x="2603" y="14356"/>
                    </a:lnTo>
                    <a:lnTo>
                      <a:pt x="2627" y="14380"/>
                    </a:lnTo>
                    <a:lnTo>
                      <a:pt x="2651" y="14368"/>
                    </a:lnTo>
                    <a:lnTo>
                      <a:pt x="2662" y="14356"/>
                    </a:lnTo>
                    <a:lnTo>
                      <a:pt x="2746" y="14308"/>
                    </a:lnTo>
                    <a:lnTo>
                      <a:pt x="3815" y="14391"/>
                    </a:lnTo>
                    <a:lnTo>
                      <a:pt x="4718" y="14451"/>
                    </a:lnTo>
                    <a:lnTo>
                      <a:pt x="5550" y="14510"/>
                    </a:lnTo>
                    <a:lnTo>
                      <a:pt x="6002" y="14546"/>
                    </a:lnTo>
                    <a:lnTo>
                      <a:pt x="6085" y="14546"/>
                    </a:lnTo>
                    <a:lnTo>
                      <a:pt x="6239" y="14558"/>
                    </a:lnTo>
                    <a:lnTo>
                      <a:pt x="6964" y="14617"/>
                    </a:lnTo>
                    <a:lnTo>
                      <a:pt x="7523" y="14665"/>
                    </a:lnTo>
                    <a:lnTo>
                      <a:pt x="8260" y="14724"/>
                    </a:lnTo>
                    <a:lnTo>
                      <a:pt x="9389" y="14831"/>
                    </a:lnTo>
                    <a:lnTo>
                      <a:pt x="10316" y="14914"/>
                    </a:lnTo>
                    <a:lnTo>
                      <a:pt x="10363" y="14831"/>
                    </a:lnTo>
                    <a:lnTo>
                      <a:pt x="10399" y="14772"/>
                    </a:lnTo>
                    <a:lnTo>
                      <a:pt x="10434" y="14724"/>
                    </a:lnTo>
                    <a:lnTo>
                      <a:pt x="10458" y="14617"/>
                    </a:lnTo>
                    <a:lnTo>
                      <a:pt x="10494" y="14570"/>
                    </a:lnTo>
                    <a:lnTo>
                      <a:pt x="10506" y="14534"/>
                    </a:lnTo>
                    <a:lnTo>
                      <a:pt x="10506" y="14487"/>
                    </a:lnTo>
                    <a:lnTo>
                      <a:pt x="10518" y="14403"/>
                    </a:lnTo>
                    <a:lnTo>
                      <a:pt x="10530" y="14391"/>
                    </a:lnTo>
                    <a:lnTo>
                      <a:pt x="10553" y="14344"/>
                    </a:lnTo>
                    <a:lnTo>
                      <a:pt x="10553" y="14308"/>
                    </a:lnTo>
                    <a:lnTo>
                      <a:pt x="10577" y="14225"/>
                    </a:lnTo>
                    <a:lnTo>
                      <a:pt x="10648" y="14154"/>
                    </a:lnTo>
                    <a:lnTo>
                      <a:pt x="10743" y="14082"/>
                    </a:lnTo>
                    <a:lnTo>
                      <a:pt x="10755" y="14047"/>
                    </a:lnTo>
                    <a:lnTo>
                      <a:pt x="10803" y="13952"/>
                    </a:lnTo>
                    <a:lnTo>
                      <a:pt x="10850" y="13892"/>
                    </a:lnTo>
                    <a:lnTo>
                      <a:pt x="10886" y="13809"/>
                    </a:lnTo>
                    <a:lnTo>
                      <a:pt x="10945" y="13738"/>
                    </a:lnTo>
                    <a:lnTo>
                      <a:pt x="11088" y="13690"/>
                    </a:lnTo>
                    <a:lnTo>
                      <a:pt x="11148" y="13655"/>
                    </a:lnTo>
                    <a:lnTo>
                      <a:pt x="11171" y="13595"/>
                    </a:lnTo>
                    <a:lnTo>
                      <a:pt x="11207" y="13560"/>
                    </a:lnTo>
                    <a:lnTo>
                      <a:pt x="11278" y="13405"/>
                    </a:lnTo>
                    <a:lnTo>
                      <a:pt x="11361" y="13286"/>
                    </a:lnTo>
                    <a:lnTo>
                      <a:pt x="11373" y="13251"/>
                    </a:lnTo>
                    <a:lnTo>
                      <a:pt x="11409" y="13191"/>
                    </a:lnTo>
                    <a:lnTo>
                      <a:pt x="11456" y="13156"/>
                    </a:lnTo>
                    <a:lnTo>
                      <a:pt x="11468" y="13156"/>
                    </a:lnTo>
                    <a:lnTo>
                      <a:pt x="11468" y="13144"/>
                    </a:lnTo>
                    <a:lnTo>
                      <a:pt x="11504" y="13120"/>
                    </a:lnTo>
                    <a:lnTo>
                      <a:pt x="11575" y="12930"/>
                    </a:lnTo>
                    <a:lnTo>
                      <a:pt x="11587" y="12858"/>
                    </a:lnTo>
                    <a:lnTo>
                      <a:pt x="11635" y="12728"/>
                    </a:lnTo>
                    <a:lnTo>
                      <a:pt x="11635" y="12656"/>
                    </a:lnTo>
                    <a:lnTo>
                      <a:pt x="11647" y="12597"/>
                    </a:lnTo>
                    <a:lnTo>
                      <a:pt x="11647" y="12549"/>
                    </a:lnTo>
                    <a:lnTo>
                      <a:pt x="11647" y="12514"/>
                    </a:lnTo>
                    <a:lnTo>
                      <a:pt x="11659" y="12466"/>
                    </a:lnTo>
                    <a:lnTo>
                      <a:pt x="11659" y="12419"/>
                    </a:lnTo>
                    <a:lnTo>
                      <a:pt x="11659" y="12407"/>
                    </a:lnTo>
                    <a:lnTo>
                      <a:pt x="11575" y="12371"/>
                    </a:lnTo>
                    <a:lnTo>
                      <a:pt x="11516" y="12324"/>
                    </a:lnTo>
                    <a:lnTo>
                      <a:pt x="11468" y="12276"/>
                    </a:lnTo>
                    <a:lnTo>
                      <a:pt x="11433" y="12229"/>
                    </a:lnTo>
                    <a:lnTo>
                      <a:pt x="11409" y="12193"/>
                    </a:lnTo>
                    <a:lnTo>
                      <a:pt x="11409" y="12086"/>
                    </a:lnTo>
                    <a:lnTo>
                      <a:pt x="11421" y="12038"/>
                    </a:lnTo>
                    <a:lnTo>
                      <a:pt x="11480" y="11955"/>
                    </a:lnTo>
                    <a:lnTo>
                      <a:pt x="11552" y="11884"/>
                    </a:lnTo>
                    <a:lnTo>
                      <a:pt x="11623" y="11729"/>
                    </a:lnTo>
                    <a:lnTo>
                      <a:pt x="11623" y="11706"/>
                    </a:lnTo>
                    <a:lnTo>
                      <a:pt x="11623" y="11551"/>
                    </a:lnTo>
                    <a:lnTo>
                      <a:pt x="11599" y="11432"/>
                    </a:lnTo>
                    <a:lnTo>
                      <a:pt x="11611" y="11397"/>
                    </a:lnTo>
                    <a:lnTo>
                      <a:pt x="11647" y="11349"/>
                    </a:lnTo>
                    <a:lnTo>
                      <a:pt x="11742" y="11302"/>
                    </a:lnTo>
                    <a:lnTo>
                      <a:pt x="11789" y="11254"/>
                    </a:lnTo>
                    <a:lnTo>
                      <a:pt x="11849" y="11218"/>
                    </a:lnTo>
                    <a:lnTo>
                      <a:pt x="11872" y="11207"/>
                    </a:lnTo>
                    <a:lnTo>
                      <a:pt x="11967" y="11171"/>
                    </a:lnTo>
                    <a:lnTo>
                      <a:pt x="12015" y="11147"/>
                    </a:lnTo>
                    <a:lnTo>
                      <a:pt x="12039" y="11147"/>
                    </a:lnTo>
                    <a:lnTo>
                      <a:pt x="12086" y="11123"/>
                    </a:lnTo>
                    <a:lnTo>
                      <a:pt x="12158" y="11100"/>
                    </a:lnTo>
                    <a:lnTo>
                      <a:pt x="12229" y="11064"/>
                    </a:lnTo>
                    <a:lnTo>
                      <a:pt x="12253" y="11028"/>
                    </a:lnTo>
                    <a:lnTo>
                      <a:pt x="12288" y="10886"/>
                    </a:lnTo>
                    <a:lnTo>
                      <a:pt x="12336" y="10850"/>
                    </a:lnTo>
                    <a:lnTo>
                      <a:pt x="12372" y="10779"/>
                    </a:lnTo>
                    <a:lnTo>
                      <a:pt x="12431" y="10719"/>
                    </a:lnTo>
                    <a:lnTo>
                      <a:pt x="12467" y="10696"/>
                    </a:lnTo>
                    <a:lnTo>
                      <a:pt x="12562" y="10707"/>
                    </a:lnTo>
                    <a:lnTo>
                      <a:pt x="12574" y="10707"/>
                    </a:lnTo>
                    <a:lnTo>
                      <a:pt x="12574" y="10684"/>
                    </a:lnTo>
                    <a:lnTo>
                      <a:pt x="12550" y="10612"/>
                    </a:lnTo>
                    <a:lnTo>
                      <a:pt x="12550" y="10482"/>
                    </a:lnTo>
                    <a:lnTo>
                      <a:pt x="12574" y="10458"/>
                    </a:lnTo>
                    <a:lnTo>
                      <a:pt x="12585" y="10446"/>
                    </a:lnTo>
                    <a:lnTo>
                      <a:pt x="12681" y="10434"/>
                    </a:lnTo>
                    <a:lnTo>
                      <a:pt x="12704" y="10410"/>
                    </a:lnTo>
                    <a:lnTo>
                      <a:pt x="12704" y="10375"/>
                    </a:lnTo>
                    <a:lnTo>
                      <a:pt x="12681" y="10315"/>
                    </a:lnTo>
                    <a:lnTo>
                      <a:pt x="12681" y="10268"/>
                    </a:lnTo>
                    <a:lnTo>
                      <a:pt x="12704" y="10268"/>
                    </a:lnTo>
                    <a:lnTo>
                      <a:pt x="12764" y="10232"/>
                    </a:lnTo>
                    <a:lnTo>
                      <a:pt x="12787" y="10220"/>
                    </a:lnTo>
                    <a:lnTo>
                      <a:pt x="12787" y="10196"/>
                    </a:lnTo>
                    <a:lnTo>
                      <a:pt x="12787" y="10173"/>
                    </a:lnTo>
                    <a:lnTo>
                      <a:pt x="12728" y="10101"/>
                    </a:lnTo>
                    <a:lnTo>
                      <a:pt x="12716" y="10030"/>
                    </a:lnTo>
                    <a:lnTo>
                      <a:pt x="12728" y="9994"/>
                    </a:lnTo>
                    <a:lnTo>
                      <a:pt x="12752" y="9959"/>
                    </a:lnTo>
                    <a:lnTo>
                      <a:pt x="12835" y="9947"/>
                    </a:lnTo>
                    <a:lnTo>
                      <a:pt x="12894" y="9864"/>
                    </a:lnTo>
                    <a:lnTo>
                      <a:pt x="12859" y="9769"/>
                    </a:lnTo>
                    <a:lnTo>
                      <a:pt x="12799" y="9745"/>
                    </a:lnTo>
                    <a:lnTo>
                      <a:pt x="12716" y="9721"/>
                    </a:lnTo>
                    <a:lnTo>
                      <a:pt x="12692" y="9697"/>
                    </a:lnTo>
                    <a:lnTo>
                      <a:pt x="12681" y="9685"/>
                    </a:lnTo>
                    <a:lnTo>
                      <a:pt x="12645" y="9602"/>
                    </a:lnTo>
                    <a:lnTo>
                      <a:pt x="12621" y="9579"/>
                    </a:lnTo>
                    <a:lnTo>
                      <a:pt x="12550" y="9567"/>
                    </a:lnTo>
                    <a:lnTo>
                      <a:pt x="12383" y="9579"/>
                    </a:lnTo>
                    <a:lnTo>
                      <a:pt x="12324" y="9579"/>
                    </a:lnTo>
                    <a:lnTo>
                      <a:pt x="12276" y="9555"/>
                    </a:lnTo>
                    <a:lnTo>
                      <a:pt x="12229" y="9531"/>
                    </a:lnTo>
                    <a:lnTo>
                      <a:pt x="12229" y="9495"/>
                    </a:lnTo>
                    <a:lnTo>
                      <a:pt x="12253" y="9483"/>
                    </a:lnTo>
                    <a:lnTo>
                      <a:pt x="12348" y="9495"/>
                    </a:lnTo>
                    <a:lnTo>
                      <a:pt x="12253" y="9472"/>
                    </a:lnTo>
                    <a:lnTo>
                      <a:pt x="12288" y="9460"/>
                    </a:lnTo>
                    <a:lnTo>
                      <a:pt x="12288" y="9460"/>
                    </a:lnTo>
                    <a:lnTo>
                      <a:pt x="12288" y="9448"/>
                    </a:lnTo>
                    <a:lnTo>
                      <a:pt x="12490" y="9305"/>
                    </a:lnTo>
                    <a:lnTo>
                      <a:pt x="13358" y="8663"/>
                    </a:lnTo>
                    <a:lnTo>
                      <a:pt x="13405" y="8628"/>
                    </a:lnTo>
                    <a:lnTo>
                      <a:pt x="13441" y="8652"/>
                    </a:lnTo>
                    <a:lnTo>
                      <a:pt x="13477" y="8652"/>
                    </a:lnTo>
                    <a:lnTo>
                      <a:pt x="13512" y="8592"/>
                    </a:lnTo>
                    <a:lnTo>
                      <a:pt x="13572" y="8557"/>
                    </a:lnTo>
                    <a:lnTo>
                      <a:pt x="13607" y="8473"/>
                    </a:lnTo>
                    <a:lnTo>
                      <a:pt x="13655" y="8438"/>
                    </a:lnTo>
                    <a:lnTo>
                      <a:pt x="13703" y="8307"/>
                    </a:lnTo>
                    <a:lnTo>
                      <a:pt x="13738" y="8283"/>
                    </a:lnTo>
                    <a:lnTo>
                      <a:pt x="13774" y="8259"/>
                    </a:lnTo>
                    <a:lnTo>
                      <a:pt x="13857" y="8141"/>
                    </a:lnTo>
                    <a:lnTo>
                      <a:pt x="13857" y="8057"/>
                    </a:lnTo>
                    <a:lnTo>
                      <a:pt x="13869" y="8034"/>
                    </a:lnTo>
                    <a:lnTo>
                      <a:pt x="13893" y="7962"/>
                    </a:lnTo>
                    <a:lnTo>
                      <a:pt x="13940" y="7939"/>
                    </a:lnTo>
                    <a:lnTo>
                      <a:pt x="13976" y="7891"/>
                    </a:lnTo>
                    <a:lnTo>
                      <a:pt x="14035" y="7867"/>
                    </a:lnTo>
                    <a:lnTo>
                      <a:pt x="14095" y="7760"/>
                    </a:lnTo>
                    <a:lnTo>
                      <a:pt x="14166" y="7701"/>
                    </a:lnTo>
                    <a:lnTo>
                      <a:pt x="14202" y="7641"/>
                    </a:lnTo>
                    <a:lnTo>
                      <a:pt x="14214" y="7594"/>
                    </a:lnTo>
                    <a:lnTo>
                      <a:pt x="14225" y="7439"/>
                    </a:lnTo>
                    <a:lnTo>
                      <a:pt x="14237" y="7368"/>
                    </a:lnTo>
                    <a:lnTo>
                      <a:pt x="14261" y="7344"/>
                    </a:lnTo>
                    <a:lnTo>
                      <a:pt x="14285" y="7332"/>
                    </a:lnTo>
                    <a:lnTo>
                      <a:pt x="14309" y="7285"/>
                    </a:lnTo>
                    <a:lnTo>
                      <a:pt x="14344" y="7261"/>
                    </a:lnTo>
                    <a:lnTo>
                      <a:pt x="14332" y="7214"/>
                    </a:lnTo>
                    <a:lnTo>
                      <a:pt x="14356" y="7178"/>
                    </a:lnTo>
                    <a:lnTo>
                      <a:pt x="14356" y="7154"/>
                    </a:lnTo>
                    <a:lnTo>
                      <a:pt x="14380" y="7142"/>
                    </a:lnTo>
                    <a:lnTo>
                      <a:pt x="14404" y="7107"/>
                    </a:lnTo>
                    <a:lnTo>
                      <a:pt x="14427" y="7095"/>
                    </a:lnTo>
                    <a:lnTo>
                      <a:pt x="14451" y="7071"/>
                    </a:lnTo>
                    <a:lnTo>
                      <a:pt x="14475" y="7059"/>
                    </a:lnTo>
                    <a:lnTo>
                      <a:pt x="14475" y="7035"/>
                    </a:lnTo>
                    <a:lnTo>
                      <a:pt x="14499" y="7012"/>
                    </a:lnTo>
                    <a:lnTo>
                      <a:pt x="14511" y="6988"/>
                    </a:lnTo>
                    <a:lnTo>
                      <a:pt x="14546" y="6964"/>
                    </a:lnTo>
                    <a:lnTo>
                      <a:pt x="14546" y="6928"/>
                    </a:lnTo>
                    <a:lnTo>
                      <a:pt x="14570" y="6928"/>
                    </a:lnTo>
                    <a:lnTo>
                      <a:pt x="14582" y="6905"/>
                    </a:lnTo>
                    <a:lnTo>
                      <a:pt x="14606" y="6905"/>
                    </a:lnTo>
                    <a:lnTo>
                      <a:pt x="14606" y="6881"/>
                    </a:lnTo>
                    <a:lnTo>
                      <a:pt x="14582" y="6869"/>
                    </a:lnTo>
                    <a:lnTo>
                      <a:pt x="14582" y="6845"/>
                    </a:lnTo>
                    <a:lnTo>
                      <a:pt x="14606" y="6845"/>
                    </a:lnTo>
                    <a:lnTo>
                      <a:pt x="14629" y="6833"/>
                    </a:lnTo>
                    <a:lnTo>
                      <a:pt x="14653" y="6821"/>
                    </a:lnTo>
                    <a:lnTo>
                      <a:pt x="14653" y="6774"/>
                    </a:lnTo>
                    <a:lnTo>
                      <a:pt x="14665" y="6762"/>
                    </a:lnTo>
                    <a:lnTo>
                      <a:pt x="14677" y="6726"/>
                    </a:lnTo>
                    <a:lnTo>
                      <a:pt x="14689" y="6715"/>
                    </a:lnTo>
                    <a:lnTo>
                      <a:pt x="14701" y="6679"/>
                    </a:lnTo>
                    <a:lnTo>
                      <a:pt x="14725" y="6655"/>
                    </a:lnTo>
                    <a:lnTo>
                      <a:pt x="14713" y="6608"/>
                    </a:lnTo>
                    <a:lnTo>
                      <a:pt x="14665" y="6596"/>
                    </a:lnTo>
                    <a:lnTo>
                      <a:pt x="14665" y="6572"/>
                    </a:lnTo>
                    <a:lnTo>
                      <a:pt x="14701" y="6560"/>
                    </a:lnTo>
                    <a:lnTo>
                      <a:pt x="14713" y="6536"/>
                    </a:lnTo>
                    <a:lnTo>
                      <a:pt x="14748" y="6524"/>
                    </a:lnTo>
                    <a:lnTo>
                      <a:pt x="14748" y="6512"/>
                    </a:lnTo>
                    <a:lnTo>
                      <a:pt x="14760" y="6501"/>
                    </a:lnTo>
                    <a:lnTo>
                      <a:pt x="14748" y="6453"/>
                    </a:lnTo>
                    <a:lnTo>
                      <a:pt x="14736" y="6453"/>
                    </a:lnTo>
                    <a:lnTo>
                      <a:pt x="14725" y="6477"/>
                    </a:lnTo>
                    <a:lnTo>
                      <a:pt x="14701" y="6465"/>
                    </a:lnTo>
                    <a:lnTo>
                      <a:pt x="14701" y="6441"/>
                    </a:lnTo>
                    <a:lnTo>
                      <a:pt x="14713" y="6417"/>
                    </a:lnTo>
                    <a:lnTo>
                      <a:pt x="14713" y="6406"/>
                    </a:lnTo>
                    <a:lnTo>
                      <a:pt x="14677" y="6394"/>
                    </a:lnTo>
                    <a:lnTo>
                      <a:pt x="14665" y="6370"/>
                    </a:lnTo>
                    <a:lnTo>
                      <a:pt x="14689" y="6334"/>
                    </a:lnTo>
                    <a:lnTo>
                      <a:pt x="14725" y="6322"/>
                    </a:lnTo>
                    <a:lnTo>
                      <a:pt x="14736" y="6287"/>
                    </a:lnTo>
                    <a:lnTo>
                      <a:pt x="14760" y="6299"/>
                    </a:lnTo>
                    <a:lnTo>
                      <a:pt x="14796" y="6263"/>
                    </a:lnTo>
                    <a:lnTo>
                      <a:pt x="14843" y="6263"/>
                    </a:lnTo>
                    <a:lnTo>
                      <a:pt x="14855" y="6215"/>
                    </a:lnTo>
                    <a:lnTo>
                      <a:pt x="14879" y="6215"/>
                    </a:lnTo>
                    <a:lnTo>
                      <a:pt x="14891" y="6204"/>
                    </a:lnTo>
                    <a:lnTo>
                      <a:pt x="14891" y="6180"/>
                    </a:lnTo>
                    <a:lnTo>
                      <a:pt x="14903" y="6156"/>
                    </a:lnTo>
                    <a:lnTo>
                      <a:pt x="14962" y="6144"/>
                    </a:lnTo>
                    <a:lnTo>
                      <a:pt x="14986" y="6144"/>
                    </a:lnTo>
                    <a:lnTo>
                      <a:pt x="14950" y="6037"/>
                    </a:lnTo>
                    <a:lnTo>
                      <a:pt x="14986" y="5942"/>
                    </a:lnTo>
                    <a:lnTo>
                      <a:pt x="14962" y="5942"/>
                    </a:lnTo>
                    <a:lnTo>
                      <a:pt x="14938" y="5966"/>
                    </a:lnTo>
                    <a:lnTo>
                      <a:pt x="14915" y="5954"/>
                    </a:lnTo>
                    <a:lnTo>
                      <a:pt x="14962" y="5906"/>
                    </a:lnTo>
                    <a:lnTo>
                      <a:pt x="14962" y="5871"/>
                    </a:lnTo>
                    <a:lnTo>
                      <a:pt x="14986" y="5847"/>
                    </a:lnTo>
                    <a:lnTo>
                      <a:pt x="14974" y="5799"/>
                    </a:lnTo>
                    <a:lnTo>
                      <a:pt x="14974" y="5788"/>
                    </a:lnTo>
                    <a:lnTo>
                      <a:pt x="14998" y="5788"/>
                    </a:lnTo>
                    <a:lnTo>
                      <a:pt x="15022" y="5811"/>
                    </a:lnTo>
                    <a:lnTo>
                      <a:pt x="15034" y="5799"/>
                    </a:lnTo>
                    <a:lnTo>
                      <a:pt x="15081" y="5764"/>
                    </a:lnTo>
                    <a:lnTo>
                      <a:pt x="15093" y="5740"/>
                    </a:lnTo>
                    <a:lnTo>
                      <a:pt x="15140" y="5716"/>
                    </a:lnTo>
                    <a:lnTo>
                      <a:pt x="15140" y="5681"/>
                    </a:lnTo>
                    <a:lnTo>
                      <a:pt x="15164" y="5645"/>
                    </a:lnTo>
                    <a:lnTo>
                      <a:pt x="15164" y="5562"/>
                    </a:lnTo>
                    <a:lnTo>
                      <a:pt x="15200" y="5502"/>
                    </a:lnTo>
                    <a:lnTo>
                      <a:pt x="15212" y="5455"/>
                    </a:lnTo>
                    <a:lnTo>
                      <a:pt x="15224" y="5431"/>
                    </a:lnTo>
                    <a:lnTo>
                      <a:pt x="15224" y="5407"/>
                    </a:lnTo>
                    <a:lnTo>
                      <a:pt x="15236" y="5384"/>
                    </a:lnTo>
                    <a:lnTo>
                      <a:pt x="15224" y="5348"/>
                    </a:lnTo>
                    <a:lnTo>
                      <a:pt x="15236" y="5312"/>
                    </a:lnTo>
                    <a:lnTo>
                      <a:pt x="15236" y="5288"/>
                    </a:lnTo>
                    <a:lnTo>
                      <a:pt x="15152" y="5253"/>
                    </a:lnTo>
                    <a:lnTo>
                      <a:pt x="15105" y="5253"/>
                    </a:lnTo>
                    <a:lnTo>
                      <a:pt x="15105" y="5241"/>
                    </a:lnTo>
                    <a:lnTo>
                      <a:pt x="15117" y="5182"/>
                    </a:lnTo>
                    <a:lnTo>
                      <a:pt x="15140" y="5182"/>
                    </a:lnTo>
                    <a:lnTo>
                      <a:pt x="15164" y="5205"/>
                    </a:lnTo>
                    <a:lnTo>
                      <a:pt x="15176" y="5193"/>
                    </a:lnTo>
                    <a:lnTo>
                      <a:pt x="15200" y="5170"/>
                    </a:lnTo>
                    <a:lnTo>
                      <a:pt x="15236" y="5182"/>
                    </a:lnTo>
                    <a:lnTo>
                      <a:pt x="15259" y="5146"/>
                    </a:lnTo>
                    <a:lnTo>
                      <a:pt x="15295" y="5146"/>
                    </a:lnTo>
                    <a:lnTo>
                      <a:pt x="15295" y="5110"/>
                    </a:lnTo>
                    <a:lnTo>
                      <a:pt x="15295" y="5063"/>
                    </a:lnTo>
                    <a:lnTo>
                      <a:pt x="15307" y="5039"/>
                    </a:lnTo>
                    <a:lnTo>
                      <a:pt x="15319" y="5003"/>
                    </a:lnTo>
                    <a:lnTo>
                      <a:pt x="15283" y="4908"/>
                    </a:lnTo>
                    <a:lnTo>
                      <a:pt x="15283" y="4884"/>
                    </a:lnTo>
                    <a:lnTo>
                      <a:pt x="15307" y="4825"/>
                    </a:lnTo>
                    <a:lnTo>
                      <a:pt x="15331" y="4813"/>
                    </a:lnTo>
                    <a:lnTo>
                      <a:pt x="15331" y="480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08" name="Freeform 459"/>
              <p:cNvSpPr>
                <a:spLocks/>
              </p:cNvSpPr>
              <p:nvPr/>
            </p:nvSpPr>
            <p:spPr bwMode="auto">
              <a:xfrm>
                <a:off x="11971337" y="-23425150"/>
                <a:ext cx="4471988" cy="3244850"/>
              </a:xfrm>
              <a:custGeom>
                <a:avLst/>
                <a:gdLst/>
                <a:ahLst/>
                <a:cxnLst>
                  <a:cxn ang="0">
                    <a:pos x="2793" y="249"/>
                  </a:cxn>
                  <a:cxn ang="0">
                    <a:pos x="2722" y="440"/>
                  </a:cxn>
                  <a:cxn ang="0">
                    <a:pos x="2638" y="820"/>
                  </a:cxn>
                  <a:cxn ang="0">
                    <a:pos x="2603" y="1022"/>
                  </a:cxn>
                  <a:cxn ang="0">
                    <a:pos x="2484" y="1105"/>
                  </a:cxn>
                  <a:cxn ang="0">
                    <a:pos x="2496" y="1200"/>
                  </a:cxn>
                  <a:cxn ang="0">
                    <a:pos x="2282" y="1343"/>
                  </a:cxn>
                  <a:cxn ang="0">
                    <a:pos x="2294" y="1426"/>
                  </a:cxn>
                  <a:cxn ang="0">
                    <a:pos x="2282" y="1533"/>
                  </a:cxn>
                  <a:cxn ang="0">
                    <a:pos x="2092" y="1711"/>
                  </a:cxn>
                  <a:cxn ang="0">
                    <a:pos x="1961" y="1723"/>
                  </a:cxn>
                  <a:cxn ang="0">
                    <a:pos x="1866" y="1782"/>
                  </a:cxn>
                  <a:cxn ang="0">
                    <a:pos x="1795" y="1830"/>
                  </a:cxn>
                  <a:cxn ang="0">
                    <a:pos x="1664" y="1771"/>
                  </a:cxn>
                  <a:cxn ang="0">
                    <a:pos x="1640" y="1842"/>
                  </a:cxn>
                  <a:cxn ang="0">
                    <a:pos x="1498" y="1842"/>
                  </a:cxn>
                  <a:cxn ang="0">
                    <a:pos x="1438" y="1830"/>
                  </a:cxn>
                  <a:cxn ang="0">
                    <a:pos x="1331" y="1949"/>
                  </a:cxn>
                  <a:cxn ang="0">
                    <a:pos x="1189" y="1949"/>
                  </a:cxn>
                  <a:cxn ang="0">
                    <a:pos x="1165" y="1985"/>
                  </a:cxn>
                  <a:cxn ang="0">
                    <a:pos x="1082" y="2044"/>
                  </a:cxn>
                  <a:cxn ang="0">
                    <a:pos x="820" y="1973"/>
                  </a:cxn>
                  <a:cxn ang="0">
                    <a:pos x="749" y="1961"/>
                  </a:cxn>
                  <a:cxn ang="0">
                    <a:pos x="571" y="1985"/>
                  </a:cxn>
                  <a:cxn ang="0">
                    <a:pos x="440" y="2008"/>
                  </a:cxn>
                  <a:cxn ang="0">
                    <a:pos x="274" y="1878"/>
                  </a:cxn>
                  <a:cxn ang="0">
                    <a:pos x="214" y="1652"/>
                  </a:cxn>
                  <a:cxn ang="0">
                    <a:pos x="416" y="1521"/>
                  </a:cxn>
                  <a:cxn ang="0">
                    <a:pos x="357" y="1378"/>
                  </a:cxn>
                  <a:cxn ang="0">
                    <a:pos x="190" y="1283"/>
                  </a:cxn>
                  <a:cxn ang="0">
                    <a:pos x="190" y="1200"/>
                  </a:cxn>
                  <a:cxn ang="0">
                    <a:pos x="381" y="1081"/>
                  </a:cxn>
                  <a:cxn ang="0">
                    <a:pos x="488" y="1034"/>
                  </a:cxn>
                  <a:cxn ang="0">
                    <a:pos x="428" y="796"/>
                  </a:cxn>
                  <a:cxn ang="0">
                    <a:pos x="547" y="689"/>
                  </a:cxn>
                  <a:cxn ang="0">
                    <a:pos x="678" y="725"/>
                  </a:cxn>
                  <a:cxn ang="0">
                    <a:pos x="701" y="974"/>
                  </a:cxn>
                  <a:cxn ang="0">
                    <a:pos x="892" y="1069"/>
                  </a:cxn>
                  <a:cxn ang="0">
                    <a:pos x="725" y="903"/>
                  </a:cxn>
                  <a:cxn ang="0">
                    <a:pos x="678" y="701"/>
                  </a:cxn>
                  <a:cxn ang="0">
                    <a:pos x="523" y="689"/>
                  </a:cxn>
                  <a:cxn ang="0">
                    <a:pos x="392" y="820"/>
                  </a:cxn>
                  <a:cxn ang="0">
                    <a:pos x="250" y="713"/>
                  </a:cxn>
                  <a:cxn ang="0">
                    <a:pos x="226" y="689"/>
                  </a:cxn>
                  <a:cxn ang="0">
                    <a:pos x="48" y="618"/>
                  </a:cxn>
                  <a:cxn ang="0">
                    <a:pos x="83" y="511"/>
                  </a:cxn>
                  <a:cxn ang="0">
                    <a:pos x="202" y="618"/>
                  </a:cxn>
                  <a:cxn ang="0">
                    <a:pos x="309" y="570"/>
                  </a:cxn>
                  <a:cxn ang="0">
                    <a:pos x="488" y="428"/>
                  </a:cxn>
                  <a:cxn ang="0">
                    <a:pos x="404" y="214"/>
                  </a:cxn>
                  <a:cxn ang="0">
                    <a:pos x="476" y="12"/>
                  </a:cxn>
                  <a:cxn ang="0">
                    <a:pos x="630" y="47"/>
                  </a:cxn>
                  <a:cxn ang="0">
                    <a:pos x="1248" y="214"/>
                  </a:cxn>
                  <a:cxn ang="0">
                    <a:pos x="1676" y="107"/>
                  </a:cxn>
                  <a:cxn ang="0">
                    <a:pos x="2056" y="107"/>
                  </a:cxn>
                  <a:cxn ang="0">
                    <a:pos x="2282" y="154"/>
                  </a:cxn>
                  <a:cxn ang="0">
                    <a:pos x="2448" y="226"/>
                  </a:cxn>
                </a:cxnLst>
                <a:rect l="0" t="0" r="r" b="b"/>
                <a:pathLst>
                  <a:path w="2817" h="2044">
                    <a:moveTo>
                      <a:pt x="2520" y="190"/>
                    </a:moveTo>
                    <a:lnTo>
                      <a:pt x="2686" y="190"/>
                    </a:lnTo>
                    <a:lnTo>
                      <a:pt x="2745" y="214"/>
                    </a:lnTo>
                    <a:lnTo>
                      <a:pt x="2793" y="249"/>
                    </a:lnTo>
                    <a:lnTo>
                      <a:pt x="2805" y="273"/>
                    </a:lnTo>
                    <a:lnTo>
                      <a:pt x="2817" y="321"/>
                    </a:lnTo>
                    <a:lnTo>
                      <a:pt x="2781" y="380"/>
                    </a:lnTo>
                    <a:lnTo>
                      <a:pt x="2722" y="440"/>
                    </a:lnTo>
                    <a:lnTo>
                      <a:pt x="2674" y="665"/>
                    </a:lnTo>
                    <a:lnTo>
                      <a:pt x="2662" y="760"/>
                    </a:lnTo>
                    <a:lnTo>
                      <a:pt x="2650" y="796"/>
                    </a:lnTo>
                    <a:lnTo>
                      <a:pt x="2638" y="820"/>
                    </a:lnTo>
                    <a:lnTo>
                      <a:pt x="2627" y="903"/>
                    </a:lnTo>
                    <a:lnTo>
                      <a:pt x="2638" y="962"/>
                    </a:lnTo>
                    <a:lnTo>
                      <a:pt x="2638" y="998"/>
                    </a:lnTo>
                    <a:lnTo>
                      <a:pt x="2603" y="1022"/>
                    </a:lnTo>
                    <a:lnTo>
                      <a:pt x="2555" y="1022"/>
                    </a:lnTo>
                    <a:lnTo>
                      <a:pt x="2532" y="1058"/>
                    </a:lnTo>
                    <a:lnTo>
                      <a:pt x="2496" y="1069"/>
                    </a:lnTo>
                    <a:lnTo>
                      <a:pt x="2484" y="1105"/>
                    </a:lnTo>
                    <a:lnTo>
                      <a:pt x="2532" y="1129"/>
                    </a:lnTo>
                    <a:lnTo>
                      <a:pt x="2543" y="1165"/>
                    </a:lnTo>
                    <a:lnTo>
                      <a:pt x="2532" y="1188"/>
                    </a:lnTo>
                    <a:lnTo>
                      <a:pt x="2496" y="1200"/>
                    </a:lnTo>
                    <a:lnTo>
                      <a:pt x="2460" y="1248"/>
                    </a:lnTo>
                    <a:lnTo>
                      <a:pt x="2413" y="1271"/>
                    </a:lnTo>
                    <a:lnTo>
                      <a:pt x="2341" y="1331"/>
                    </a:lnTo>
                    <a:lnTo>
                      <a:pt x="2282" y="1343"/>
                    </a:lnTo>
                    <a:lnTo>
                      <a:pt x="2258" y="1355"/>
                    </a:lnTo>
                    <a:lnTo>
                      <a:pt x="2258" y="1378"/>
                    </a:lnTo>
                    <a:lnTo>
                      <a:pt x="2270" y="1402"/>
                    </a:lnTo>
                    <a:lnTo>
                      <a:pt x="2294" y="1426"/>
                    </a:lnTo>
                    <a:lnTo>
                      <a:pt x="2318" y="1462"/>
                    </a:lnTo>
                    <a:lnTo>
                      <a:pt x="2306" y="1485"/>
                    </a:lnTo>
                    <a:lnTo>
                      <a:pt x="2306" y="1497"/>
                    </a:lnTo>
                    <a:lnTo>
                      <a:pt x="2282" y="1533"/>
                    </a:lnTo>
                    <a:lnTo>
                      <a:pt x="2258" y="1628"/>
                    </a:lnTo>
                    <a:lnTo>
                      <a:pt x="2211" y="1664"/>
                    </a:lnTo>
                    <a:lnTo>
                      <a:pt x="2163" y="1723"/>
                    </a:lnTo>
                    <a:lnTo>
                      <a:pt x="2092" y="1711"/>
                    </a:lnTo>
                    <a:lnTo>
                      <a:pt x="2032" y="1735"/>
                    </a:lnTo>
                    <a:lnTo>
                      <a:pt x="2009" y="1735"/>
                    </a:lnTo>
                    <a:lnTo>
                      <a:pt x="1961" y="1711"/>
                    </a:lnTo>
                    <a:lnTo>
                      <a:pt x="1961" y="1723"/>
                    </a:lnTo>
                    <a:lnTo>
                      <a:pt x="1973" y="1747"/>
                    </a:lnTo>
                    <a:lnTo>
                      <a:pt x="1973" y="1759"/>
                    </a:lnTo>
                    <a:lnTo>
                      <a:pt x="1949" y="1782"/>
                    </a:lnTo>
                    <a:lnTo>
                      <a:pt x="1866" y="1782"/>
                    </a:lnTo>
                    <a:lnTo>
                      <a:pt x="1854" y="1794"/>
                    </a:lnTo>
                    <a:lnTo>
                      <a:pt x="1866" y="1830"/>
                    </a:lnTo>
                    <a:lnTo>
                      <a:pt x="1854" y="1842"/>
                    </a:lnTo>
                    <a:lnTo>
                      <a:pt x="1795" y="1830"/>
                    </a:lnTo>
                    <a:lnTo>
                      <a:pt x="1771" y="1842"/>
                    </a:lnTo>
                    <a:lnTo>
                      <a:pt x="1735" y="1842"/>
                    </a:lnTo>
                    <a:lnTo>
                      <a:pt x="1700" y="1782"/>
                    </a:lnTo>
                    <a:lnTo>
                      <a:pt x="1664" y="1771"/>
                    </a:lnTo>
                    <a:lnTo>
                      <a:pt x="1652" y="1771"/>
                    </a:lnTo>
                    <a:lnTo>
                      <a:pt x="1628" y="1806"/>
                    </a:lnTo>
                    <a:lnTo>
                      <a:pt x="1605" y="1806"/>
                    </a:lnTo>
                    <a:lnTo>
                      <a:pt x="1640" y="1842"/>
                    </a:lnTo>
                    <a:lnTo>
                      <a:pt x="1640" y="1854"/>
                    </a:lnTo>
                    <a:lnTo>
                      <a:pt x="1628" y="1866"/>
                    </a:lnTo>
                    <a:lnTo>
                      <a:pt x="1581" y="1866"/>
                    </a:lnTo>
                    <a:lnTo>
                      <a:pt x="1498" y="1842"/>
                    </a:lnTo>
                    <a:lnTo>
                      <a:pt x="1474" y="1830"/>
                    </a:lnTo>
                    <a:lnTo>
                      <a:pt x="1474" y="1806"/>
                    </a:lnTo>
                    <a:lnTo>
                      <a:pt x="1462" y="1806"/>
                    </a:lnTo>
                    <a:lnTo>
                      <a:pt x="1438" y="1830"/>
                    </a:lnTo>
                    <a:lnTo>
                      <a:pt x="1426" y="1878"/>
                    </a:lnTo>
                    <a:lnTo>
                      <a:pt x="1403" y="1901"/>
                    </a:lnTo>
                    <a:lnTo>
                      <a:pt x="1379" y="1949"/>
                    </a:lnTo>
                    <a:lnTo>
                      <a:pt x="1331" y="1949"/>
                    </a:lnTo>
                    <a:lnTo>
                      <a:pt x="1260" y="2008"/>
                    </a:lnTo>
                    <a:lnTo>
                      <a:pt x="1224" y="2020"/>
                    </a:lnTo>
                    <a:lnTo>
                      <a:pt x="1212" y="2008"/>
                    </a:lnTo>
                    <a:lnTo>
                      <a:pt x="1189" y="1949"/>
                    </a:lnTo>
                    <a:lnTo>
                      <a:pt x="1177" y="1925"/>
                    </a:lnTo>
                    <a:lnTo>
                      <a:pt x="1153" y="1925"/>
                    </a:lnTo>
                    <a:lnTo>
                      <a:pt x="1141" y="1949"/>
                    </a:lnTo>
                    <a:lnTo>
                      <a:pt x="1165" y="1985"/>
                    </a:lnTo>
                    <a:lnTo>
                      <a:pt x="1165" y="2008"/>
                    </a:lnTo>
                    <a:lnTo>
                      <a:pt x="1129" y="2044"/>
                    </a:lnTo>
                    <a:lnTo>
                      <a:pt x="1117" y="2044"/>
                    </a:lnTo>
                    <a:lnTo>
                      <a:pt x="1082" y="2044"/>
                    </a:lnTo>
                    <a:lnTo>
                      <a:pt x="1010" y="2020"/>
                    </a:lnTo>
                    <a:lnTo>
                      <a:pt x="915" y="2008"/>
                    </a:lnTo>
                    <a:lnTo>
                      <a:pt x="844" y="1996"/>
                    </a:lnTo>
                    <a:lnTo>
                      <a:pt x="820" y="1973"/>
                    </a:lnTo>
                    <a:lnTo>
                      <a:pt x="820" y="1913"/>
                    </a:lnTo>
                    <a:lnTo>
                      <a:pt x="808" y="1901"/>
                    </a:lnTo>
                    <a:lnTo>
                      <a:pt x="785" y="1901"/>
                    </a:lnTo>
                    <a:lnTo>
                      <a:pt x="749" y="1961"/>
                    </a:lnTo>
                    <a:lnTo>
                      <a:pt x="725" y="1985"/>
                    </a:lnTo>
                    <a:lnTo>
                      <a:pt x="690" y="2008"/>
                    </a:lnTo>
                    <a:lnTo>
                      <a:pt x="630" y="2008"/>
                    </a:lnTo>
                    <a:lnTo>
                      <a:pt x="571" y="1985"/>
                    </a:lnTo>
                    <a:lnTo>
                      <a:pt x="535" y="1913"/>
                    </a:lnTo>
                    <a:lnTo>
                      <a:pt x="523" y="1925"/>
                    </a:lnTo>
                    <a:lnTo>
                      <a:pt x="499" y="1996"/>
                    </a:lnTo>
                    <a:lnTo>
                      <a:pt x="440" y="2008"/>
                    </a:lnTo>
                    <a:lnTo>
                      <a:pt x="428" y="2008"/>
                    </a:lnTo>
                    <a:lnTo>
                      <a:pt x="345" y="1996"/>
                    </a:lnTo>
                    <a:lnTo>
                      <a:pt x="321" y="1973"/>
                    </a:lnTo>
                    <a:lnTo>
                      <a:pt x="274" y="1878"/>
                    </a:lnTo>
                    <a:lnTo>
                      <a:pt x="226" y="1866"/>
                    </a:lnTo>
                    <a:lnTo>
                      <a:pt x="155" y="1759"/>
                    </a:lnTo>
                    <a:lnTo>
                      <a:pt x="179" y="1747"/>
                    </a:lnTo>
                    <a:lnTo>
                      <a:pt x="214" y="1652"/>
                    </a:lnTo>
                    <a:lnTo>
                      <a:pt x="274" y="1616"/>
                    </a:lnTo>
                    <a:lnTo>
                      <a:pt x="309" y="1545"/>
                    </a:lnTo>
                    <a:lnTo>
                      <a:pt x="357" y="1521"/>
                    </a:lnTo>
                    <a:lnTo>
                      <a:pt x="416" y="1521"/>
                    </a:lnTo>
                    <a:lnTo>
                      <a:pt x="428" y="1497"/>
                    </a:lnTo>
                    <a:lnTo>
                      <a:pt x="428" y="1462"/>
                    </a:lnTo>
                    <a:lnTo>
                      <a:pt x="404" y="1426"/>
                    </a:lnTo>
                    <a:lnTo>
                      <a:pt x="357" y="1378"/>
                    </a:lnTo>
                    <a:lnTo>
                      <a:pt x="297" y="1319"/>
                    </a:lnTo>
                    <a:lnTo>
                      <a:pt x="274" y="1295"/>
                    </a:lnTo>
                    <a:lnTo>
                      <a:pt x="226" y="1307"/>
                    </a:lnTo>
                    <a:lnTo>
                      <a:pt x="190" y="1283"/>
                    </a:lnTo>
                    <a:lnTo>
                      <a:pt x="131" y="1236"/>
                    </a:lnTo>
                    <a:lnTo>
                      <a:pt x="119" y="1224"/>
                    </a:lnTo>
                    <a:lnTo>
                      <a:pt x="119" y="1212"/>
                    </a:lnTo>
                    <a:lnTo>
                      <a:pt x="190" y="1200"/>
                    </a:lnTo>
                    <a:lnTo>
                      <a:pt x="238" y="1153"/>
                    </a:lnTo>
                    <a:lnTo>
                      <a:pt x="262" y="1141"/>
                    </a:lnTo>
                    <a:lnTo>
                      <a:pt x="333" y="1141"/>
                    </a:lnTo>
                    <a:lnTo>
                      <a:pt x="381" y="1081"/>
                    </a:lnTo>
                    <a:lnTo>
                      <a:pt x="440" y="1081"/>
                    </a:lnTo>
                    <a:lnTo>
                      <a:pt x="488" y="1058"/>
                    </a:lnTo>
                    <a:lnTo>
                      <a:pt x="499" y="1046"/>
                    </a:lnTo>
                    <a:lnTo>
                      <a:pt x="488" y="1034"/>
                    </a:lnTo>
                    <a:lnTo>
                      <a:pt x="452" y="1046"/>
                    </a:lnTo>
                    <a:lnTo>
                      <a:pt x="440" y="1034"/>
                    </a:lnTo>
                    <a:lnTo>
                      <a:pt x="404" y="903"/>
                    </a:lnTo>
                    <a:lnTo>
                      <a:pt x="428" y="796"/>
                    </a:lnTo>
                    <a:lnTo>
                      <a:pt x="464" y="784"/>
                    </a:lnTo>
                    <a:lnTo>
                      <a:pt x="464" y="749"/>
                    </a:lnTo>
                    <a:lnTo>
                      <a:pt x="488" y="725"/>
                    </a:lnTo>
                    <a:lnTo>
                      <a:pt x="547" y="689"/>
                    </a:lnTo>
                    <a:lnTo>
                      <a:pt x="571" y="665"/>
                    </a:lnTo>
                    <a:lnTo>
                      <a:pt x="583" y="665"/>
                    </a:lnTo>
                    <a:lnTo>
                      <a:pt x="630" y="713"/>
                    </a:lnTo>
                    <a:lnTo>
                      <a:pt x="678" y="725"/>
                    </a:lnTo>
                    <a:lnTo>
                      <a:pt x="701" y="760"/>
                    </a:lnTo>
                    <a:lnTo>
                      <a:pt x="690" y="856"/>
                    </a:lnTo>
                    <a:lnTo>
                      <a:pt x="701" y="951"/>
                    </a:lnTo>
                    <a:lnTo>
                      <a:pt x="701" y="974"/>
                    </a:lnTo>
                    <a:lnTo>
                      <a:pt x="725" y="1010"/>
                    </a:lnTo>
                    <a:lnTo>
                      <a:pt x="773" y="1046"/>
                    </a:lnTo>
                    <a:lnTo>
                      <a:pt x="832" y="1069"/>
                    </a:lnTo>
                    <a:lnTo>
                      <a:pt x="892" y="1069"/>
                    </a:lnTo>
                    <a:lnTo>
                      <a:pt x="868" y="1046"/>
                    </a:lnTo>
                    <a:lnTo>
                      <a:pt x="773" y="974"/>
                    </a:lnTo>
                    <a:lnTo>
                      <a:pt x="725" y="927"/>
                    </a:lnTo>
                    <a:lnTo>
                      <a:pt x="725" y="903"/>
                    </a:lnTo>
                    <a:lnTo>
                      <a:pt x="713" y="844"/>
                    </a:lnTo>
                    <a:lnTo>
                      <a:pt x="725" y="749"/>
                    </a:lnTo>
                    <a:lnTo>
                      <a:pt x="713" y="725"/>
                    </a:lnTo>
                    <a:lnTo>
                      <a:pt x="678" y="701"/>
                    </a:lnTo>
                    <a:lnTo>
                      <a:pt x="642" y="677"/>
                    </a:lnTo>
                    <a:lnTo>
                      <a:pt x="571" y="630"/>
                    </a:lnTo>
                    <a:lnTo>
                      <a:pt x="559" y="630"/>
                    </a:lnTo>
                    <a:lnTo>
                      <a:pt x="523" y="689"/>
                    </a:lnTo>
                    <a:lnTo>
                      <a:pt x="476" y="689"/>
                    </a:lnTo>
                    <a:lnTo>
                      <a:pt x="440" y="701"/>
                    </a:lnTo>
                    <a:lnTo>
                      <a:pt x="416" y="784"/>
                    </a:lnTo>
                    <a:lnTo>
                      <a:pt x="392" y="820"/>
                    </a:lnTo>
                    <a:lnTo>
                      <a:pt x="333" y="832"/>
                    </a:lnTo>
                    <a:lnTo>
                      <a:pt x="309" y="808"/>
                    </a:lnTo>
                    <a:lnTo>
                      <a:pt x="321" y="772"/>
                    </a:lnTo>
                    <a:lnTo>
                      <a:pt x="250" y="713"/>
                    </a:lnTo>
                    <a:lnTo>
                      <a:pt x="250" y="701"/>
                    </a:lnTo>
                    <a:lnTo>
                      <a:pt x="274" y="689"/>
                    </a:lnTo>
                    <a:lnTo>
                      <a:pt x="285" y="654"/>
                    </a:lnTo>
                    <a:lnTo>
                      <a:pt x="226" y="689"/>
                    </a:lnTo>
                    <a:lnTo>
                      <a:pt x="155" y="665"/>
                    </a:lnTo>
                    <a:lnTo>
                      <a:pt x="107" y="665"/>
                    </a:lnTo>
                    <a:lnTo>
                      <a:pt x="72" y="654"/>
                    </a:lnTo>
                    <a:lnTo>
                      <a:pt x="48" y="618"/>
                    </a:lnTo>
                    <a:lnTo>
                      <a:pt x="0" y="499"/>
                    </a:lnTo>
                    <a:lnTo>
                      <a:pt x="0" y="451"/>
                    </a:lnTo>
                    <a:lnTo>
                      <a:pt x="24" y="451"/>
                    </a:lnTo>
                    <a:lnTo>
                      <a:pt x="83" y="511"/>
                    </a:lnTo>
                    <a:lnTo>
                      <a:pt x="107" y="582"/>
                    </a:lnTo>
                    <a:lnTo>
                      <a:pt x="143" y="582"/>
                    </a:lnTo>
                    <a:lnTo>
                      <a:pt x="190" y="618"/>
                    </a:lnTo>
                    <a:lnTo>
                      <a:pt x="202" y="618"/>
                    </a:lnTo>
                    <a:lnTo>
                      <a:pt x="238" y="606"/>
                    </a:lnTo>
                    <a:lnTo>
                      <a:pt x="238" y="582"/>
                    </a:lnTo>
                    <a:lnTo>
                      <a:pt x="262" y="570"/>
                    </a:lnTo>
                    <a:lnTo>
                      <a:pt x="309" y="570"/>
                    </a:lnTo>
                    <a:lnTo>
                      <a:pt x="369" y="535"/>
                    </a:lnTo>
                    <a:lnTo>
                      <a:pt x="416" y="535"/>
                    </a:lnTo>
                    <a:lnTo>
                      <a:pt x="464" y="487"/>
                    </a:lnTo>
                    <a:lnTo>
                      <a:pt x="488" y="428"/>
                    </a:lnTo>
                    <a:lnTo>
                      <a:pt x="476" y="345"/>
                    </a:lnTo>
                    <a:lnTo>
                      <a:pt x="452" y="285"/>
                    </a:lnTo>
                    <a:lnTo>
                      <a:pt x="404" y="249"/>
                    </a:lnTo>
                    <a:lnTo>
                      <a:pt x="404" y="214"/>
                    </a:lnTo>
                    <a:lnTo>
                      <a:pt x="428" y="131"/>
                    </a:lnTo>
                    <a:lnTo>
                      <a:pt x="416" y="83"/>
                    </a:lnTo>
                    <a:lnTo>
                      <a:pt x="464" y="0"/>
                    </a:lnTo>
                    <a:lnTo>
                      <a:pt x="476" y="12"/>
                    </a:lnTo>
                    <a:lnTo>
                      <a:pt x="488" y="36"/>
                    </a:lnTo>
                    <a:lnTo>
                      <a:pt x="499" y="47"/>
                    </a:lnTo>
                    <a:lnTo>
                      <a:pt x="523" y="36"/>
                    </a:lnTo>
                    <a:lnTo>
                      <a:pt x="630" y="47"/>
                    </a:lnTo>
                    <a:lnTo>
                      <a:pt x="844" y="107"/>
                    </a:lnTo>
                    <a:lnTo>
                      <a:pt x="1034" y="131"/>
                    </a:lnTo>
                    <a:lnTo>
                      <a:pt x="1105" y="143"/>
                    </a:lnTo>
                    <a:lnTo>
                      <a:pt x="1248" y="214"/>
                    </a:lnTo>
                    <a:lnTo>
                      <a:pt x="1510" y="166"/>
                    </a:lnTo>
                    <a:lnTo>
                      <a:pt x="1569" y="190"/>
                    </a:lnTo>
                    <a:lnTo>
                      <a:pt x="1628" y="131"/>
                    </a:lnTo>
                    <a:lnTo>
                      <a:pt x="1676" y="107"/>
                    </a:lnTo>
                    <a:lnTo>
                      <a:pt x="1807" y="83"/>
                    </a:lnTo>
                    <a:lnTo>
                      <a:pt x="1842" y="83"/>
                    </a:lnTo>
                    <a:lnTo>
                      <a:pt x="1925" y="107"/>
                    </a:lnTo>
                    <a:lnTo>
                      <a:pt x="2056" y="107"/>
                    </a:lnTo>
                    <a:lnTo>
                      <a:pt x="2092" y="131"/>
                    </a:lnTo>
                    <a:lnTo>
                      <a:pt x="2127" y="166"/>
                    </a:lnTo>
                    <a:lnTo>
                      <a:pt x="2175" y="178"/>
                    </a:lnTo>
                    <a:lnTo>
                      <a:pt x="2282" y="154"/>
                    </a:lnTo>
                    <a:lnTo>
                      <a:pt x="2306" y="166"/>
                    </a:lnTo>
                    <a:lnTo>
                      <a:pt x="2353" y="190"/>
                    </a:lnTo>
                    <a:lnTo>
                      <a:pt x="2413" y="214"/>
                    </a:lnTo>
                    <a:lnTo>
                      <a:pt x="2448" y="226"/>
                    </a:lnTo>
                    <a:lnTo>
                      <a:pt x="2520" y="19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09" name="Freeform 461"/>
              <p:cNvSpPr>
                <a:spLocks/>
              </p:cNvSpPr>
              <p:nvPr/>
            </p:nvSpPr>
            <p:spPr bwMode="auto">
              <a:xfrm>
                <a:off x="9669462" y="-22539325"/>
                <a:ext cx="1377950" cy="1755775"/>
              </a:xfrm>
              <a:custGeom>
                <a:avLst/>
                <a:gdLst/>
                <a:ahLst/>
                <a:cxnLst>
                  <a:cxn ang="0">
                    <a:pos x="868" y="226"/>
                  </a:cxn>
                  <a:cxn ang="0">
                    <a:pos x="820" y="381"/>
                  </a:cxn>
                  <a:cxn ang="0">
                    <a:pos x="809" y="428"/>
                  </a:cxn>
                  <a:cxn ang="0">
                    <a:pos x="809" y="523"/>
                  </a:cxn>
                  <a:cxn ang="0">
                    <a:pos x="797" y="547"/>
                  </a:cxn>
                  <a:cxn ang="0">
                    <a:pos x="773" y="559"/>
                  </a:cxn>
                  <a:cxn ang="0">
                    <a:pos x="725" y="547"/>
                  </a:cxn>
                  <a:cxn ang="0">
                    <a:pos x="690" y="583"/>
                  </a:cxn>
                  <a:cxn ang="0">
                    <a:pos x="654" y="666"/>
                  </a:cxn>
                  <a:cxn ang="0">
                    <a:pos x="607" y="737"/>
                  </a:cxn>
                  <a:cxn ang="0">
                    <a:pos x="607" y="773"/>
                  </a:cxn>
                  <a:cxn ang="0">
                    <a:pos x="583" y="797"/>
                  </a:cxn>
                  <a:cxn ang="0">
                    <a:pos x="464" y="868"/>
                  </a:cxn>
                  <a:cxn ang="0">
                    <a:pos x="405" y="915"/>
                  </a:cxn>
                  <a:cxn ang="0">
                    <a:pos x="381" y="939"/>
                  </a:cxn>
                  <a:cxn ang="0">
                    <a:pos x="298" y="927"/>
                  </a:cxn>
                  <a:cxn ang="0">
                    <a:pos x="238" y="927"/>
                  </a:cxn>
                  <a:cxn ang="0">
                    <a:pos x="107" y="1022"/>
                  </a:cxn>
                  <a:cxn ang="0">
                    <a:pos x="72" y="1034"/>
                  </a:cxn>
                  <a:cxn ang="0">
                    <a:pos x="72" y="1046"/>
                  </a:cxn>
                  <a:cxn ang="0">
                    <a:pos x="96" y="1058"/>
                  </a:cxn>
                  <a:cxn ang="0">
                    <a:pos x="191" y="1011"/>
                  </a:cxn>
                  <a:cxn ang="0">
                    <a:pos x="238" y="963"/>
                  </a:cxn>
                  <a:cxn ang="0">
                    <a:pos x="274" y="951"/>
                  </a:cxn>
                  <a:cxn ang="0">
                    <a:pos x="309" y="951"/>
                  </a:cxn>
                  <a:cxn ang="0">
                    <a:pos x="321" y="963"/>
                  </a:cxn>
                  <a:cxn ang="0">
                    <a:pos x="309" y="987"/>
                  </a:cxn>
                  <a:cxn ang="0">
                    <a:pos x="262" y="1011"/>
                  </a:cxn>
                  <a:cxn ang="0">
                    <a:pos x="179" y="1082"/>
                  </a:cxn>
                  <a:cxn ang="0">
                    <a:pos x="107" y="1106"/>
                  </a:cxn>
                  <a:cxn ang="0">
                    <a:pos x="48" y="1106"/>
                  </a:cxn>
                  <a:cxn ang="0">
                    <a:pos x="24" y="1106"/>
                  </a:cxn>
                  <a:cxn ang="0">
                    <a:pos x="0" y="1070"/>
                  </a:cxn>
                  <a:cxn ang="0">
                    <a:pos x="0" y="1034"/>
                  </a:cxn>
                  <a:cxn ang="0">
                    <a:pos x="48" y="939"/>
                  </a:cxn>
                  <a:cxn ang="0">
                    <a:pos x="60" y="868"/>
                  </a:cxn>
                  <a:cxn ang="0">
                    <a:pos x="72" y="844"/>
                  </a:cxn>
                  <a:cxn ang="0">
                    <a:pos x="96" y="820"/>
                  </a:cxn>
                  <a:cxn ang="0">
                    <a:pos x="143" y="797"/>
                  </a:cxn>
                  <a:cxn ang="0">
                    <a:pos x="202" y="725"/>
                  </a:cxn>
                  <a:cxn ang="0">
                    <a:pos x="309" y="678"/>
                  </a:cxn>
                  <a:cxn ang="0">
                    <a:pos x="333" y="654"/>
                  </a:cxn>
                  <a:cxn ang="0">
                    <a:pos x="345" y="607"/>
                  </a:cxn>
                  <a:cxn ang="0">
                    <a:pos x="298" y="523"/>
                  </a:cxn>
                  <a:cxn ang="0">
                    <a:pos x="298" y="476"/>
                  </a:cxn>
                  <a:cxn ang="0">
                    <a:pos x="298" y="404"/>
                  </a:cxn>
                  <a:cxn ang="0">
                    <a:pos x="333" y="345"/>
                  </a:cxn>
                  <a:cxn ang="0">
                    <a:pos x="405" y="214"/>
                  </a:cxn>
                  <a:cxn ang="0">
                    <a:pos x="428" y="143"/>
                  </a:cxn>
                  <a:cxn ang="0">
                    <a:pos x="440" y="119"/>
                  </a:cxn>
                  <a:cxn ang="0">
                    <a:pos x="607" y="12"/>
                  </a:cxn>
                  <a:cxn ang="0">
                    <a:pos x="666" y="0"/>
                  </a:cxn>
                  <a:cxn ang="0">
                    <a:pos x="678" y="0"/>
                  </a:cxn>
                  <a:cxn ang="0">
                    <a:pos x="690" y="12"/>
                  </a:cxn>
                  <a:cxn ang="0">
                    <a:pos x="690" y="36"/>
                  </a:cxn>
                  <a:cxn ang="0">
                    <a:pos x="690" y="48"/>
                  </a:cxn>
                  <a:cxn ang="0">
                    <a:pos x="713" y="60"/>
                  </a:cxn>
                  <a:cxn ang="0">
                    <a:pos x="737" y="107"/>
                  </a:cxn>
                  <a:cxn ang="0">
                    <a:pos x="773" y="131"/>
                  </a:cxn>
                  <a:cxn ang="0">
                    <a:pos x="820" y="167"/>
                  </a:cxn>
                  <a:cxn ang="0">
                    <a:pos x="820" y="191"/>
                  </a:cxn>
                  <a:cxn ang="0">
                    <a:pos x="868" y="202"/>
                  </a:cxn>
                  <a:cxn ang="0">
                    <a:pos x="868" y="226"/>
                  </a:cxn>
                </a:cxnLst>
                <a:rect l="0" t="0" r="r" b="b"/>
                <a:pathLst>
                  <a:path w="868" h="1106">
                    <a:moveTo>
                      <a:pt x="868" y="226"/>
                    </a:moveTo>
                    <a:lnTo>
                      <a:pt x="820" y="381"/>
                    </a:lnTo>
                    <a:lnTo>
                      <a:pt x="809" y="428"/>
                    </a:lnTo>
                    <a:lnTo>
                      <a:pt x="809" y="523"/>
                    </a:lnTo>
                    <a:lnTo>
                      <a:pt x="797" y="547"/>
                    </a:lnTo>
                    <a:lnTo>
                      <a:pt x="773" y="559"/>
                    </a:lnTo>
                    <a:lnTo>
                      <a:pt x="725" y="547"/>
                    </a:lnTo>
                    <a:lnTo>
                      <a:pt x="690" y="583"/>
                    </a:lnTo>
                    <a:lnTo>
                      <a:pt x="654" y="666"/>
                    </a:lnTo>
                    <a:lnTo>
                      <a:pt x="607" y="737"/>
                    </a:lnTo>
                    <a:lnTo>
                      <a:pt x="607" y="773"/>
                    </a:lnTo>
                    <a:lnTo>
                      <a:pt x="583" y="797"/>
                    </a:lnTo>
                    <a:lnTo>
                      <a:pt x="464" y="868"/>
                    </a:lnTo>
                    <a:lnTo>
                      <a:pt x="405" y="915"/>
                    </a:lnTo>
                    <a:lnTo>
                      <a:pt x="381" y="939"/>
                    </a:lnTo>
                    <a:lnTo>
                      <a:pt x="298" y="927"/>
                    </a:lnTo>
                    <a:lnTo>
                      <a:pt x="238" y="927"/>
                    </a:lnTo>
                    <a:lnTo>
                      <a:pt x="107" y="1022"/>
                    </a:lnTo>
                    <a:lnTo>
                      <a:pt x="72" y="1034"/>
                    </a:lnTo>
                    <a:lnTo>
                      <a:pt x="72" y="1046"/>
                    </a:lnTo>
                    <a:lnTo>
                      <a:pt x="96" y="1058"/>
                    </a:lnTo>
                    <a:lnTo>
                      <a:pt x="191" y="1011"/>
                    </a:lnTo>
                    <a:lnTo>
                      <a:pt x="238" y="963"/>
                    </a:lnTo>
                    <a:lnTo>
                      <a:pt x="274" y="951"/>
                    </a:lnTo>
                    <a:lnTo>
                      <a:pt x="309" y="951"/>
                    </a:lnTo>
                    <a:lnTo>
                      <a:pt x="321" y="963"/>
                    </a:lnTo>
                    <a:lnTo>
                      <a:pt x="309" y="987"/>
                    </a:lnTo>
                    <a:lnTo>
                      <a:pt x="262" y="1011"/>
                    </a:lnTo>
                    <a:lnTo>
                      <a:pt x="179" y="1082"/>
                    </a:lnTo>
                    <a:lnTo>
                      <a:pt x="107" y="1106"/>
                    </a:lnTo>
                    <a:lnTo>
                      <a:pt x="48" y="1106"/>
                    </a:lnTo>
                    <a:lnTo>
                      <a:pt x="24" y="1106"/>
                    </a:lnTo>
                    <a:lnTo>
                      <a:pt x="0" y="1070"/>
                    </a:lnTo>
                    <a:lnTo>
                      <a:pt x="0" y="1034"/>
                    </a:lnTo>
                    <a:lnTo>
                      <a:pt x="48" y="939"/>
                    </a:lnTo>
                    <a:lnTo>
                      <a:pt x="60" y="868"/>
                    </a:lnTo>
                    <a:lnTo>
                      <a:pt x="72" y="844"/>
                    </a:lnTo>
                    <a:lnTo>
                      <a:pt x="96" y="820"/>
                    </a:lnTo>
                    <a:lnTo>
                      <a:pt x="143" y="797"/>
                    </a:lnTo>
                    <a:lnTo>
                      <a:pt x="202" y="725"/>
                    </a:lnTo>
                    <a:lnTo>
                      <a:pt x="309" y="678"/>
                    </a:lnTo>
                    <a:lnTo>
                      <a:pt x="333" y="654"/>
                    </a:lnTo>
                    <a:lnTo>
                      <a:pt x="345" y="607"/>
                    </a:lnTo>
                    <a:lnTo>
                      <a:pt x="298" y="523"/>
                    </a:lnTo>
                    <a:lnTo>
                      <a:pt x="298" y="476"/>
                    </a:lnTo>
                    <a:lnTo>
                      <a:pt x="298" y="404"/>
                    </a:lnTo>
                    <a:lnTo>
                      <a:pt x="333" y="345"/>
                    </a:lnTo>
                    <a:lnTo>
                      <a:pt x="405" y="214"/>
                    </a:lnTo>
                    <a:lnTo>
                      <a:pt x="428" y="143"/>
                    </a:lnTo>
                    <a:lnTo>
                      <a:pt x="440" y="119"/>
                    </a:lnTo>
                    <a:lnTo>
                      <a:pt x="607" y="12"/>
                    </a:lnTo>
                    <a:lnTo>
                      <a:pt x="666" y="0"/>
                    </a:lnTo>
                    <a:lnTo>
                      <a:pt x="678" y="0"/>
                    </a:lnTo>
                    <a:lnTo>
                      <a:pt x="690" y="12"/>
                    </a:lnTo>
                    <a:lnTo>
                      <a:pt x="690" y="36"/>
                    </a:lnTo>
                    <a:lnTo>
                      <a:pt x="690" y="48"/>
                    </a:lnTo>
                    <a:lnTo>
                      <a:pt x="713" y="60"/>
                    </a:lnTo>
                    <a:lnTo>
                      <a:pt x="737" y="107"/>
                    </a:lnTo>
                    <a:lnTo>
                      <a:pt x="773" y="131"/>
                    </a:lnTo>
                    <a:lnTo>
                      <a:pt x="820" y="167"/>
                    </a:lnTo>
                    <a:lnTo>
                      <a:pt x="820" y="191"/>
                    </a:lnTo>
                    <a:lnTo>
                      <a:pt x="868" y="202"/>
                    </a:lnTo>
                    <a:lnTo>
                      <a:pt x="868" y="22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110" name="Freeform 463"/>
              <p:cNvSpPr>
                <a:spLocks/>
              </p:cNvSpPr>
              <p:nvPr/>
            </p:nvSpPr>
            <p:spPr bwMode="auto">
              <a:xfrm>
                <a:off x="10820400" y="-22594888"/>
                <a:ext cx="320675" cy="339725"/>
              </a:xfrm>
              <a:custGeom>
                <a:avLst/>
                <a:gdLst/>
                <a:ahLst/>
                <a:cxnLst>
                  <a:cxn ang="0">
                    <a:pos x="95" y="12"/>
                  </a:cxn>
                  <a:cxn ang="0">
                    <a:pos x="119" y="83"/>
                  </a:cxn>
                  <a:cxn ang="0">
                    <a:pos x="155" y="119"/>
                  </a:cxn>
                  <a:cxn ang="0">
                    <a:pos x="191" y="131"/>
                  </a:cxn>
                  <a:cxn ang="0">
                    <a:pos x="202" y="178"/>
                  </a:cxn>
                  <a:cxn ang="0">
                    <a:pos x="191" y="202"/>
                  </a:cxn>
                  <a:cxn ang="0">
                    <a:pos x="167" y="214"/>
                  </a:cxn>
                  <a:cxn ang="0">
                    <a:pos x="131" y="202"/>
                  </a:cxn>
                  <a:cxn ang="0">
                    <a:pos x="119" y="202"/>
                  </a:cxn>
                  <a:cxn ang="0">
                    <a:pos x="48" y="131"/>
                  </a:cxn>
                  <a:cxn ang="0">
                    <a:pos x="36" y="71"/>
                  </a:cxn>
                  <a:cxn ang="0">
                    <a:pos x="0" y="35"/>
                  </a:cxn>
                  <a:cxn ang="0">
                    <a:pos x="0" y="24"/>
                  </a:cxn>
                  <a:cxn ang="0">
                    <a:pos x="0" y="12"/>
                  </a:cxn>
                  <a:cxn ang="0">
                    <a:pos x="36" y="0"/>
                  </a:cxn>
                  <a:cxn ang="0">
                    <a:pos x="95" y="12"/>
                  </a:cxn>
                </a:cxnLst>
                <a:rect l="0" t="0" r="r" b="b"/>
                <a:pathLst>
                  <a:path w="202" h="214">
                    <a:moveTo>
                      <a:pt x="95" y="12"/>
                    </a:moveTo>
                    <a:lnTo>
                      <a:pt x="119" y="83"/>
                    </a:lnTo>
                    <a:lnTo>
                      <a:pt x="155" y="119"/>
                    </a:lnTo>
                    <a:lnTo>
                      <a:pt x="191" y="131"/>
                    </a:lnTo>
                    <a:lnTo>
                      <a:pt x="202" y="178"/>
                    </a:lnTo>
                    <a:lnTo>
                      <a:pt x="191" y="202"/>
                    </a:lnTo>
                    <a:lnTo>
                      <a:pt x="167" y="214"/>
                    </a:lnTo>
                    <a:lnTo>
                      <a:pt x="131" y="202"/>
                    </a:lnTo>
                    <a:lnTo>
                      <a:pt x="119" y="202"/>
                    </a:lnTo>
                    <a:lnTo>
                      <a:pt x="48" y="131"/>
                    </a:lnTo>
                    <a:lnTo>
                      <a:pt x="36" y="71"/>
                    </a:lnTo>
                    <a:lnTo>
                      <a:pt x="0" y="35"/>
                    </a:lnTo>
                    <a:lnTo>
                      <a:pt x="0" y="24"/>
                    </a:lnTo>
                    <a:lnTo>
                      <a:pt x="0" y="12"/>
                    </a:lnTo>
                    <a:lnTo>
                      <a:pt x="36" y="0"/>
                    </a:lnTo>
                    <a:lnTo>
                      <a:pt x="95" y="1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</p:grpSp>
        <p:grpSp>
          <p:nvGrpSpPr>
            <p:cNvPr id="34" name="Group 649"/>
            <p:cNvGrpSpPr/>
            <p:nvPr/>
          </p:nvGrpSpPr>
          <p:grpSpPr>
            <a:xfrm>
              <a:off x="4067175" y="-31970663"/>
              <a:ext cx="9490075" cy="10715625"/>
              <a:chOff x="4067175" y="-31970663"/>
              <a:chExt cx="9490075" cy="10715625"/>
            </a:xfrm>
            <a:grpFill/>
          </p:grpSpPr>
          <p:sp>
            <p:nvSpPr>
              <p:cNvPr id="58" name="Freeform 294"/>
              <p:cNvSpPr>
                <a:spLocks/>
              </p:cNvSpPr>
              <p:nvPr/>
            </p:nvSpPr>
            <p:spPr bwMode="auto">
              <a:xfrm>
                <a:off x="4067175" y="-31970663"/>
                <a:ext cx="9490075" cy="10715625"/>
              </a:xfrm>
              <a:custGeom>
                <a:avLst/>
                <a:gdLst/>
                <a:ahLst/>
                <a:cxnLst>
                  <a:cxn ang="0">
                    <a:pos x="202" y="2388"/>
                  </a:cxn>
                  <a:cxn ang="0">
                    <a:pos x="380" y="2531"/>
                  </a:cxn>
                  <a:cxn ang="0">
                    <a:pos x="654" y="2745"/>
                  </a:cxn>
                  <a:cxn ang="0">
                    <a:pos x="939" y="2685"/>
                  </a:cxn>
                  <a:cxn ang="0">
                    <a:pos x="1260" y="2507"/>
                  </a:cxn>
                  <a:cxn ang="0">
                    <a:pos x="1771" y="2543"/>
                  </a:cxn>
                  <a:cxn ang="0">
                    <a:pos x="2353" y="2685"/>
                  </a:cxn>
                  <a:cxn ang="0">
                    <a:pos x="2698" y="2353"/>
                  </a:cxn>
                  <a:cxn ang="0">
                    <a:pos x="2840" y="2020"/>
                  </a:cxn>
                  <a:cxn ang="0">
                    <a:pos x="3018" y="1580"/>
                  </a:cxn>
                  <a:cxn ang="0">
                    <a:pos x="3185" y="1426"/>
                  </a:cxn>
                  <a:cxn ang="0">
                    <a:pos x="3636" y="724"/>
                  </a:cxn>
                  <a:cxn ang="0">
                    <a:pos x="3945" y="273"/>
                  </a:cxn>
                  <a:cxn ang="0">
                    <a:pos x="3993" y="0"/>
                  </a:cxn>
                  <a:cxn ang="0">
                    <a:pos x="4373" y="368"/>
                  </a:cxn>
                  <a:cxn ang="0">
                    <a:pos x="4433" y="938"/>
                  </a:cxn>
                  <a:cxn ang="0">
                    <a:pos x="4540" y="926"/>
                  </a:cxn>
                  <a:cxn ang="0">
                    <a:pos x="4682" y="1723"/>
                  </a:cxn>
                  <a:cxn ang="0">
                    <a:pos x="4837" y="2222"/>
                  </a:cxn>
                  <a:cxn ang="0">
                    <a:pos x="4944" y="2745"/>
                  </a:cxn>
                  <a:cxn ang="0">
                    <a:pos x="5098" y="2792"/>
                  </a:cxn>
                  <a:cxn ang="0">
                    <a:pos x="5360" y="3113"/>
                  </a:cxn>
                  <a:cxn ang="0">
                    <a:pos x="5978" y="3660"/>
                  </a:cxn>
                  <a:cxn ang="0">
                    <a:pos x="5645" y="3648"/>
                  </a:cxn>
                  <a:cxn ang="0">
                    <a:pos x="5407" y="3874"/>
                  </a:cxn>
                  <a:cxn ang="0">
                    <a:pos x="5193" y="3981"/>
                  </a:cxn>
                  <a:cxn ang="0">
                    <a:pos x="5086" y="4064"/>
                  </a:cxn>
                  <a:cxn ang="0">
                    <a:pos x="5264" y="4016"/>
                  </a:cxn>
                  <a:cxn ang="0">
                    <a:pos x="5502" y="3743"/>
                  </a:cxn>
                  <a:cxn ang="0">
                    <a:pos x="5680" y="3850"/>
                  </a:cxn>
                  <a:cxn ang="0">
                    <a:pos x="5906" y="3921"/>
                  </a:cxn>
                  <a:cxn ang="0">
                    <a:pos x="5478" y="4195"/>
                  </a:cxn>
                  <a:cxn ang="0">
                    <a:pos x="5039" y="4908"/>
                  </a:cxn>
                  <a:cxn ang="0">
                    <a:pos x="4753" y="5110"/>
                  </a:cxn>
                  <a:cxn ang="0">
                    <a:pos x="4528" y="5347"/>
                  </a:cxn>
                  <a:cxn ang="0">
                    <a:pos x="4112" y="5300"/>
                  </a:cxn>
                  <a:cxn ang="0">
                    <a:pos x="4266" y="5573"/>
                  </a:cxn>
                  <a:cxn ang="0">
                    <a:pos x="4124" y="5763"/>
                  </a:cxn>
                  <a:cxn ang="0">
                    <a:pos x="4005" y="5977"/>
                  </a:cxn>
                  <a:cxn ang="0">
                    <a:pos x="3696" y="6631"/>
                  </a:cxn>
                  <a:cxn ang="0">
                    <a:pos x="3327" y="6738"/>
                  </a:cxn>
                  <a:cxn ang="0">
                    <a:pos x="2935" y="6488"/>
                  </a:cxn>
                  <a:cxn ang="0">
                    <a:pos x="2793" y="6274"/>
                  </a:cxn>
                  <a:cxn ang="0">
                    <a:pos x="2603" y="5882"/>
                  </a:cxn>
                  <a:cxn ang="0">
                    <a:pos x="2258" y="5288"/>
                  </a:cxn>
                  <a:cxn ang="0">
                    <a:pos x="2032" y="4872"/>
                  </a:cxn>
                  <a:cxn ang="0">
                    <a:pos x="2044" y="4575"/>
                  </a:cxn>
                  <a:cxn ang="0">
                    <a:pos x="1961" y="4349"/>
                  </a:cxn>
                  <a:cxn ang="0">
                    <a:pos x="1687" y="3933"/>
                  </a:cxn>
                  <a:cxn ang="0">
                    <a:pos x="1592" y="3838"/>
                  </a:cxn>
                  <a:cxn ang="0">
                    <a:pos x="1462" y="3636"/>
                  </a:cxn>
                  <a:cxn ang="0">
                    <a:pos x="1295" y="3624"/>
                  </a:cxn>
                  <a:cxn ang="0">
                    <a:pos x="1105" y="3553"/>
                  </a:cxn>
                  <a:cxn ang="0">
                    <a:pos x="915" y="3422"/>
                  </a:cxn>
                  <a:cxn ang="0">
                    <a:pos x="737" y="3279"/>
                  </a:cxn>
                  <a:cxn ang="0">
                    <a:pos x="428" y="3196"/>
                  </a:cxn>
                  <a:cxn ang="0">
                    <a:pos x="71" y="2828"/>
                  </a:cxn>
                  <a:cxn ang="0">
                    <a:pos x="0" y="2400"/>
                  </a:cxn>
                </a:cxnLst>
                <a:rect l="0" t="0" r="r" b="b"/>
                <a:pathLst>
                  <a:path w="5978" h="6750">
                    <a:moveTo>
                      <a:pt x="0" y="2400"/>
                    </a:moveTo>
                    <a:lnTo>
                      <a:pt x="0" y="2400"/>
                    </a:lnTo>
                    <a:lnTo>
                      <a:pt x="47" y="2412"/>
                    </a:lnTo>
                    <a:lnTo>
                      <a:pt x="71" y="2412"/>
                    </a:lnTo>
                    <a:lnTo>
                      <a:pt x="143" y="2341"/>
                    </a:lnTo>
                    <a:lnTo>
                      <a:pt x="154" y="2341"/>
                    </a:lnTo>
                    <a:lnTo>
                      <a:pt x="178" y="2341"/>
                    </a:lnTo>
                    <a:lnTo>
                      <a:pt x="202" y="2388"/>
                    </a:lnTo>
                    <a:lnTo>
                      <a:pt x="202" y="2424"/>
                    </a:lnTo>
                    <a:lnTo>
                      <a:pt x="178" y="2459"/>
                    </a:lnTo>
                    <a:lnTo>
                      <a:pt x="178" y="2495"/>
                    </a:lnTo>
                    <a:lnTo>
                      <a:pt x="202" y="2519"/>
                    </a:lnTo>
                    <a:lnTo>
                      <a:pt x="214" y="2531"/>
                    </a:lnTo>
                    <a:lnTo>
                      <a:pt x="273" y="2519"/>
                    </a:lnTo>
                    <a:lnTo>
                      <a:pt x="345" y="2507"/>
                    </a:lnTo>
                    <a:lnTo>
                      <a:pt x="380" y="2531"/>
                    </a:lnTo>
                    <a:lnTo>
                      <a:pt x="392" y="2578"/>
                    </a:lnTo>
                    <a:lnTo>
                      <a:pt x="428" y="2614"/>
                    </a:lnTo>
                    <a:lnTo>
                      <a:pt x="452" y="2638"/>
                    </a:lnTo>
                    <a:lnTo>
                      <a:pt x="487" y="2650"/>
                    </a:lnTo>
                    <a:lnTo>
                      <a:pt x="523" y="2662"/>
                    </a:lnTo>
                    <a:lnTo>
                      <a:pt x="582" y="2685"/>
                    </a:lnTo>
                    <a:lnTo>
                      <a:pt x="618" y="2733"/>
                    </a:lnTo>
                    <a:lnTo>
                      <a:pt x="654" y="2745"/>
                    </a:lnTo>
                    <a:lnTo>
                      <a:pt x="689" y="2745"/>
                    </a:lnTo>
                    <a:lnTo>
                      <a:pt x="761" y="2709"/>
                    </a:lnTo>
                    <a:lnTo>
                      <a:pt x="784" y="2709"/>
                    </a:lnTo>
                    <a:lnTo>
                      <a:pt x="820" y="2721"/>
                    </a:lnTo>
                    <a:lnTo>
                      <a:pt x="879" y="2768"/>
                    </a:lnTo>
                    <a:lnTo>
                      <a:pt x="927" y="2733"/>
                    </a:lnTo>
                    <a:lnTo>
                      <a:pt x="939" y="2697"/>
                    </a:lnTo>
                    <a:lnTo>
                      <a:pt x="939" y="2685"/>
                    </a:lnTo>
                    <a:lnTo>
                      <a:pt x="1070" y="2662"/>
                    </a:lnTo>
                    <a:lnTo>
                      <a:pt x="1105" y="2650"/>
                    </a:lnTo>
                    <a:lnTo>
                      <a:pt x="1117" y="2614"/>
                    </a:lnTo>
                    <a:lnTo>
                      <a:pt x="1129" y="2590"/>
                    </a:lnTo>
                    <a:lnTo>
                      <a:pt x="1153" y="2566"/>
                    </a:lnTo>
                    <a:lnTo>
                      <a:pt x="1200" y="2566"/>
                    </a:lnTo>
                    <a:lnTo>
                      <a:pt x="1248" y="2543"/>
                    </a:lnTo>
                    <a:lnTo>
                      <a:pt x="1260" y="2507"/>
                    </a:lnTo>
                    <a:lnTo>
                      <a:pt x="1307" y="2483"/>
                    </a:lnTo>
                    <a:lnTo>
                      <a:pt x="1343" y="2483"/>
                    </a:lnTo>
                    <a:lnTo>
                      <a:pt x="1390" y="2566"/>
                    </a:lnTo>
                    <a:lnTo>
                      <a:pt x="1581" y="2614"/>
                    </a:lnTo>
                    <a:lnTo>
                      <a:pt x="1616" y="2614"/>
                    </a:lnTo>
                    <a:lnTo>
                      <a:pt x="1676" y="2578"/>
                    </a:lnTo>
                    <a:lnTo>
                      <a:pt x="1771" y="2555"/>
                    </a:lnTo>
                    <a:lnTo>
                      <a:pt x="1771" y="2543"/>
                    </a:lnTo>
                    <a:lnTo>
                      <a:pt x="1842" y="2519"/>
                    </a:lnTo>
                    <a:lnTo>
                      <a:pt x="1949" y="2590"/>
                    </a:lnTo>
                    <a:lnTo>
                      <a:pt x="1949" y="2626"/>
                    </a:lnTo>
                    <a:lnTo>
                      <a:pt x="1961" y="2673"/>
                    </a:lnTo>
                    <a:lnTo>
                      <a:pt x="2092" y="2662"/>
                    </a:lnTo>
                    <a:lnTo>
                      <a:pt x="2222" y="2709"/>
                    </a:lnTo>
                    <a:lnTo>
                      <a:pt x="2294" y="2709"/>
                    </a:lnTo>
                    <a:lnTo>
                      <a:pt x="2353" y="2685"/>
                    </a:lnTo>
                    <a:lnTo>
                      <a:pt x="2365" y="2638"/>
                    </a:lnTo>
                    <a:lnTo>
                      <a:pt x="2400" y="2590"/>
                    </a:lnTo>
                    <a:lnTo>
                      <a:pt x="2484" y="2566"/>
                    </a:lnTo>
                    <a:lnTo>
                      <a:pt x="2614" y="2483"/>
                    </a:lnTo>
                    <a:lnTo>
                      <a:pt x="2650" y="2448"/>
                    </a:lnTo>
                    <a:lnTo>
                      <a:pt x="2662" y="2424"/>
                    </a:lnTo>
                    <a:lnTo>
                      <a:pt x="2698" y="2388"/>
                    </a:lnTo>
                    <a:lnTo>
                      <a:pt x="2698" y="2353"/>
                    </a:lnTo>
                    <a:lnTo>
                      <a:pt x="2733" y="2329"/>
                    </a:lnTo>
                    <a:lnTo>
                      <a:pt x="2757" y="2305"/>
                    </a:lnTo>
                    <a:lnTo>
                      <a:pt x="2769" y="2246"/>
                    </a:lnTo>
                    <a:lnTo>
                      <a:pt x="2781" y="2222"/>
                    </a:lnTo>
                    <a:lnTo>
                      <a:pt x="2781" y="2174"/>
                    </a:lnTo>
                    <a:lnTo>
                      <a:pt x="2793" y="2151"/>
                    </a:lnTo>
                    <a:lnTo>
                      <a:pt x="2828" y="2103"/>
                    </a:lnTo>
                    <a:lnTo>
                      <a:pt x="2840" y="2020"/>
                    </a:lnTo>
                    <a:lnTo>
                      <a:pt x="2888" y="1960"/>
                    </a:lnTo>
                    <a:lnTo>
                      <a:pt x="2911" y="1889"/>
                    </a:lnTo>
                    <a:lnTo>
                      <a:pt x="2947" y="1865"/>
                    </a:lnTo>
                    <a:lnTo>
                      <a:pt x="2971" y="1830"/>
                    </a:lnTo>
                    <a:lnTo>
                      <a:pt x="2983" y="1770"/>
                    </a:lnTo>
                    <a:lnTo>
                      <a:pt x="3030" y="1651"/>
                    </a:lnTo>
                    <a:lnTo>
                      <a:pt x="3030" y="1628"/>
                    </a:lnTo>
                    <a:lnTo>
                      <a:pt x="3018" y="1580"/>
                    </a:lnTo>
                    <a:lnTo>
                      <a:pt x="3018" y="1509"/>
                    </a:lnTo>
                    <a:lnTo>
                      <a:pt x="3066" y="1497"/>
                    </a:lnTo>
                    <a:lnTo>
                      <a:pt x="3078" y="1461"/>
                    </a:lnTo>
                    <a:lnTo>
                      <a:pt x="3125" y="1426"/>
                    </a:lnTo>
                    <a:lnTo>
                      <a:pt x="3137" y="1414"/>
                    </a:lnTo>
                    <a:lnTo>
                      <a:pt x="3149" y="1437"/>
                    </a:lnTo>
                    <a:lnTo>
                      <a:pt x="3161" y="1437"/>
                    </a:lnTo>
                    <a:lnTo>
                      <a:pt x="3185" y="1426"/>
                    </a:lnTo>
                    <a:lnTo>
                      <a:pt x="3232" y="1331"/>
                    </a:lnTo>
                    <a:lnTo>
                      <a:pt x="3292" y="1200"/>
                    </a:lnTo>
                    <a:lnTo>
                      <a:pt x="3375" y="1105"/>
                    </a:lnTo>
                    <a:lnTo>
                      <a:pt x="3423" y="1022"/>
                    </a:lnTo>
                    <a:lnTo>
                      <a:pt x="3458" y="903"/>
                    </a:lnTo>
                    <a:lnTo>
                      <a:pt x="3506" y="855"/>
                    </a:lnTo>
                    <a:lnTo>
                      <a:pt x="3529" y="796"/>
                    </a:lnTo>
                    <a:lnTo>
                      <a:pt x="3636" y="724"/>
                    </a:lnTo>
                    <a:lnTo>
                      <a:pt x="3684" y="653"/>
                    </a:lnTo>
                    <a:lnTo>
                      <a:pt x="3696" y="606"/>
                    </a:lnTo>
                    <a:lnTo>
                      <a:pt x="3743" y="534"/>
                    </a:lnTo>
                    <a:lnTo>
                      <a:pt x="3791" y="511"/>
                    </a:lnTo>
                    <a:lnTo>
                      <a:pt x="3850" y="451"/>
                    </a:lnTo>
                    <a:lnTo>
                      <a:pt x="3898" y="404"/>
                    </a:lnTo>
                    <a:lnTo>
                      <a:pt x="3934" y="285"/>
                    </a:lnTo>
                    <a:lnTo>
                      <a:pt x="3945" y="273"/>
                    </a:lnTo>
                    <a:lnTo>
                      <a:pt x="3969" y="285"/>
                    </a:lnTo>
                    <a:lnTo>
                      <a:pt x="4040" y="487"/>
                    </a:lnTo>
                    <a:lnTo>
                      <a:pt x="4088" y="546"/>
                    </a:lnTo>
                    <a:lnTo>
                      <a:pt x="4112" y="558"/>
                    </a:lnTo>
                    <a:lnTo>
                      <a:pt x="3993" y="273"/>
                    </a:lnTo>
                    <a:lnTo>
                      <a:pt x="3969" y="130"/>
                    </a:lnTo>
                    <a:lnTo>
                      <a:pt x="3981" y="35"/>
                    </a:lnTo>
                    <a:lnTo>
                      <a:pt x="3993" y="0"/>
                    </a:lnTo>
                    <a:lnTo>
                      <a:pt x="4029" y="0"/>
                    </a:lnTo>
                    <a:lnTo>
                      <a:pt x="4088" y="23"/>
                    </a:lnTo>
                    <a:lnTo>
                      <a:pt x="4159" y="106"/>
                    </a:lnTo>
                    <a:lnTo>
                      <a:pt x="4242" y="166"/>
                    </a:lnTo>
                    <a:lnTo>
                      <a:pt x="4290" y="237"/>
                    </a:lnTo>
                    <a:lnTo>
                      <a:pt x="4314" y="249"/>
                    </a:lnTo>
                    <a:lnTo>
                      <a:pt x="4338" y="297"/>
                    </a:lnTo>
                    <a:lnTo>
                      <a:pt x="4373" y="368"/>
                    </a:lnTo>
                    <a:lnTo>
                      <a:pt x="4397" y="415"/>
                    </a:lnTo>
                    <a:lnTo>
                      <a:pt x="4445" y="629"/>
                    </a:lnTo>
                    <a:lnTo>
                      <a:pt x="4409" y="796"/>
                    </a:lnTo>
                    <a:lnTo>
                      <a:pt x="4409" y="938"/>
                    </a:lnTo>
                    <a:lnTo>
                      <a:pt x="4409" y="1129"/>
                    </a:lnTo>
                    <a:lnTo>
                      <a:pt x="4421" y="1188"/>
                    </a:lnTo>
                    <a:lnTo>
                      <a:pt x="4433" y="1140"/>
                    </a:lnTo>
                    <a:lnTo>
                      <a:pt x="4433" y="938"/>
                    </a:lnTo>
                    <a:lnTo>
                      <a:pt x="4445" y="843"/>
                    </a:lnTo>
                    <a:lnTo>
                      <a:pt x="4480" y="689"/>
                    </a:lnTo>
                    <a:lnTo>
                      <a:pt x="4492" y="653"/>
                    </a:lnTo>
                    <a:lnTo>
                      <a:pt x="4528" y="641"/>
                    </a:lnTo>
                    <a:lnTo>
                      <a:pt x="4540" y="653"/>
                    </a:lnTo>
                    <a:lnTo>
                      <a:pt x="4563" y="713"/>
                    </a:lnTo>
                    <a:lnTo>
                      <a:pt x="4551" y="796"/>
                    </a:lnTo>
                    <a:lnTo>
                      <a:pt x="4540" y="926"/>
                    </a:lnTo>
                    <a:lnTo>
                      <a:pt x="4551" y="1010"/>
                    </a:lnTo>
                    <a:lnTo>
                      <a:pt x="4551" y="1081"/>
                    </a:lnTo>
                    <a:lnTo>
                      <a:pt x="4551" y="1140"/>
                    </a:lnTo>
                    <a:lnTo>
                      <a:pt x="4551" y="1235"/>
                    </a:lnTo>
                    <a:lnTo>
                      <a:pt x="4623" y="1473"/>
                    </a:lnTo>
                    <a:lnTo>
                      <a:pt x="4623" y="1568"/>
                    </a:lnTo>
                    <a:lnTo>
                      <a:pt x="4635" y="1651"/>
                    </a:lnTo>
                    <a:lnTo>
                      <a:pt x="4682" y="1723"/>
                    </a:lnTo>
                    <a:lnTo>
                      <a:pt x="4682" y="1782"/>
                    </a:lnTo>
                    <a:lnTo>
                      <a:pt x="4718" y="1853"/>
                    </a:lnTo>
                    <a:lnTo>
                      <a:pt x="4742" y="1925"/>
                    </a:lnTo>
                    <a:lnTo>
                      <a:pt x="4777" y="1960"/>
                    </a:lnTo>
                    <a:lnTo>
                      <a:pt x="4789" y="2008"/>
                    </a:lnTo>
                    <a:lnTo>
                      <a:pt x="4789" y="2044"/>
                    </a:lnTo>
                    <a:lnTo>
                      <a:pt x="4837" y="2162"/>
                    </a:lnTo>
                    <a:lnTo>
                      <a:pt x="4837" y="2222"/>
                    </a:lnTo>
                    <a:lnTo>
                      <a:pt x="4872" y="2269"/>
                    </a:lnTo>
                    <a:lnTo>
                      <a:pt x="4920" y="2353"/>
                    </a:lnTo>
                    <a:lnTo>
                      <a:pt x="4932" y="2448"/>
                    </a:lnTo>
                    <a:lnTo>
                      <a:pt x="4991" y="2578"/>
                    </a:lnTo>
                    <a:lnTo>
                      <a:pt x="5015" y="2673"/>
                    </a:lnTo>
                    <a:lnTo>
                      <a:pt x="5003" y="2709"/>
                    </a:lnTo>
                    <a:lnTo>
                      <a:pt x="4956" y="2745"/>
                    </a:lnTo>
                    <a:lnTo>
                      <a:pt x="4944" y="2745"/>
                    </a:lnTo>
                    <a:lnTo>
                      <a:pt x="4920" y="2780"/>
                    </a:lnTo>
                    <a:lnTo>
                      <a:pt x="4920" y="2840"/>
                    </a:lnTo>
                    <a:lnTo>
                      <a:pt x="4920" y="2852"/>
                    </a:lnTo>
                    <a:lnTo>
                      <a:pt x="4944" y="2852"/>
                    </a:lnTo>
                    <a:lnTo>
                      <a:pt x="4967" y="2768"/>
                    </a:lnTo>
                    <a:lnTo>
                      <a:pt x="5027" y="2757"/>
                    </a:lnTo>
                    <a:lnTo>
                      <a:pt x="5062" y="2768"/>
                    </a:lnTo>
                    <a:lnTo>
                      <a:pt x="5098" y="2792"/>
                    </a:lnTo>
                    <a:lnTo>
                      <a:pt x="5122" y="2816"/>
                    </a:lnTo>
                    <a:lnTo>
                      <a:pt x="5134" y="2887"/>
                    </a:lnTo>
                    <a:lnTo>
                      <a:pt x="5146" y="2923"/>
                    </a:lnTo>
                    <a:lnTo>
                      <a:pt x="5169" y="2959"/>
                    </a:lnTo>
                    <a:lnTo>
                      <a:pt x="5205" y="2994"/>
                    </a:lnTo>
                    <a:lnTo>
                      <a:pt x="5253" y="3077"/>
                    </a:lnTo>
                    <a:lnTo>
                      <a:pt x="5288" y="3113"/>
                    </a:lnTo>
                    <a:lnTo>
                      <a:pt x="5360" y="3113"/>
                    </a:lnTo>
                    <a:lnTo>
                      <a:pt x="5419" y="3101"/>
                    </a:lnTo>
                    <a:lnTo>
                      <a:pt x="5573" y="3125"/>
                    </a:lnTo>
                    <a:lnTo>
                      <a:pt x="5645" y="3101"/>
                    </a:lnTo>
                    <a:lnTo>
                      <a:pt x="5692" y="3113"/>
                    </a:lnTo>
                    <a:lnTo>
                      <a:pt x="5859" y="3208"/>
                    </a:lnTo>
                    <a:lnTo>
                      <a:pt x="5954" y="3315"/>
                    </a:lnTo>
                    <a:lnTo>
                      <a:pt x="5966" y="3375"/>
                    </a:lnTo>
                    <a:lnTo>
                      <a:pt x="5978" y="3660"/>
                    </a:lnTo>
                    <a:lnTo>
                      <a:pt x="5966" y="3684"/>
                    </a:lnTo>
                    <a:lnTo>
                      <a:pt x="5906" y="3767"/>
                    </a:lnTo>
                    <a:lnTo>
                      <a:pt x="5871" y="3779"/>
                    </a:lnTo>
                    <a:lnTo>
                      <a:pt x="5823" y="3814"/>
                    </a:lnTo>
                    <a:lnTo>
                      <a:pt x="5752" y="3802"/>
                    </a:lnTo>
                    <a:lnTo>
                      <a:pt x="5704" y="3779"/>
                    </a:lnTo>
                    <a:lnTo>
                      <a:pt x="5680" y="3672"/>
                    </a:lnTo>
                    <a:lnTo>
                      <a:pt x="5645" y="3648"/>
                    </a:lnTo>
                    <a:lnTo>
                      <a:pt x="5621" y="3648"/>
                    </a:lnTo>
                    <a:lnTo>
                      <a:pt x="5538" y="3684"/>
                    </a:lnTo>
                    <a:lnTo>
                      <a:pt x="5478" y="3719"/>
                    </a:lnTo>
                    <a:lnTo>
                      <a:pt x="5467" y="3755"/>
                    </a:lnTo>
                    <a:lnTo>
                      <a:pt x="5490" y="3826"/>
                    </a:lnTo>
                    <a:lnTo>
                      <a:pt x="5490" y="3850"/>
                    </a:lnTo>
                    <a:lnTo>
                      <a:pt x="5478" y="3850"/>
                    </a:lnTo>
                    <a:lnTo>
                      <a:pt x="5407" y="3874"/>
                    </a:lnTo>
                    <a:lnTo>
                      <a:pt x="5395" y="3850"/>
                    </a:lnTo>
                    <a:lnTo>
                      <a:pt x="5371" y="3850"/>
                    </a:lnTo>
                    <a:lnTo>
                      <a:pt x="5324" y="3874"/>
                    </a:lnTo>
                    <a:lnTo>
                      <a:pt x="5300" y="3897"/>
                    </a:lnTo>
                    <a:lnTo>
                      <a:pt x="5229" y="3993"/>
                    </a:lnTo>
                    <a:lnTo>
                      <a:pt x="5229" y="4004"/>
                    </a:lnTo>
                    <a:lnTo>
                      <a:pt x="5217" y="4004"/>
                    </a:lnTo>
                    <a:lnTo>
                      <a:pt x="5193" y="3981"/>
                    </a:lnTo>
                    <a:lnTo>
                      <a:pt x="5134" y="3993"/>
                    </a:lnTo>
                    <a:lnTo>
                      <a:pt x="5074" y="3969"/>
                    </a:lnTo>
                    <a:lnTo>
                      <a:pt x="5062" y="3993"/>
                    </a:lnTo>
                    <a:lnTo>
                      <a:pt x="5062" y="4028"/>
                    </a:lnTo>
                    <a:lnTo>
                      <a:pt x="5051" y="4040"/>
                    </a:lnTo>
                    <a:lnTo>
                      <a:pt x="5051" y="4052"/>
                    </a:lnTo>
                    <a:lnTo>
                      <a:pt x="5074" y="4076"/>
                    </a:lnTo>
                    <a:lnTo>
                      <a:pt x="5086" y="4064"/>
                    </a:lnTo>
                    <a:lnTo>
                      <a:pt x="5086" y="4040"/>
                    </a:lnTo>
                    <a:lnTo>
                      <a:pt x="5098" y="4028"/>
                    </a:lnTo>
                    <a:lnTo>
                      <a:pt x="5134" y="4016"/>
                    </a:lnTo>
                    <a:lnTo>
                      <a:pt x="5158" y="4016"/>
                    </a:lnTo>
                    <a:lnTo>
                      <a:pt x="5181" y="4004"/>
                    </a:lnTo>
                    <a:lnTo>
                      <a:pt x="5205" y="4052"/>
                    </a:lnTo>
                    <a:lnTo>
                      <a:pt x="5217" y="4052"/>
                    </a:lnTo>
                    <a:lnTo>
                      <a:pt x="5264" y="4016"/>
                    </a:lnTo>
                    <a:lnTo>
                      <a:pt x="5288" y="3957"/>
                    </a:lnTo>
                    <a:lnTo>
                      <a:pt x="5348" y="3897"/>
                    </a:lnTo>
                    <a:lnTo>
                      <a:pt x="5371" y="3897"/>
                    </a:lnTo>
                    <a:lnTo>
                      <a:pt x="5431" y="3909"/>
                    </a:lnTo>
                    <a:lnTo>
                      <a:pt x="5502" y="3874"/>
                    </a:lnTo>
                    <a:lnTo>
                      <a:pt x="5526" y="3838"/>
                    </a:lnTo>
                    <a:lnTo>
                      <a:pt x="5502" y="3767"/>
                    </a:lnTo>
                    <a:lnTo>
                      <a:pt x="5502" y="3743"/>
                    </a:lnTo>
                    <a:lnTo>
                      <a:pt x="5514" y="3731"/>
                    </a:lnTo>
                    <a:lnTo>
                      <a:pt x="5550" y="3719"/>
                    </a:lnTo>
                    <a:lnTo>
                      <a:pt x="5573" y="3707"/>
                    </a:lnTo>
                    <a:lnTo>
                      <a:pt x="5621" y="3707"/>
                    </a:lnTo>
                    <a:lnTo>
                      <a:pt x="5645" y="3719"/>
                    </a:lnTo>
                    <a:lnTo>
                      <a:pt x="5669" y="3755"/>
                    </a:lnTo>
                    <a:lnTo>
                      <a:pt x="5669" y="3814"/>
                    </a:lnTo>
                    <a:lnTo>
                      <a:pt x="5680" y="3850"/>
                    </a:lnTo>
                    <a:lnTo>
                      <a:pt x="5752" y="3838"/>
                    </a:lnTo>
                    <a:lnTo>
                      <a:pt x="5847" y="3838"/>
                    </a:lnTo>
                    <a:lnTo>
                      <a:pt x="5871" y="3838"/>
                    </a:lnTo>
                    <a:lnTo>
                      <a:pt x="5918" y="3790"/>
                    </a:lnTo>
                    <a:lnTo>
                      <a:pt x="5954" y="3790"/>
                    </a:lnTo>
                    <a:lnTo>
                      <a:pt x="5966" y="3826"/>
                    </a:lnTo>
                    <a:lnTo>
                      <a:pt x="5954" y="3862"/>
                    </a:lnTo>
                    <a:lnTo>
                      <a:pt x="5906" y="3921"/>
                    </a:lnTo>
                    <a:lnTo>
                      <a:pt x="5882" y="3981"/>
                    </a:lnTo>
                    <a:lnTo>
                      <a:pt x="5847" y="4016"/>
                    </a:lnTo>
                    <a:lnTo>
                      <a:pt x="5787" y="4028"/>
                    </a:lnTo>
                    <a:lnTo>
                      <a:pt x="5728" y="4123"/>
                    </a:lnTo>
                    <a:lnTo>
                      <a:pt x="5597" y="4195"/>
                    </a:lnTo>
                    <a:lnTo>
                      <a:pt x="5550" y="4230"/>
                    </a:lnTo>
                    <a:lnTo>
                      <a:pt x="5514" y="4230"/>
                    </a:lnTo>
                    <a:lnTo>
                      <a:pt x="5478" y="4195"/>
                    </a:lnTo>
                    <a:lnTo>
                      <a:pt x="5490" y="4290"/>
                    </a:lnTo>
                    <a:lnTo>
                      <a:pt x="5467" y="4373"/>
                    </a:lnTo>
                    <a:lnTo>
                      <a:pt x="5395" y="4444"/>
                    </a:lnTo>
                    <a:lnTo>
                      <a:pt x="5312" y="4504"/>
                    </a:lnTo>
                    <a:lnTo>
                      <a:pt x="5264" y="4551"/>
                    </a:lnTo>
                    <a:lnTo>
                      <a:pt x="5205" y="4682"/>
                    </a:lnTo>
                    <a:lnTo>
                      <a:pt x="5134" y="4801"/>
                    </a:lnTo>
                    <a:lnTo>
                      <a:pt x="5039" y="4908"/>
                    </a:lnTo>
                    <a:lnTo>
                      <a:pt x="5003" y="4931"/>
                    </a:lnTo>
                    <a:lnTo>
                      <a:pt x="4967" y="5003"/>
                    </a:lnTo>
                    <a:lnTo>
                      <a:pt x="4944" y="5015"/>
                    </a:lnTo>
                    <a:lnTo>
                      <a:pt x="4920" y="5015"/>
                    </a:lnTo>
                    <a:lnTo>
                      <a:pt x="4884" y="5050"/>
                    </a:lnTo>
                    <a:lnTo>
                      <a:pt x="4825" y="5062"/>
                    </a:lnTo>
                    <a:lnTo>
                      <a:pt x="4777" y="5098"/>
                    </a:lnTo>
                    <a:lnTo>
                      <a:pt x="4753" y="5110"/>
                    </a:lnTo>
                    <a:lnTo>
                      <a:pt x="4718" y="5110"/>
                    </a:lnTo>
                    <a:lnTo>
                      <a:pt x="4682" y="5145"/>
                    </a:lnTo>
                    <a:lnTo>
                      <a:pt x="4623" y="5193"/>
                    </a:lnTo>
                    <a:lnTo>
                      <a:pt x="4599" y="5252"/>
                    </a:lnTo>
                    <a:lnTo>
                      <a:pt x="4587" y="5288"/>
                    </a:lnTo>
                    <a:lnTo>
                      <a:pt x="4575" y="5312"/>
                    </a:lnTo>
                    <a:lnTo>
                      <a:pt x="4551" y="5335"/>
                    </a:lnTo>
                    <a:lnTo>
                      <a:pt x="4528" y="5347"/>
                    </a:lnTo>
                    <a:lnTo>
                      <a:pt x="4445" y="5359"/>
                    </a:lnTo>
                    <a:lnTo>
                      <a:pt x="4397" y="5347"/>
                    </a:lnTo>
                    <a:lnTo>
                      <a:pt x="4361" y="5383"/>
                    </a:lnTo>
                    <a:lnTo>
                      <a:pt x="4266" y="5383"/>
                    </a:lnTo>
                    <a:lnTo>
                      <a:pt x="4207" y="5359"/>
                    </a:lnTo>
                    <a:lnTo>
                      <a:pt x="4159" y="5335"/>
                    </a:lnTo>
                    <a:lnTo>
                      <a:pt x="4136" y="5300"/>
                    </a:lnTo>
                    <a:lnTo>
                      <a:pt x="4112" y="5300"/>
                    </a:lnTo>
                    <a:lnTo>
                      <a:pt x="4112" y="5335"/>
                    </a:lnTo>
                    <a:lnTo>
                      <a:pt x="4147" y="5371"/>
                    </a:lnTo>
                    <a:lnTo>
                      <a:pt x="4290" y="5407"/>
                    </a:lnTo>
                    <a:lnTo>
                      <a:pt x="4349" y="5395"/>
                    </a:lnTo>
                    <a:lnTo>
                      <a:pt x="4361" y="5407"/>
                    </a:lnTo>
                    <a:lnTo>
                      <a:pt x="4326" y="5430"/>
                    </a:lnTo>
                    <a:lnTo>
                      <a:pt x="4314" y="5502"/>
                    </a:lnTo>
                    <a:lnTo>
                      <a:pt x="4266" y="5573"/>
                    </a:lnTo>
                    <a:lnTo>
                      <a:pt x="4242" y="5585"/>
                    </a:lnTo>
                    <a:lnTo>
                      <a:pt x="4195" y="5561"/>
                    </a:lnTo>
                    <a:lnTo>
                      <a:pt x="4171" y="5573"/>
                    </a:lnTo>
                    <a:lnTo>
                      <a:pt x="4171" y="5597"/>
                    </a:lnTo>
                    <a:lnTo>
                      <a:pt x="4207" y="5609"/>
                    </a:lnTo>
                    <a:lnTo>
                      <a:pt x="4195" y="5704"/>
                    </a:lnTo>
                    <a:lnTo>
                      <a:pt x="4171" y="5739"/>
                    </a:lnTo>
                    <a:lnTo>
                      <a:pt x="4124" y="5763"/>
                    </a:lnTo>
                    <a:lnTo>
                      <a:pt x="4112" y="5799"/>
                    </a:lnTo>
                    <a:lnTo>
                      <a:pt x="4100" y="5834"/>
                    </a:lnTo>
                    <a:lnTo>
                      <a:pt x="4088" y="5858"/>
                    </a:lnTo>
                    <a:lnTo>
                      <a:pt x="4029" y="5906"/>
                    </a:lnTo>
                    <a:lnTo>
                      <a:pt x="4052" y="5941"/>
                    </a:lnTo>
                    <a:lnTo>
                      <a:pt x="4052" y="5941"/>
                    </a:lnTo>
                    <a:lnTo>
                      <a:pt x="4052" y="5941"/>
                    </a:lnTo>
                    <a:lnTo>
                      <a:pt x="4005" y="5977"/>
                    </a:lnTo>
                    <a:lnTo>
                      <a:pt x="3838" y="6179"/>
                    </a:lnTo>
                    <a:lnTo>
                      <a:pt x="3791" y="6369"/>
                    </a:lnTo>
                    <a:lnTo>
                      <a:pt x="3803" y="6441"/>
                    </a:lnTo>
                    <a:lnTo>
                      <a:pt x="3815" y="6500"/>
                    </a:lnTo>
                    <a:lnTo>
                      <a:pt x="3803" y="6536"/>
                    </a:lnTo>
                    <a:lnTo>
                      <a:pt x="3779" y="6536"/>
                    </a:lnTo>
                    <a:lnTo>
                      <a:pt x="3731" y="6571"/>
                    </a:lnTo>
                    <a:lnTo>
                      <a:pt x="3696" y="6631"/>
                    </a:lnTo>
                    <a:lnTo>
                      <a:pt x="3648" y="6654"/>
                    </a:lnTo>
                    <a:lnTo>
                      <a:pt x="3506" y="6654"/>
                    </a:lnTo>
                    <a:lnTo>
                      <a:pt x="3470" y="6631"/>
                    </a:lnTo>
                    <a:lnTo>
                      <a:pt x="3423" y="6678"/>
                    </a:lnTo>
                    <a:lnTo>
                      <a:pt x="3375" y="6702"/>
                    </a:lnTo>
                    <a:lnTo>
                      <a:pt x="3351" y="6750"/>
                    </a:lnTo>
                    <a:lnTo>
                      <a:pt x="3339" y="6750"/>
                    </a:lnTo>
                    <a:lnTo>
                      <a:pt x="3327" y="6738"/>
                    </a:lnTo>
                    <a:lnTo>
                      <a:pt x="3292" y="6678"/>
                    </a:lnTo>
                    <a:lnTo>
                      <a:pt x="3268" y="6654"/>
                    </a:lnTo>
                    <a:lnTo>
                      <a:pt x="3137" y="6631"/>
                    </a:lnTo>
                    <a:lnTo>
                      <a:pt x="3042" y="6595"/>
                    </a:lnTo>
                    <a:lnTo>
                      <a:pt x="3007" y="6571"/>
                    </a:lnTo>
                    <a:lnTo>
                      <a:pt x="2983" y="6536"/>
                    </a:lnTo>
                    <a:lnTo>
                      <a:pt x="2947" y="6524"/>
                    </a:lnTo>
                    <a:lnTo>
                      <a:pt x="2935" y="6488"/>
                    </a:lnTo>
                    <a:lnTo>
                      <a:pt x="2911" y="6417"/>
                    </a:lnTo>
                    <a:lnTo>
                      <a:pt x="2947" y="6357"/>
                    </a:lnTo>
                    <a:lnTo>
                      <a:pt x="2947" y="6322"/>
                    </a:lnTo>
                    <a:lnTo>
                      <a:pt x="2935" y="6298"/>
                    </a:lnTo>
                    <a:lnTo>
                      <a:pt x="2923" y="6286"/>
                    </a:lnTo>
                    <a:lnTo>
                      <a:pt x="2888" y="6274"/>
                    </a:lnTo>
                    <a:lnTo>
                      <a:pt x="2805" y="6298"/>
                    </a:lnTo>
                    <a:lnTo>
                      <a:pt x="2793" y="6274"/>
                    </a:lnTo>
                    <a:lnTo>
                      <a:pt x="2828" y="6155"/>
                    </a:lnTo>
                    <a:lnTo>
                      <a:pt x="2828" y="6084"/>
                    </a:lnTo>
                    <a:lnTo>
                      <a:pt x="2793" y="5977"/>
                    </a:lnTo>
                    <a:lnTo>
                      <a:pt x="2745" y="5965"/>
                    </a:lnTo>
                    <a:lnTo>
                      <a:pt x="2674" y="5977"/>
                    </a:lnTo>
                    <a:lnTo>
                      <a:pt x="2650" y="5977"/>
                    </a:lnTo>
                    <a:lnTo>
                      <a:pt x="2626" y="5953"/>
                    </a:lnTo>
                    <a:lnTo>
                      <a:pt x="2603" y="5882"/>
                    </a:lnTo>
                    <a:lnTo>
                      <a:pt x="2603" y="5728"/>
                    </a:lnTo>
                    <a:lnTo>
                      <a:pt x="2626" y="5680"/>
                    </a:lnTo>
                    <a:lnTo>
                      <a:pt x="2603" y="5632"/>
                    </a:lnTo>
                    <a:lnTo>
                      <a:pt x="2519" y="5573"/>
                    </a:lnTo>
                    <a:lnTo>
                      <a:pt x="2436" y="5478"/>
                    </a:lnTo>
                    <a:lnTo>
                      <a:pt x="2317" y="5430"/>
                    </a:lnTo>
                    <a:lnTo>
                      <a:pt x="2294" y="5407"/>
                    </a:lnTo>
                    <a:lnTo>
                      <a:pt x="2258" y="5288"/>
                    </a:lnTo>
                    <a:lnTo>
                      <a:pt x="2234" y="5240"/>
                    </a:lnTo>
                    <a:lnTo>
                      <a:pt x="2234" y="5228"/>
                    </a:lnTo>
                    <a:lnTo>
                      <a:pt x="2163" y="5098"/>
                    </a:lnTo>
                    <a:lnTo>
                      <a:pt x="2151" y="5074"/>
                    </a:lnTo>
                    <a:lnTo>
                      <a:pt x="2127" y="5050"/>
                    </a:lnTo>
                    <a:lnTo>
                      <a:pt x="2103" y="4955"/>
                    </a:lnTo>
                    <a:lnTo>
                      <a:pt x="2056" y="4872"/>
                    </a:lnTo>
                    <a:lnTo>
                      <a:pt x="2032" y="4872"/>
                    </a:lnTo>
                    <a:lnTo>
                      <a:pt x="2020" y="4872"/>
                    </a:lnTo>
                    <a:lnTo>
                      <a:pt x="2008" y="4848"/>
                    </a:lnTo>
                    <a:lnTo>
                      <a:pt x="2020" y="4777"/>
                    </a:lnTo>
                    <a:lnTo>
                      <a:pt x="2008" y="4765"/>
                    </a:lnTo>
                    <a:lnTo>
                      <a:pt x="2020" y="4741"/>
                    </a:lnTo>
                    <a:lnTo>
                      <a:pt x="2056" y="4622"/>
                    </a:lnTo>
                    <a:lnTo>
                      <a:pt x="2044" y="4587"/>
                    </a:lnTo>
                    <a:lnTo>
                      <a:pt x="2044" y="4575"/>
                    </a:lnTo>
                    <a:lnTo>
                      <a:pt x="2068" y="4563"/>
                    </a:lnTo>
                    <a:lnTo>
                      <a:pt x="2080" y="4539"/>
                    </a:lnTo>
                    <a:lnTo>
                      <a:pt x="2080" y="4527"/>
                    </a:lnTo>
                    <a:lnTo>
                      <a:pt x="2080" y="4504"/>
                    </a:lnTo>
                    <a:lnTo>
                      <a:pt x="2092" y="4492"/>
                    </a:lnTo>
                    <a:lnTo>
                      <a:pt x="2068" y="4468"/>
                    </a:lnTo>
                    <a:lnTo>
                      <a:pt x="2008" y="4420"/>
                    </a:lnTo>
                    <a:lnTo>
                      <a:pt x="1961" y="4349"/>
                    </a:lnTo>
                    <a:lnTo>
                      <a:pt x="1818" y="4242"/>
                    </a:lnTo>
                    <a:lnTo>
                      <a:pt x="1771" y="4218"/>
                    </a:lnTo>
                    <a:lnTo>
                      <a:pt x="1747" y="4195"/>
                    </a:lnTo>
                    <a:lnTo>
                      <a:pt x="1735" y="4171"/>
                    </a:lnTo>
                    <a:lnTo>
                      <a:pt x="1735" y="4135"/>
                    </a:lnTo>
                    <a:lnTo>
                      <a:pt x="1711" y="4040"/>
                    </a:lnTo>
                    <a:lnTo>
                      <a:pt x="1676" y="3969"/>
                    </a:lnTo>
                    <a:lnTo>
                      <a:pt x="1687" y="3933"/>
                    </a:lnTo>
                    <a:lnTo>
                      <a:pt x="1723" y="3921"/>
                    </a:lnTo>
                    <a:lnTo>
                      <a:pt x="1735" y="3909"/>
                    </a:lnTo>
                    <a:lnTo>
                      <a:pt x="1735" y="3886"/>
                    </a:lnTo>
                    <a:lnTo>
                      <a:pt x="1711" y="3814"/>
                    </a:lnTo>
                    <a:lnTo>
                      <a:pt x="1687" y="3802"/>
                    </a:lnTo>
                    <a:lnTo>
                      <a:pt x="1652" y="3814"/>
                    </a:lnTo>
                    <a:lnTo>
                      <a:pt x="1616" y="3838"/>
                    </a:lnTo>
                    <a:lnTo>
                      <a:pt x="1592" y="3838"/>
                    </a:lnTo>
                    <a:lnTo>
                      <a:pt x="1592" y="3826"/>
                    </a:lnTo>
                    <a:lnTo>
                      <a:pt x="1592" y="3790"/>
                    </a:lnTo>
                    <a:lnTo>
                      <a:pt x="1569" y="3707"/>
                    </a:lnTo>
                    <a:lnTo>
                      <a:pt x="1521" y="3684"/>
                    </a:lnTo>
                    <a:lnTo>
                      <a:pt x="1462" y="3695"/>
                    </a:lnTo>
                    <a:lnTo>
                      <a:pt x="1450" y="3695"/>
                    </a:lnTo>
                    <a:lnTo>
                      <a:pt x="1474" y="3672"/>
                    </a:lnTo>
                    <a:lnTo>
                      <a:pt x="1462" y="3636"/>
                    </a:lnTo>
                    <a:lnTo>
                      <a:pt x="1438" y="3636"/>
                    </a:lnTo>
                    <a:lnTo>
                      <a:pt x="1426" y="3648"/>
                    </a:lnTo>
                    <a:lnTo>
                      <a:pt x="1402" y="3636"/>
                    </a:lnTo>
                    <a:lnTo>
                      <a:pt x="1367" y="3588"/>
                    </a:lnTo>
                    <a:lnTo>
                      <a:pt x="1355" y="3600"/>
                    </a:lnTo>
                    <a:lnTo>
                      <a:pt x="1355" y="3624"/>
                    </a:lnTo>
                    <a:lnTo>
                      <a:pt x="1343" y="3636"/>
                    </a:lnTo>
                    <a:lnTo>
                      <a:pt x="1295" y="3624"/>
                    </a:lnTo>
                    <a:lnTo>
                      <a:pt x="1248" y="3600"/>
                    </a:lnTo>
                    <a:lnTo>
                      <a:pt x="1248" y="3624"/>
                    </a:lnTo>
                    <a:lnTo>
                      <a:pt x="1236" y="3636"/>
                    </a:lnTo>
                    <a:lnTo>
                      <a:pt x="1212" y="3612"/>
                    </a:lnTo>
                    <a:lnTo>
                      <a:pt x="1176" y="3612"/>
                    </a:lnTo>
                    <a:lnTo>
                      <a:pt x="1153" y="3577"/>
                    </a:lnTo>
                    <a:lnTo>
                      <a:pt x="1129" y="3577"/>
                    </a:lnTo>
                    <a:lnTo>
                      <a:pt x="1105" y="3553"/>
                    </a:lnTo>
                    <a:lnTo>
                      <a:pt x="1070" y="3541"/>
                    </a:lnTo>
                    <a:lnTo>
                      <a:pt x="1034" y="3481"/>
                    </a:lnTo>
                    <a:lnTo>
                      <a:pt x="998" y="3481"/>
                    </a:lnTo>
                    <a:lnTo>
                      <a:pt x="963" y="3505"/>
                    </a:lnTo>
                    <a:lnTo>
                      <a:pt x="951" y="3505"/>
                    </a:lnTo>
                    <a:lnTo>
                      <a:pt x="939" y="3481"/>
                    </a:lnTo>
                    <a:lnTo>
                      <a:pt x="951" y="3458"/>
                    </a:lnTo>
                    <a:lnTo>
                      <a:pt x="915" y="3422"/>
                    </a:lnTo>
                    <a:lnTo>
                      <a:pt x="915" y="3398"/>
                    </a:lnTo>
                    <a:lnTo>
                      <a:pt x="891" y="3375"/>
                    </a:lnTo>
                    <a:lnTo>
                      <a:pt x="891" y="3351"/>
                    </a:lnTo>
                    <a:lnTo>
                      <a:pt x="856" y="3315"/>
                    </a:lnTo>
                    <a:lnTo>
                      <a:pt x="832" y="3315"/>
                    </a:lnTo>
                    <a:lnTo>
                      <a:pt x="808" y="3351"/>
                    </a:lnTo>
                    <a:lnTo>
                      <a:pt x="796" y="3339"/>
                    </a:lnTo>
                    <a:lnTo>
                      <a:pt x="737" y="3279"/>
                    </a:lnTo>
                    <a:lnTo>
                      <a:pt x="701" y="3244"/>
                    </a:lnTo>
                    <a:lnTo>
                      <a:pt x="665" y="3208"/>
                    </a:lnTo>
                    <a:lnTo>
                      <a:pt x="630" y="3196"/>
                    </a:lnTo>
                    <a:lnTo>
                      <a:pt x="606" y="3173"/>
                    </a:lnTo>
                    <a:lnTo>
                      <a:pt x="582" y="3184"/>
                    </a:lnTo>
                    <a:lnTo>
                      <a:pt x="559" y="3196"/>
                    </a:lnTo>
                    <a:lnTo>
                      <a:pt x="499" y="3184"/>
                    </a:lnTo>
                    <a:lnTo>
                      <a:pt x="428" y="3196"/>
                    </a:lnTo>
                    <a:lnTo>
                      <a:pt x="333" y="3149"/>
                    </a:lnTo>
                    <a:lnTo>
                      <a:pt x="250" y="3161"/>
                    </a:lnTo>
                    <a:lnTo>
                      <a:pt x="178" y="3161"/>
                    </a:lnTo>
                    <a:lnTo>
                      <a:pt x="154" y="3149"/>
                    </a:lnTo>
                    <a:lnTo>
                      <a:pt x="143" y="3125"/>
                    </a:lnTo>
                    <a:lnTo>
                      <a:pt x="119" y="2935"/>
                    </a:lnTo>
                    <a:lnTo>
                      <a:pt x="83" y="2864"/>
                    </a:lnTo>
                    <a:lnTo>
                      <a:pt x="71" y="2828"/>
                    </a:lnTo>
                    <a:lnTo>
                      <a:pt x="83" y="2768"/>
                    </a:lnTo>
                    <a:lnTo>
                      <a:pt x="107" y="2709"/>
                    </a:lnTo>
                    <a:lnTo>
                      <a:pt x="119" y="2673"/>
                    </a:lnTo>
                    <a:lnTo>
                      <a:pt x="83" y="2590"/>
                    </a:lnTo>
                    <a:lnTo>
                      <a:pt x="83" y="2507"/>
                    </a:lnTo>
                    <a:lnTo>
                      <a:pt x="59" y="2471"/>
                    </a:lnTo>
                    <a:lnTo>
                      <a:pt x="24" y="2436"/>
                    </a:lnTo>
                    <a:lnTo>
                      <a:pt x="0" y="240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59" name="Freeform 296"/>
              <p:cNvSpPr>
                <a:spLocks/>
              </p:cNvSpPr>
              <p:nvPr/>
            </p:nvSpPr>
            <p:spPr bwMode="auto">
              <a:xfrm>
                <a:off x="12272963" y="-27744738"/>
                <a:ext cx="473075" cy="641350"/>
              </a:xfrm>
              <a:custGeom>
                <a:avLst/>
                <a:gdLst/>
                <a:ahLst/>
                <a:cxnLst>
                  <a:cxn ang="0">
                    <a:pos x="107" y="0"/>
                  </a:cxn>
                  <a:cxn ang="0">
                    <a:pos x="167" y="23"/>
                  </a:cxn>
                  <a:cxn ang="0">
                    <a:pos x="202" y="95"/>
                  </a:cxn>
                  <a:cxn ang="0">
                    <a:pos x="274" y="190"/>
                  </a:cxn>
                  <a:cxn ang="0">
                    <a:pos x="298" y="297"/>
                  </a:cxn>
                  <a:cxn ang="0">
                    <a:pos x="286" y="332"/>
                  </a:cxn>
                  <a:cxn ang="0">
                    <a:pos x="250" y="344"/>
                  </a:cxn>
                  <a:cxn ang="0">
                    <a:pos x="226" y="368"/>
                  </a:cxn>
                  <a:cxn ang="0">
                    <a:pos x="214" y="404"/>
                  </a:cxn>
                  <a:cxn ang="0">
                    <a:pos x="191" y="404"/>
                  </a:cxn>
                  <a:cxn ang="0">
                    <a:pos x="143" y="392"/>
                  </a:cxn>
                  <a:cxn ang="0">
                    <a:pos x="131" y="368"/>
                  </a:cxn>
                  <a:cxn ang="0">
                    <a:pos x="131" y="332"/>
                  </a:cxn>
                  <a:cxn ang="0">
                    <a:pos x="84" y="285"/>
                  </a:cxn>
                  <a:cxn ang="0">
                    <a:pos x="84" y="261"/>
                  </a:cxn>
                  <a:cxn ang="0">
                    <a:pos x="48" y="202"/>
                  </a:cxn>
                  <a:cxn ang="0">
                    <a:pos x="60" y="106"/>
                  </a:cxn>
                  <a:cxn ang="0">
                    <a:pos x="48" y="71"/>
                  </a:cxn>
                  <a:cxn ang="0">
                    <a:pos x="12" y="59"/>
                  </a:cxn>
                  <a:cxn ang="0">
                    <a:pos x="0" y="35"/>
                  </a:cxn>
                  <a:cxn ang="0">
                    <a:pos x="12" y="11"/>
                  </a:cxn>
                  <a:cxn ang="0">
                    <a:pos x="60" y="0"/>
                  </a:cxn>
                  <a:cxn ang="0">
                    <a:pos x="107" y="0"/>
                  </a:cxn>
                </a:cxnLst>
                <a:rect l="0" t="0" r="r" b="b"/>
                <a:pathLst>
                  <a:path w="298" h="404">
                    <a:moveTo>
                      <a:pt x="107" y="0"/>
                    </a:moveTo>
                    <a:lnTo>
                      <a:pt x="167" y="23"/>
                    </a:lnTo>
                    <a:lnTo>
                      <a:pt x="202" y="95"/>
                    </a:lnTo>
                    <a:lnTo>
                      <a:pt x="274" y="190"/>
                    </a:lnTo>
                    <a:lnTo>
                      <a:pt x="298" y="297"/>
                    </a:lnTo>
                    <a:lnTo>
                      <a:pt x="286" y="332"/>
                    </a:lnTo>
                    <a:lnTo>
                      <a:pt x="250" y="344"/>
                    </a:lnTo>
                    <a:lnTo>
                      <a:pt x="226" y="368"/>
                    </a:lnTo>
                    <a:lnTo>
                      <a:pt x="214" y="404"/>
                    </a:lnTo>
                    <a:lnTo>
                      <a:pt x="191" y="404"/>
                    </a:lnTo>
                    <a:lnTo>
                      <a:pt x="143" y="392"/>
                    </a:lnTo>
                    <a:lnTo>
                      <a:pt x="131" y="368"/>
                    </a:lnTo>
                    <a:lnTo>
                      <a:pt x="131" y="332"/>
                    </a:lnTo>
                    <a:lnTo>
                      <a:pt x="84" y="285"/>
                    </a:lnTo>
                    <a:lnTo>
                      <a:pt x="84" y="261"/>
                    </a:lnTo>
                    <a:lnTo>
                      <a:pt x="48" y="202"/>
                    </a:lnTo>
                    <a:lnTo>
                      <a:pt x="60" y="106"/>
                    </a:lnTo>
                    <a:lnTo>
                      <a:pt x="48" y="71"/>
                    </a:lnTo>
                    <a:lnTo>
                      <a:pt x="12" y="59"/>
                    </a:lnTo>
                    <a:lnTo>
                      <a:pt x="0" y="35"/>
                    </a:lnTo>
                    <a:lnTo>
                      <a:pt x="12" y="11"/>
                    </a:lnTo>
                    <a:lnTo>
                      <a:pt x="60" y="0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60" name="Freeform 298"/>
              <p:cNvSpPr>
                <a:spLocks/>
              </p:cNvSpPr>
              <p:nvPr/>
            </p:nvSpPr>
            <p:spPr bwMode="auto">
              <a:xfrm>
                <a:off x="12877800" y="-27103388"/>
                <a:ext cx="74613" cy="55563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47" y="11"/>
                  </a:cxn>
                  <a:cxn ang="0">
                    <a:pos x="47" y="35"/>
                  </a:cxn>
                  <a:cxn ang="0">
                    <a:pos x="23" y="35"/>
                  </a:cxn>
                  <a:cxn ang="0">
                    <a:pos x="0" y="11"/>
                  </a:cxn>
                  <a:cxn ang="0">
                    <a:pos x="0" y="0"/>
                  </a:cxn>
                  <a:cxn ang="0">
                    <a:pos x="23" y="0"/>
                  </a:cxn>
                </a:cxnLst>
                <a:rect l="0" t="0" r="r" b="b"/>
                <a:pathLst>
                  <a:path w="47" h="35">
                    <a:moveTo>
                      <a:pt x="23" y="0"/>
                    </a:moveTo>
                    <a:lnTo>
                      <a:pt x="47" y="11"/>
                    </a:lnTo>
                    <a:lnTo>
                      <a:pt x="47" y="35"/>
                    </a:lnTo>
                    <a:lnTo>
                      <a:pt x="23" y="35"/>
                    </a:lnTo>
                    <a:lnTo>
                      <a:pt x="0" y="11"/>
                    </a:lnTo>
                    <a:lnTo>
                      <a:pt x="0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61" name="Freeform 300"/>
              <p:cNvSpPr>
                <a:spLocks/>
              </p:cNvSpPr>
              <p:nvPr/>
            </p:nvSpPr>
            <p:spPr bwMode="auto">
              <a:xfrm>
                <a:off x="12801600" y="-25293638"/>
                <a:ext cx="528638" cy="339725"/>
              </a:xfrm>
              <a:custGeom>
                <a:avLst/>
                <a:gdLst/>
                <a:ahLst/>
                <a:cxnLst>
                  <a:cxn ang="0">
                    <a:pos x="309" y="0"/>
                  </a:cxn>
                  <a:cxn ang="0">
                    <a:pos x="333" y="12"/>
                  </a:cxn>
                  <a:cxn ang="0">
                    <a:pos x="333" y="24"/>
                  </a:cxn>
                  <a:cxn ang="0">
                    <a:pos x="333" y="48"/>
                  </a:cxn>
                  <a:cxn ang="0">
                    <a:pos x="297" y="72"/>
                  </a:cxn>
                  <a:cxn ang="0">
                    <a:pos x="262" y="119"/>
                  </a:cxn>
                  <a:cxn ang="0">
                    <a:pos x="250" y="155"/>
                  </a:cxn>
                  <a:cxn ang="0">
                    <a:pos x="226" y="167"/>
                  </a:cxn>
                  <a:cxn ang="0">
                    <a:pos x="202" y="191"/>
                  </a:cxn>
                  <a:cxn ang="0">
                    <a:pos x="167" y="214"/>
                  </a:cxn>
                  <a:cxn ang="0">
                    <a:pos x="107" y="202"/>
                  </a:cxn>
                  <a:cxn ang="0">
                    <a:pos x="24" y="214"/>
                  </a:cxn>
                  <a:cxn ang="0">
                    <a:pos x="0" y="202"/>
                  </a:cxn>
                  <a:cxn ang="0">
                    <a:pos x="0" y="167"/>
                  </a:cxn>
                  <a:cxn ang="0">
                    <a:pos x="0" y="119"/>
                  </a:cxn>
                  <a:cxn ang="0">
                    <a:pos x="0" y="95"/>
                  </a:cxn>
                  <a:cxn ang="0">
                    <a:pos x="71" y="36"/>
                  </a:cxn>
                  <a:cxn ang="0">
                    <a:pos x="95" y="36"/>
                  </a:cxn>
                  <a:cxn ang="0">
                    <a:pos x="250" y="48"/>
                  </a:cxn>
                  <a:cxn ang="0">
                    <a:pos x="274" y="36"/>
                  </a:cxn>
                  <a:cxn ang="0">
                    <a:pos x="309" y="0"/>
                  </a:cxn>
                </a:cxnLst>
                <a:rect l="0" t="0" r="r" b="b"/>
                <a:pathLst>
                  <a:path w="333" h="214">
                    <a:moveTo>
                      <a:pt x="309" y="0"/>
                    </a:moveTo>
                    <a:lnTo>
                      <a:pt x="333" y="12"/>
                    </a:lnTo>
                    <a:lnTo>
                      <a:pt x="333" y="24"/>
                    </a:lnTo>
                    <a:lnTo>
                      <a:pt x="333" y="48"/>
                    </a:lnTo>
                    <a:lnTo>
                      <a:pt x="297" y="72"/>
                    </a:lnTo>
                    <a:lnTo>
                      <a:pt x="262" y="119"/>
                    </a:lnTo>
                    <a:lnTo>
                      <a:pt x="250" y="155"/>
                    </a:lnTo>
                    <a:lnTo>
                      <a:pt x="226" y="167"/>
                    </a:lnTo>
                    <a:lnTo>
                      <a:pt x="202" y="191"/>
                    </a:lnTo>
                    <a:lnTo>
                      <a:pt x="167" y="214"/>
                    </a:lnTo>
                    <a:lnTo>
                      <a:pt x="107" y="202"/>
                    </a:lnTo>
                    <a:lnTo>
                      <a:pt x="24" y="214"/>
                    </a:lnTo>
                    <a:lnTo>
                      <a:pt x="0" y="202"/>
                    </a:lnTo>
                    <a:lnTo>
                      <a:pt x="0" y="167"/>
                    </a:lnTo>
                    <a:lnTo>
                      <a:pt x="0" y="119"/>
                    </a:lnTo>
                    <a:lnTo>
                      <a:pt x="0" y="95"/>
                    </a:lnTo>
                    <a:lnTo>
                      <a:pt x="71" y="36"/>
                    </a:lnTo>
                    <a:lnTo>
                      <a:pt x="95" y="36"/>
                    </a:lnTo>
                    <a:lnTo>
                      <a:pt x="250" y="48"/>
                    </a:lnTo>
                    <a:lnTo>
                      <a:pt x="274" y="36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62" name="Freeform 302"/>
              <p:cNvSpPr>
                <a:spLocks/>
              </p:cNvSpPr>
              <p:nvPr/>
            </p:nvSpPr>
            <p:spPr bwMode="auto">
              <a:xfrm>
                <a:off x="13198475" y="-25538113"/>
                <a:ext cx="244475" cy="169863"/>
              </a:xfrm>
              <a:custGeom>
                <a:avLst/>
                <a:gdLst/>
                <a:ahLst/>
                <a:cxnLst>
                  <a:cxn ang="0">
                    <a:pos x="119" y="0"/>
                  </a:cxn>
                  <a:cxn ang="0">
                    <a:pos x="142" y="0"/>
                  </a:cxn>
                  <a:cxn ang="0">
                    <a:pos x="154" y="36"/>
                  </a:cxn>
                  <a:cxn ang="0">
                    <a:pos x="142" y="71"/>
                  </a:cxn>
                  <a:cxn ang="0">
                    <a:pos x="107" y="95"/>
                  </a:cxn>
                  <a:cxn ang="0">
                    <a:pos x="59" y="107"/>
                  </a:cxn>
                  <a:cxn ang="0">
                    <a:pos x="12" y="107"/>
                  </a:cxn>
                  <a:cxn ang="0">
                    <a:pos x="0" y="95"/>
                  </a:cxn>
                  <a:cxn ang="0">
                    <a:pos x="59" y="12"/>
                  </a:cxn>
                  <a:cxn ang="0">
                    <a:pos x="83" y="0"/>
                  </a:cxn>
                  <a:cxn ang="0">
                    <a:pos x="119" y="0"/>
                  </a:cxn>
                </a:cxnLst>
                <a:rect l="0" t="0" r="r" b="b"/>
                <a:pathLst>
                  <a:path w="154" h="107">
                    <a:moveTo>
                      <a:pt x="119" y="0"/>
                    </a:moveTo>
                    <a:lnTo>
                      <a:pt x="142" y="0"/>
                    </a:lnTo>
                    <a:lnTo>
                      <a:pt x="154" y="36"/>
                    </a:lnTo>
                    <a:lnTo>
                      <a:pt x="142" y="71"/>
                    </a:lnTo>
                    <a:lnTo>
                      <a:pt x="107" y="95"/>
                    </a:lnTo>
                    <a:lnTo>
                      <a:pt x="59" y="107"/>
                    </a:lnTo>
                    <a:lnTo>
                      <a:pt x="12" y="107"/>
                    </a:lnTo>
                    <a:lnTo>
                      <a:pt x="0" y="95"/>
                    </a:lnTo>
                    <a:lnTo>
                      <a:pt x="59" y="12"/>
                    </a:lnTo>
                    <a:lnTo>
                      <a:pt x="83" y="0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</p:grpSp>
        <p:grpSp>
          <p:nvGrpSpPr>
            <p:cNvPr id="35" name="Group 656"/>
            <p:cNvGrpSpPr/>
            <p:nvPr/>
          </p:nvGrpSpPr>
          <p:grpSpPr>
            <a:xfrm>
              <a:off x="15801975" y="-21558250"/>
              <a:ext cx="13149263" cy="17602200"/>
              <a:chOff x="15801975" y="-21558250"/>
              <a:chExt cx="13149263" cy="17602200"/>
            </a:xfrm>
            <a:grpFill/>
          </p:grpSpPr>
          <p:sp>
            <p:nvSpPr>
              <p:cNvPr id="40" name="Freeform 280"/>
              <p:cNvSpPr>
                <a:spLocks/>
              </p:cNvSpPr>
              <p:nvPr/>
            </p:nvSpPr>
            <p:spPr bwMode="auto">
              <a:xfrm>
                <a:off x="22602827" y="-20916900"/>
                <a:ext cx="74609" cy="170254"/>
              </a:xfrm>
              <a:custGeom>
                <a:avLst/>
                <a:gdLst>
                  <a:gd name="connsiteX0" fmla="*/ 6429 w 10000"/>
                  <a:gd name="connsiteY0" fmla="*/ 9019 h 10164"/>
                  <a:gd name="connsiteX1" fmla="*/ 10000 w 10000"/>
                  <a:gd name="connsiteY1" fmla="*/ 5607 h 10164"/>
                  <a:gd name="connsiteX2" fmla="*/ 10000 w 10000"/>
                  <a:gd name="connsiteY2" fmla="*/ 1121 h 10164"/>
                  <a:gd name="connsiteX3" fmla="*/ 6857 w 10000"/>
                  <a:gd name="connsiteY3" fmla="*/ 0 h 10164"/>
                  <a:gd name="connsiteX4" fmla="*/ 3429 w 10000"/>
                  <a:gd name="connsiteY4" fmla="*/ 0 h 10164"/>
                  <a:gd name="connsiteX5" fmla="*/ 0 w 10000"/>
                  <a:gd name="connsiteY5" fmla="*/ 4486 h 10164"/>
                  <a:gd name="connsiteX6" fmla="*/ 0 w 10000"/>
                  <a:gd name="connsiteY6" fmla="*/ 10000 h 10164"/>
                  <a:gd name="connsiteX7" fmla="*/ 3429 w 10000"/>
                  <a:gd name="connsiteY7" fmla="*/ 10000 h 10164"/>
                  <a:gd name="connsiteX8" fmla="*/ 6429 w 10000"/>
                  <a:gd name="connsiteY8" fmla="*/ 9019 h 10164"/>
                  <a:gd name="connsiteX0" fmla="*/ 8143 w 11714"/>
                  <a:gd name="connsiteY0" fmla="*/ 9019 h 10023"/>
                  <a:gd name="connsiteX1" fmla="*/ 11714 w 11714"/>
                  <a:gd name="connsiteY1" fmla="*/ 5607 h 10023"/>
                  <a:gd name="connsiteX2" fmla="*/ 11714 w 11714"/>
                  <a:gd name="connsiteY2" fmla="*/ 1121 h 10023"/>
                  <a:gd name="connsiteX3" fmla="*/ 8571 w 11714"/>
                  <a:gd name="connsiteY3" fmla="*/ 0 h 10023"/>
                  <a:gd name="connsiteX4" fmla="*/ 5143 w 11714"/>
                  <a:gd name="connsiteY4" fmla="*/ 0 h 10023"/>
                  <a:gd name="connsiteX5" fmla="*/ 1714 w 11714"/>
                  <a:gd name="connsiteY5" fmla="*/ 4486 h 10023"/>
                  <a:gd name="connsiteX6" fmla="*/ 0 w 11714"/>
                  <a:gd name="connsiteY6" fmla="*/ 9159 h 10023"/>
                  <a:gd name="connsiteX7" fmla="*/ 5143 w 11714"/>
                  <a:gd name="connsiteY7" fmla="*/ 10000 h 10023"/>
                  <a:gd name="connsiteX8" fmla="*/ 8143 w 11714"/>
                  <a:gd name="connsiteY8" fmla="*/ 9019 h 10023"/>
                  <a:gd name="connsiteX0" fmla="*/ 8143 w 13428"/>
                  <a:gd name="connsiteY0" fmla="*/ 9019 h 10023"/>
                  <a:gd name="connsiteX1" fmla="*/ 13428 w 13428"/>
                  <a:gd name="connsiteY1" fmla="*/ 5607 h 10023"/>
                  <a:gd name="connsiteX2" fmla="*/ 11714 w 13428"/>
                  <a:gd name="connsiteY2" fmla="*/ 1121 h 10023"/>
                  <a:gd name="connsiteX3" fmla="*/ 8571 w 13428"/>
                  <a:gd name="connsiteY3" fmla="*/ 0 h 10023"/>
                  <a:gd name="connsiteX4" fmla="*/ 5143 w 13428"/>
                  <a:gd name="connsiteY4" fmla="*/ 0 h 10023"/>
                  <a:gd name="connsiteX5" fmla="*/ 1714 w 13428"/>
                  <a:gd name="connsiteY5" fmla="*/ 4486 h 10023"/>
                  <a:gd name="connsiteX6" fmla="*/ 0 w 13428"/>
                  <a:gd name="connsiteY6" fmla="*/ 9159 h 10023"/>
                  <a:gd name="connsiteX7" fmla="*/ 5143 w 13428"/>
                  <a:gd name="connsiteY7" fmla="*/ 10000 h 10023"/>
                  <a:gd name="connsiteX8" fmla="*/ 8143 w 13428"/>
                  <a:gd name="connsiteY8" fmla="*/ 9019 h 10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428" h="10023">
                    <a:moveTo>
                      <a:pt x="8143" y="9019"/>
                    </a:moveTo>
                    <a:lnTo>
                      <a:pt x="13428" y="5607"/>
                    </a:lnTo>
                    <a:lnTo>
                      <a:pt x="11714" y="1121"/>
                    </a:lnTo>
                    <a:lnTo>
                      <a:pt x="8571" y="0"/>
                    </a:lnTo>
                    <a:lnTo>
                      <a:pt x="5143" y="0"/>
                    </a:lnTo>
                    <a:lnTo>
                      <a:pt x="1714" y="4486"/>
                    </a:lnTo>
                    <a:lnTo>
                      <a:pt x="0" y="9159"/>
                    </a:lnTo>
                    <a:cubicBezTo>
                      <a:pt x="1143" y="9159"/>
                      <a:pt x="3786" y="10023"/>
                      <a:pt x="5143" y="10000"/>
                    </a:cubicBezTo>
                    <a:cubicBezTo>
                      <a:pt x="6500" y="9977"/>
                      <a:pt x="7143" y="9346"/>
                      <a:pt x="8143" y="9019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41" name="Freeform 258"/>
              <p:cNvSpPr>
                <a:spLocks/>
              </p:cNvSpPr>
              <p:nvPr/>
            </p:nvSpPr>
            <p:spPr bwMode="auto">
              <a:xfrm>
                <a:off x="15801975" y="-21463000"/>
                <a:ext cx="13149263" cy="17506950"/>
              </a:xfrm>
              <a:custGeom>
                <a:avLst/>
                <a:gdLst/>
                <a:ahLst/>
                <a:cxnLst>
                  <a:cxn ang="0">
                    <a:pos x="7950" y="2127"/>
                  </a:cxn>
                  <a:cxn ang="0">
                    <a:pos x="7558" y="2032"/>
                  </a:cxn>
                  <a:cxn ang="0">
                    <a:pos x="6536" y="1545"/>
                  </a:cxn>
                  <a:cxn ang="0">
                    <a:pos x="6310" y="1723"/>
                  </a:cxn>
                  <a:cxn ang="0">
                    <a:pos x="6108" y="1735"/>
                  </a:cxn>
                  <a:cxn ang="0">
                    <a:pos x="5763" y="1842"/>
                  </a:cxn>
                  <a:cxn ang="0">
                    <a:pos x="5371" y="2115"/>
                  </a:cxn>
                  <a:cxn ang="0">
                    <a:pos x="5371" y="1925"/>
                  </a:cxn>
                  <a:cxn ang="0">
                    <a:pos x="5585" y="1568"/>
                  </a:cxn>
                  <a:cxn ang="0">
                    <a:pos x="5169" y="1984"/>
                  </a:cxn>
                  <a:cxn ang="0">
                    <a:pos x="4741" y="2638"/>
                  </a:cxn>
                  <a:cxn ang="0">
                    <a:pos x="4706" y="2614"/>
                  </a:cxn>
                  <a:cxn ang="0">
                    <a:pos x="4860" y="2068"/>
                  </a:cxn>
                  <a:cxn ang="0">
                    <a:pos x="5015" y="1640"/>
                  </a:cxn>
                  <a:cxn ang="0">
                    <a:pos x="4967" y="1331"/>
                  </a:cxn>
                  <a:cxn ang="0">
                    <a:pos x="4836" y="1438"/>
                  </a:cxn>
                  <a:cxn ang="0">
                    <a:pos x="5086" y="1129"/>
                  </a:cxn>
                  <a:cxn ang="0">
                    <a:pos x="4908" y="927"/>
                  </a:cxn>
                  <a:cxn ang="0">
                    <a:pos x="4777" y="867"/>
                  </a:cxn>
                  <a:cxn ang="0">
                    <a:pos x="4551" y="582"/>
                  </a:cxn>
                  <a:cxn ang="0">
                    <a:pos x="4409" y="618"/>
                  </a:cxn>
                  <a:cxn ang="0">
                    <a:pos x="4242" y="463"/>
                  </a:cxn>
                  <a:cxn ang="0">
                    <a:pos x="4171" y="903"/>
                  </a:cxn>
                  <a:cxn ang="0">
                    <a:pos x="4112" y="820"/>
                  </a:cxn>
                  <a:cxn ang="0">
                    <a:pos x="3945" y="451"/>
                  </a:cxn>
                  <a:cxn ang="0">
                    <a:pos x="3933" y="249"/>
                  </a:cxn>
                  <a:cxn ang="0">
                    <a:pos x="3743" y="273"/>
                  </a:cxn>
                  <a:cxn ang="0">
                    <a:pos x="3601" y="309"/>
                  </a:cxn>
                  <a:cxn ang="0">
                    <a:pos x="3660" y="119"/>
                  </a:cxn>
                  <a:cxn ang="0">
                    <a:pos x="3458" y="107"/>
                  </a:cxn>
                  <a:cxn ang="0">
                    <a:pos x="3375" y="107"/>
                  </a:cxn>
                  <a:cxn ang="0">
                    <a:pos x="3220" y="12"/>
                  </a:cxn>
                  <a:cxn ang="0">
                    <a:pos x="3042" y="630"/>
                  </a:cxn>
                  <a:cxn ang="0">
                    <a:pos x="2971" y="974"/>
                  </a:cxn>
                  <a:cxn ang="0">
                    <a:pos x="2709" y="1473"/>
                  </a:cxn>
                  <a:cxn ang="0">
                    <a:pos x="2472" y="1889"/>
                  </a:cxn>
                  <a:cxn ang="0">
                    <a:pos x="2412" y="2163"/>
                  </a:cxn>
                  <a:cxn ang="0">
                    <a:pos x="2293" y="2495"/>
                  </a:cxn>
                  <a:cxn ang="0">
                    <a:pos x="1984" y="2935"/>
                  </a:cxn>
                  <a:cxn ang="0">
                    <a:pos x="1354" y="4040"/>
                  </a:cxn>
                  <a:cxn ang="0">
                    <a:pos x="321" y="4896"/>
                  </a:cxn>
                  <a:cxn ang="0">
                    <a:pos x="1438" y="5466"/>
                  </a:cxn>
                  <a:cxn ang="0">
                    <a:pos x="1093" y="7285"/>
                  </a:cxn>
                  <a:cxn ang="0">
                    <a:pos x="1497" y="7760"/>
                  </a:cxn>
                  <a:cxn ang="0">
                    <a:pos x="1996" y="8330"/>
                  </a:cxn>
                  <a:cxn ang="0">
                    <a:pos x="2531" y="8627"/>
                  </a:cxn>
                  <a:cxn ang="0">
                    <a:pos x="1961" y="9590"/>
                  </a:cxn>
                  <a:cxn ang="0">
                    <a:pos x="2329" y="10386"/>
                  </a:cxn>
                  <a:cxn ang="0">
                    <a:pos x="2626" y="10850"/>
                  </a:cxn>
                  <a:cxn ang="0">
                    <a:pos x="3303" y="10398"/>
                  </a:cxn>
                  <a:cxn ang="0">
                    <a:pos x="3185" y="9305"/>
                  </a:cxn>
                  <a:cxn ang="0">
                    <a:pos x="3791" y="8010"/>
                  </a:cxn>
                  <a:cxn ang="0">
                    <a:pos x="4682" y="7558"/>
                  </a:cxn>
                  <a:cxn ang="0">
                    <a:pos x="5442" y="6892"/>
                  </a:cxn>
                  <a:cxn ang="0">
                    <a:pos x="6453" y="6857"/>
                  </a:cxn>
                  <a:cxn ang="0">
                    <a:pos x="6880" y="6227"/>
                  </a:cxn>
                  <a:cxn ang="0">
                    <a:pos x="6655" y="5502"/>
                  </a:cxn>
                  <a:cxn ang="0">
                    <a:pos x="6999" y="4872"/>
                  </a:cxn>
                  <a:cxn ang="0">
                    <a:pos x="6952" y="4112"/>
                  </a:cxn>
                  <a:cxn ang="0">
                    <a:pos x="7118" y="3422"/>
                  </a:cxn>
                  <a:cxn ang="0">
                    <a:pos x="7451" y="2911"/>
                  </a:cxn>
                  <a:cxn ang="0">
                    <a:pos x="7902" y="2697"/>
                  </a:cxn>
                  <a:cxn ang="0">
                    <a:pos x="8259" y="2246"/>
                  </a:cxn>
                </a:cxnLst>
                <a:rect l="0" t="0" r="r" b="b"/>
                <a:pathLst>
                  <a:path w="8283" h="11028">
                    <a:moveTo>
                      <a:pt x="8259" y="2056"/>
                    </a:moveTo>
                    <a:lnTo>
                      <a:pt x="8259" y="2056"/>
                    </a:lnTo>
                    <a:lnTo>
                      <a:pt x="8247" y="2008"/>
                    </a:lnTo>
                    <a:lnTo>
                      <a:pt x="8211" y="1984"/>
                    </a:lnTo>
                    <a:lnTo>
                      <a:pt x="8128" y="2008"/>
                    </a:lnTo>
                    <a:lnTo>
                      <a:pt x="8057" y="1996"/>
                    </a:lnTo>
                    <a:lnTo>
                      <a:pt x="8045" y="2032"/>
                    </a:lnTo>
                    <a:lnTo>
                      <a:pt x="8045" y="2056"/>
                    </a:lnTo>
                    <a:lnTo>
                      <a:pt x="8033" y="2091"/>
                    </a:lnTo>
                    <a:lnTo>
                      <a:pt x="8009" y="2056"/>
                    </a:lnTo>
                    <a:lnTo>
                      <a:pt x="7974" y="1961"/>
                    </a:lnTo>
                    <a:lnTo>
                      <a:pt x="7902" y="1961"/>
                    </a:lnTo>
                    <a:lnTo>
                      <a:pt x="7819" y="1949"/>
                    </a:lnTo>
                    <a:lnTo>
                      <a:pt x="7938" y="2044"/>
                    </a:lnTo>
                    <a:lnTo>
                      <a:pt x="7998" y="2115"/>
                    </a:lnTo>
                    <a:lnTo>
                      <a:pt x="7974" y="2127"/>
                    </a:lnTo>
                    <a:lnTo>
                      <a:pt x="7950" y="2127"/>
                    </a:lnTo>
                    <a:lnTo>
                      <a:pt x="7914" y="2115"/>
                    </a:lnTo>
                    <a:lnTo>
                      <a:pt x="7926" y="2091"/>
                    </a:lnTo>
                    <a:lnTo>
                      <a:pt x="7926" y="2068"/>
                    </a:lnTo>
                    <a:lnTo>
                      <a:pt x="7843" y="1984"/>
                    </a:lnTo>
                    <a:lnTo>
                      <a:pt x="7795" y="1961"/>
                    </a:lnTo>
                    <a:lnTo>
                      <a:pt x="7772" y="1937"/>
                    </a:lnTo>
                    <a:lnTo>
                      <a:pt x="7760" y="1937"/>
                    </a:lnTo>
                    <a:lnTo>
                      <a:pt x="7748" y="1996"/>
                    </a:lnTo>
                    <a:lnTo>
                      <a:pt x="7831" y="2056"/>
                    </a:lnTo>
                    <a:lnTo>
                      <a:pt x="7879" y="2103"/>
                    </a:lnTo>
                    <a:lnTo>
                      <a:pt x="7784" y="2091"/>
                    </a:lnTo>
                    <a:lnTo>
                      <a:pt x="7677" y="2008"/>
                    </a:lnTo>
                    <a:lnTo>
                      <a:pt x="7617" y="2008"/>
                    </a:lnTo>
                    <a:lnTo>
                      <a:pt x="7570" y="1984"/>
                    </a:lnTo>
                    <a:lnTo>
                      <a:pt x="7498" y="1973"/>
                    </a:lnTo>
                    <a:lnTo>
                      <a:pt x="7498" y="1996"/>
                    </a:lnTo>
                    <a:lnTo>
                      <a:pt x="7558" y="2032"/>
                    </a:lnTo>
                    <a:lnTo>
                      <a:pt x="7582" y="2056"/>
                    </a:lnTo>
                    <a:lnTo>
                      <a:pt x="7582" y="2068"/>
                    </a:lnTo>
                    <a:lnTo>
                      <a:pt x="7570" y="2079"/>
                    </a:lnTo>
                    <a:lnTo>
                      <a:pt x="7498" y="2020"/>
                    </a:lnTo>
                    <a:lnTo>
                      <a:pt x="7451" y="2008"/>
                    </a:lnTo>
                    <a:lnTo>
                      <a:pt x="7415" y="1973"/>
                    </a:lnTo>
                    <a:lnTo>
                      <a:pt x="7368" y="1949"/>
                    </a:lnTo>
                    <a:lnTo>
                      <a:pt x="7261" y="1877"/>
                    </a:lnTo>
                    <a:lnTo>
                      <a:pt x="7189" y="1794"/>
                    </a:lnTo>
                    <a:lnTo>
                      <a:pt x="7166" y="1782"/>
                    </a:lnTo>
                    <a:lnTo>
                      <a:pt x="7118" y="1794"/>
                    </a:lnTo>
                    <a:lnTo>
                      <a:pt x="7059" y="1782"/>
                    </a:lnTo>
                    <a:lnTo>
                      <a:pt x="6976" y="1747"/>
                    </a:lnTo>
                    <a:lnTo>
                      <a:pt x="6869" y="1675"/>
                    </a:lnTo>
                    <a:lnTo>
                      <a:pt x="6785" y="1652"/>
                    </a:lnTo>
                    <a:lnTo>
                      <a:pt x="6702" y="1604"/>
                    </a:lnTo>
                    <a:lnTo>
                      <a:pt x="6536" y="1545"/>
                    </a:lnTo>
                    <a:lnTo>
                      <a:pt x="6417" y="1509"/>
                    </a:lnTo>
                    <a:lnTo>
                      <a:pt x="6405" y="1521"/>
                    </a:lnTo>
                    <a:lnTo>
                      <a:pt x="6429" y="1545"/>
                    </a:lnTo>
                    <a:lnTo>
                      <a:pt x="6429" y="1557"/>
                    </a:lnTo>
                    <a:lnTo>
                      <a:pt x="6393" y="1557"/>
                    </a:lnTo>
                    <a:lnTo>
                      <a:pt x="6334" y="1521"/>
                    </a:lnTo>
                    <a:lnTo>
                      <a:pt x="6298" y="1533"/>
                    </a:lnTo>
                    <a:lnTo>
                      <a:pt x="6274" y="1557"/>
                    </a:lnTo>
                    <a:lnTo>
                      <a:pt x="6274" y="1568"/>
                    </a:lnTo>
                    <a:lnTo>
                      <a:pt x="6286" y="1580"/>
                    </a:lnTo>
                    <a:lnTo>
                      <a:pt x="6358" y="1640"/>
                    </a:lnTo>
                    <a:lnTo>
                      <a:pt x="6358" y="1652"/>
                    </a:lnTo>
                    <a:lnTo>
                      <a:pt x="6310" y="1652"/>
                    </a:lnTo>
                    <a:lnTo>
                      <a:pt x="6274" y="1604"/>
                    </a:lnTo>
                    <a:lnTo>
                      <a:pt x="6262" y="1604"/>
                    </a:lnTo>
                    <a:lnTo>
                      <a:pt x="6286" y="1675"/>
                    </a:lnTo>
                    <a:lnTo>
                      <a:pt x="6310" y="1723"/>
                    </a:lnTo>
                    <a:lnTo>
                      <a:pt x="6322" y="1759"/>
                    </a:lnTo>
                    <a:lnTo>
                      <a:pt x="6310" y="1782"/>
                    </a:lnTo>
                    <a:lnTo>
                      <a:pt x="6286" y="1782"/>
                    </a:lnTo>
                    <a:lnTo>
                      <a:pt x="6286" y="1723"/>
                    </a:lnTo>
                    <a:lnTo>
                      <a:pt x="6274" y="1735"/>
                    </a:lnTo>
                    <a:lnTo>
                      <a:pt x="6251" y="1771"/>
                    </a:lnTo>
                    <a:lnTo>
                      <a:pt x="6227" y="1759"/>
                    </a:lnTo>
                    <a:lnTo>
                      <a:pt x="6227" y="1699"/>
                    </a:lnTo>
                    <a:lnTo>
                      <a:pt x="6215" y="1687"/>
                    </a:lnTo>
                    <a:lnTo>
                      <a:pt x="6227" y="1616"/>
                    </a:lnTo>
                    <a:lnTo>
                      <a:pt x="6203" y="1604"/>
                    </a:lnTo>
                    <a:lnTo>
                      <a:pt x="6179" y="1604"/>
                    </a:lnTo>
                    <a:lnTo>
                      <a:pt x="6156" y="1616"/>
                    </a:lnTo>
                    <a:lnTo>
                      <a:pt x="6156" y="1652"/>
                    </a:lnTo>
                    <a:lnTo>
                      <a:pt x="6167" y="1687"/>
                    </a:lnTo>
                    <a:lnTo>
                      <a:pt x="6144" y="1735"/>
                    </a:lnTo>
                    <a:lnTo>
                      <a:pt x="6108" y="1735"/>
                    </a:lnTo>
                    <a:lnTo>
                      <a:pt x="6108" y="1759"/>
                    </a:lnTo>
                    <a:lnTo>
                      <a:pt x="6084" y="1782"/>
                    </a:lnTo>
                    <a:lnTo>
                      <a:pt x="6072" y="1782"/>
                    </a:lnTo>
                    <a:lnTo>
                      <a:pt x="6072" y="1723"/>
                    </a:lnTo>
                    <a:lnTo>
                      <a:pt x="6060" y="1699"/>
                    </a:lnTo>
                    <a:lnTo>
                      <a:pt x="6037" y="1699"/>
                    </a:lnTo>
                    <a:lnTo>
                      <a:pt x="6037" y="1735"/>
                    </a:lnTo>
                    <a:lnTo>
                      <a:pt x="6013" y="1735"/>
                    </a:lnTo>
                    <a:lnTo>
                      <a:pt x="6001" y="1711"/>
                    </a:lnTo>
                    <a:lnTo>
                      <a:pt x="5965" y="1711"/>
                    </a:lnTo>
                    <a:lnTo>
                      <a:pt x="5954" y="1699"/>
                    </a:lnTo>
                    <a:lnTo>
                      <a:pt x="5942" y="1723"/>
                    </a:lnTo>
                    <a:lnTo>
                      <a:pt x="5918" y="1735"/>
                    </a:lnTo>
                    <a:lnTo>
                      <a:pt x="5882" y="1771"/>
                    </a:lnTo>
                    <a:lnTo>
                      <a:pt x="5835" y="1782"/>
                    </a:lnTo>
                    <a:lnTo>
                      <a:pt x="5787" y="1842"/>
                    </a:lnTo>
                    <a:lnTo>
                      <a:pt x="5763" y="1842"/>
                    </a:lnTo>
                    <a:lnTo>
                      <a:pt x="5751" y="1830"/>
                    </a:lnTo>
                    <a:lnTo>
                      <a:pt x="5728" y="1771"/>
                    </a:lnTo>
                    <a:lnTo>
                      <a:pt x="5716" y="1782"/>
                    </a:lnTo>
                    <a:lnTo>
                      <a:pt x="5716" y="1818"/>
                    </a:lnTo>
                    <a:lnTo>
                      <a:pt x="5692" y="1830"/>
                    </a:lnTo>
                    <a:lnTo>
                      <a:pt x="5704" y="1866"/>
                    </a:lnTo>
                    <a:lnTo>
                      <a:pt x="5645" y="1877"/>
                    </a:lnTo>
                    <a:lnTo>
                      <a:pt x="5621" y="1889"/>
                    </a:lnTo>
                    <a:lnTo>
                      <a:pt x="5573" y="1949"/>
                    </a:lnTo>
                    <a:lnTo>
                      <a:pt x="5573" y="1949"/>
                    </a:lnTo>
                    <a:lnTo>
                      <a:pt x="5561" y="2008"/>
                    </a:lnTo>
                    <a:lnTo>
                      <a:pt x="5549" y="2020"/>
                    </a:lnTo>
                    <a:lnTo>
                      <a:pt x="5478" y="2008"/>
                    </a:lnTo>
                    <a:lnTo>
                      <a:pt x="5419" y="2091"/>
                    </a:lnTo>
                    <a:lnTo>
                      <a:pt x="5395" y="2127"/>
                    </a:lnTo>
                    <a:lnTo>
                      <a:pt x="5371" y="2127"/>
                    </a:lnTo>
                    <a:lnTo>
                      <a:pt x="5371" y="2115"/>
                    </a:lnTo>
                    <a:lnTo>
                      <a:pt x="5407" y="2068"/>
                    </a:lnTo>
                    <a:lnTo>
                      <a:pt x="5419" y="2044"/>
                    </a:lnTo>
                    <a:lnTo>
                      <a:pt x="5419" y="2020"/>
                    </a:lnTo>
                    <a:lnTo>
                      <a:pt x="5407" y="2008"/>
                    </a:lnTo>
                    <a:lnTo>
                      <a:pt x="5395" y="2008"/>
                    </a:lnTo>
                    <a:lnTo>
                      <a:pt x="5383" y="2020"/>
                    </a:lnTo>
                    <a:lnTo>
                      <a:pt x="5371" y="2020"/>
                    </a:lnTo>
                    <a:lnTo>
                      <a:pt x="5371" y="2068"/>
                    </a:lnTo>
                    <a:lnTo>
                      <a:pt x="5347" y="2056"/>
                    </a:lnTo>
                    <a:lnTo>
                      <a:pt x="5336" y="2044"/>
                    </a:lnTo>
                    <a:lnTo>
                      <a:pt x="5312" y="2032"/>
                    </a:lnTo>
                    <a:lnTo>
                      <a:pt x="5300" y="2068"/>
                    </a:lnTo>
                    <a:lnTo>
                      <a:pt x="5288" y="2068"/>
                    </a:lnTo>
                    <a:lnTo>
                      <a:pt x="5276" y="2044"/>
                    </a:lnTo>
                    <a:lnTo>
                      <a:pt x="5276" y="2020"/>
                    </a:lnTo>
                    <a:lnTo>
                      <a:pt x="5347" y="1973"/>
                    </a:lnTo>
                    <a:lnTo>
                      <a:pt x="5371" y="1925"/>
                    </a:lnTo>
                    <a:lnTo>
                      <a:pt x="5383" y="1913"/>
                    </a:lnTo>
                    <a:lnTo>
                      <a:pt x="5407" y="1949"/>
                    </a:lnTo>
                    <a:lnTo>
                      <a:pt x="5442" y="1937"/>
                    </a:lnTo>
                    <a:lnTo>
                      <a:pt x="5466" y="1901"/>
                    </a:lnTo>
                    <a:lnTo>
                      <a:pt x="5502" y="1854"/>
                    </a:lnTo>
                    <a:lnTo>
                      <a:pt x="5514" y="1794"/>
                    </a:lnTo>
                    <a:lnTo>
                      <a:pt x="5585" y="1771"/>
                    </a:lnTo>
                    <a:lnTo>
                      <a:pt x="5609" y="1723"/>
                    </a:lnTo>
                    <a:lnTo>
                      <a:pt x="5597" y="1687"/>
                    </a:lnTo>
                    <a:lnTo>
                      <a:pt x="5561" y="1640"/>
                    </a:lnTo>
                    <a:lnTo>
                      <a:pt x="5561" y="1628"/>
                    </a:lnTo>
                    <a:lnTo>
                      <a:pt x="5573" y="1628"/>
                    </a:lnTo>
                    <a:lnTo>
                      <a:pt x="5585" y="1640"/>
                    </a:lnTo>
                    <a:lnTo>
                      <a:pt x="5597" y="1640"/>
                    </a:lnTo>
                    <a:lnTo>
                      <a:pt x="5609" y="1628"/>
                    </a:lnTo>
                    <a:lnTo>
                      <a:pt x="5609" y="1580"/>
                    </a:lnTo>
                    <a:lnTo>
                      <a:pt x="5585" y="1568"/>
                    </a:lnTo>
                    <a:lnTo>
                      <a:pt x="5502" y="1604"/>
                    </a:lnTo>
                    <a:lnTo>
                      <a:pt x="5454" y="1628"/>
                    </a:lnTo>
                    <a:lnTo>
                      <a:pt x="5407" y="1652"/>
                    </a:lnTo>
                    <a:lnTo>
                      <a:pt x="5383" y="1664"/>
                    </a:lnTo>
                    <a:lnTo>
                      <a:pt x="5347" y="1664"/>
                    </a:lnTo>
                    <a:lnTo>
                      <a:pt x="5312" y="1675"/>
                    </a:lnTo>
                    <a:lnTo>
                      <a:pt x="5276" y="1675"/>
                    </a:lnTo>
                    <a:lnTo>
                      <a:pt x="5252" y="1711"/>
                    </a:lnTo>
                    <a:lnTo>
                      <a:pt x="5276" y="1723"/>
                    </a:lnTo>
                    <a:lnTo>
                      <a:pt x="5264" y="1747"/>
                    </a:lnTo>
                    <a:lnTo>
                      <a:pt x="5205" y="1735"/>
                    </a:lnTo>
                    <a:lnTo>
                      <a:pt x="5193" y="1747"/>
                    </a:lnTo>
                    <a:lnTo>
                      <a:pt x="5193" y="1771"/>
                    </a:lnTo>
                    <a:lnTo>
                      <a:pt x="5205" y="1866"/>
                    </a:lnTo>
                    <a:lnTo>
                      <a:pt x="5181" y="1889"/>
                    </a:lnTo>
                    <a:lnTo>
                      <a:pt x="5169" y="1925"/>
                    </a:lnTo>
                    <a:lnTo>
                      <a:pt x="5169" y="1984"/>
                    </a:lnTo>
                    <a:lnTo>
                      <a:pt x="5145" y="2020"/>
                    </a:lnTo>
                    <a:lnTo>
                      <a:pt x="5134" y="2032"/>
                    </a:lnTo>
                    <a:lnTo>
                      <a:pt x="5134" y="2127"/>
                    </a:lnTo>
                    <a:lnTo>
                      <a:pt x="5110" y="2222"/>
                    </a:lnTo>
                    <a:lnTo>
                      <a:pt x="5110" y="2234"/>
                    </a:lnTo>
                    <a:lnTo>
                      <a:pt x="5086" y="2270"/>
                    </a:lnTo>
                    <a:lnTo>
                      <a:pt x="5074" y="2282"/>
                    </a:lnTo>
                    <a:lnTo>
                      <a:pt x="4991" y="2353"/>
                    </a:lnTo>
                    <a:lnTo>
                      <a:pt x="4955" y="2412"/>
                    </a:lnTo>
                    <a:lnTo>
                      <a:pt x="4908" y="2424"/>
                    </a:lnTo>
                    <a:lnTo>
                      <a:pt x="4884" y="2460"/>
                    </a:lnTo>
                    <a:lnTo>
                      <a:pt x="4872" y="2495"/>
                    </a:lnTo>
                    <a:lnTo>
                      <a:pt x="4836" y="2531"/>
                    </a:lnTo>
                    <a:lnTo>
                      <a:pt x="4789" y="2531"/>
                    </a:lnTo>
                    <a:lnTo>
                      <a:pt x="4741" y="2543"/>
                    </a:lnTo>
                    <a:lnTo>
                      <a:pt x="4729" y="2579"/>
                    </a:lnTo>
                    <a:lnTo>
                      <a:pt x="4741" y="2638"/>
                    </a:lnTo>
                    <a:lnTo>
                      <a:pt x="4741" y="2650"/>
                    </a:lnTo>
                    <a:lnTo>
                      <a:pt x="4741" y="2662"/>
                    </a:lnTo>
                    <a:lnTo>
                      <a:pt x="4718" y="2686"/>
                    </a:lnTo>
                    <a:lnTo>
                      <a:pt x="4682" y="2674"/>
                    </a:lnTo>
                    <a:lnTo>
                      <a:pt x="4646" y="2614"/>
                    </a:lnTo>
                    <a:lnTo>
                      <a:pt x="4646" y="2614"/>
                    </a:lnTo>
                    <a:lnTo>
                      <a:pt x="4611" y="2626"/>
                    </a:lnTo>
                    <a:lnTo>
                      <a:pt x="4599" y="2638"/>
                    </a:lnTo>
                    <a:lnTo>
                      <a:pt x="4575" y="2626"/>
                    </a:lnTo>
                    <a:lnTo>
                      <a:pt x="4563" y="2614"/>
                    </a:lnTo>
                    <a:lnTo>
                      <a:pt x="4575" y="2602"/>
                    </a:lnTo>
                    <a:lnTo>
                      <a:pt x="4611" y="2602"/>
                    </a:lnTo>
                    <a:lnTo>
                      <a:pt x="4623" y="2579"/>
                    </a:lnTo>
                    <a:lnTo>
                      <a:pt x="4634" y="2579"/>
                    </a:lnTo>
                    <a:lnTo>
                      <a:pt x="4682" y="2638"/>
                    </a:lnTo>
                    <a:lnTo>
                      <a:pt x="4694" y="2650"/>
                    </a:lnTo>
                    <a:lnTo>
                      <a:pt x="4706" y="2614"/>
                    </a:lnTo>
                    <a:lnTo>
                      <a:pt x="4682" y="2555"/>
                    </a:lnTo>
                    <a:lnTo>
                      <a:pt x="4694" y="2531"/>
                    </a:lnTo>
                    <a:lnTo>
                      <a:pt x="4741" y="2507"/>
                    </a:lnTo>
                    <a:lnTo>
                      <a:pt x="4765" y="2484"/>
                    </a:lnTo>
                    <a:lnTo>
                      <a:pt x="4789" y="2472"/>
                    </a:lnTo>
                    <a:lnTo>
                      <a:pt x="4801" y="2460"/>
                    </a:lnTo>
                    <a:lnTo>
                      <a:pt x="4813" y="2448"/>
                    </a:lnTo>
                    <a:lnTo>
                      <a:pt x="4825" y="2424"/>
                    </a:lnTo>
                    <a:lnTo>
                      <a:pt x="4860" y="2412"/>
                    </a:lnTo>
                    <a:lnTo>
                      <a:pt x="4872" y="2341"/>
                    </a:lnTo>
                    <a:lnTo>
                      <a:pt x="4825" y="2317"/>
                    </a:lnTo>
                    <a:lnTo>
                      <a:pt x="4813" y="2305"/>
                    </a:lnTo>
                    <a:lnTo>
                      <a:pt x="4825" y="2198"/>
                    </a:lnTo>
                    <a:lnTo>
                      <a:pt x="4860" y="2151"/>
                    </a:lnTo>
                    <a:lnTo>
                      <a:pt x="4860" y="2139"/>
                    </a:lnTo>
                    <a:lnTo>
                      <a:pt x="4860" y="2127"/>
                    </a:lnTo>
                    <a:lnTo>
                      <a:pt x="4860" y="2068"/>
                    </a:lnTo>
                    <a:lnTo>
                      <a:pt x="4884" y="2008"/>
                    </a:lnTo>
                    <a:lnTo>
                      <a:pt x="4884" y="1961"/>
                    </a:lnTo>
                    <a:lnTo>
                      <a:pt x="4908" y="1913"/>
                    </a:lnTo>
                    <a:lnTo>
                      <a:pt x="4920" y="1854"/>
                    </a:lnTo>
                    <a:lnTo>
                      <a:pt x="4955" y="1842"/>
                    </a:lnTo>
                    <a:lnTo>
                      <a:pt x="4967" y="1830"/>
                    </a:lnTo>
                    <a:lnTo>
                      <a:pt x="4979" y="1782"/>
                    </a:lnTo>
                    <a:lnTo>
                      <a:pt x="4967" y="1771"/>
                    </a:lnTo>
                    <a:lnTo>
                      <a:pt x="4872" y="1854"/>
                    </a:lnTo>
                    <a:lnTo>
                      <a:pt x="4848" y="1842"/>
                    </a:lnTo>
                    <a:lnTo>
                      <a:pt x="4848" y="1830"/>
                    </a:lnTo>
                    <a:lnTo>
                      <a:pt x="4896" y="1794"/>
                    </a:lnTo>
                    <a:lnTo>
                      <a:pt x="4920" y="1735"/>
                    </a:lnTo>
                    <a:lnTo>
                      <a:pt x="5003" y="1711"/>
                    </a:lnTo>
                    <a:lnTo>
                      <a:pt x="5015" y="1687"/>
                    </a:lnTo>
                    <a:lnTo>
                      <a:pt x="5003" y="1652"/>
                    </a:lnTo>
                    <a:lnTo>
                      <a:pt x="5015" y="1640"/>
                    </a:lnTo>
                    <a:lnTo>
                      <a:pt x="5015" y="1604"/>
                    </a:lnTo>
                    <a:lnTo>
                      <a:pt x="5003" y="1568"/>
                    </a:lnTo>
                    <a:lnTo>
                      <a:pt x="5003" y="1557"/>
                    </a:lnTo>
                    <a:lnTo>
                      <a:pt x="5027" y="1557"/>
                    </a:lnTo>
                    <a:lnTo>
                      <a:pt x="5050" y="1592"/>
                    </a:lnTo>
                    <a:lnTo>
                      <a:pt x="5122" y="1592"/>
                    </a:lnTo>
                    <a:lnTo>
                      <a:pt x="5157" y="1580"/>
                    </a:lnTo>
                    <a:lnTo>
                      <a:pt x="5193" y="1545"/>
                    </a:lnTo>
                    <a:lnTo>
                      <a:pt x="5205" y="1497"/>
                    </a:lnTo>
                    <a:lnTo>
                      <a:pt x="5181" y="1402"/>
                    </a:lnTo>
                    <a:lnTo>
                      <a:pt x="5145" y="1343"/>
                    </a:lnTo>
                    <a:lnTo>
                      <a:pt x="5134" y="1307"/>
                    </a:lnTo>
                    <a:lnTo>
                      <a:pt x="5110" y="1283"/>
                    </a:lnTo>
                    <a:lnTo>
                      <a:pt x="5086" y="1271"/>
                    </a:lnTo>
                    <a:lnTo>
                      <a:pt x="5038" y="1271"/>
                    </a:lnTo>
                    <a:lnTo>
                      <a:pt x="4979" y="1307"/>
                    </a:lnTo>
                    <a:lnTo>
                      <a:pt x="4967" y="1331"/>
                    </a:lnTo>
                    <a:lnTo>
                      <a:pt x="4955" y="1366"/>
                    </a:lnTo>
                    <a:lnTo>
                      <a:pt x="4955" y="1366"/>
                    </a:lnTo>
                    <a:lnTo>
                      <a:pt x="4920" y="1378"/>
                    </a:lnTo>
                    <a:lnTo>
                      <a:pt x="4884" y="1438"/>
                    </a:lnTo>
                    <a:lnTo>
                      <a:pt x="4860" y="1462"/>
                    </a:lnTo>
                    <a:lnTo>
                      <a:pt x="4848" y="1485"/>
                    </a:lnTo>
                    <a:lnTo>
                      <a:pt x="4872" y="1557"/>
                    </a:lnTo>
                    <a:lnTo>
                      <a:pt x="4872" y="1568"/>
                    </a:lnTo>
                    <a:lnTo>
                      <a:pt x="4872" y="1580"/>
                    </a:lnTo>
                    <a:lnTo>
                      <a:pt x="4860" y="1604"/>
                    </a:lnTo>
                    <a:lnTo>
                      <a:pt x="4848" y="1592"/>
                    </a:lnTo>
                    <a:lnTo>
                      <a:pt x="4848" y="1568"/>
                    </a:lnTo>
                    <a:lnTo>
                      <a:pt x="4836" y="1557"/>
                    </a:lnTo>
                    <a:lnTo>
                      <a:pt x="4813" y="1545"/>
                    </a:lnTo>
                    <a:lnTo>
                      <a:pt x="4813" y="1533"/>
                    </a:lnTo>
                    <a:lnTo>
                      <a:pt x="4836" y="1438"/>
                    </a:lnTo>
                    <a:lnTo>
                      <a:pt x="4836" y="1438"/>
                    </a:lnTo>
                    <a:lnTo>
                      <a:pt x="4801" y="1450"/>
                    </a:lnTo>
                    <a:lnTo>
                      <a:pt x="4753" y="1438"/>
                    </a:lnTo>
                    <a:lnTo>
                      <a:pt x="4789" y="1426"/>
                    </a:lnTo>
                    <a:lnTo>
                      <a:pt x="4801" y="1390"/>
                    </a:lnTo>
                    <a:lnTo>
                      <a:pt x="4836" y="1390"/>
                    </a:lnTo>
                    <a:lnTo>
                      <a:pt x="4872" y="1355"/>
                    </a:lnTo>
                    <a:lnTo>
                      <a:pt x="4896" y="1343"/>
                    </a:lnTo>
                    <a:lnTo>
                      <a:pt x="4920" y="1331"/>
                    </a:lnTo>
                    <a:lnTo>
                      <a:pt x="4931" y="1319"/>
                    </a:lnTo>
                    <a:lnTo>
                      <a:pt x="4931" y="1271"/>
                    </a:lnTo>
                    <a:lnTo>
                      <a:pt x="4967" y="1248"/>
                    </a:lnTo>
                    <a:lnTo>
                      <a:pt x="4967" y="1212"/>
                    </a:lnTo>
                    <a:lnTo>
                      <a:pt x="5015" y="1200"/>
                    </a:lnTo>
                    <a:lnTo>
                      <a:pt x="5027" y="1176"/>
                    </a:lnTo>
                    <a:lnTo>
                      <a:pt x="5062" y="1164"/>
                    </a:lnTo>
                    <a:lnTo>
                      <a:pt x="5086" y="1141"/>
                    </a:lnTo>
                    <a:lnTo>
                      <a:pt x="5086" y="1129"/>
                    </a:lnTo>
                    <a:lnTo>
                      <a:pt x="5062" y="1105"/>
                    </a:lnTo>
                    <a:lnTo>
                      <a:pt x="5050" y="1057"/>
                    </a:lnTo>
                    <a:lnTo>
                      <a:pt x="5038" y="1034"/>
                    </a:lnTo>
                    <a:lnTo>
                      <a:pt x="5027" y="1022"/>
                    </a:lnTo>
                    <a:lnTo>
                      <a:pt x="5027" y="998"/>
                    </a:lnTo>
                    <a:lnTo>
                      <a:pt x="5015" y="974"/>
                    </a:lnTo>
                    <a:lnTo>
                      <a:pt x="4991" y="962"/>
                    </a:lnTo>
                    <a:lnTo>
                      <a:pt x="4955" y="986"/>
                    </a:lnTo>
                    <a:lnTo>
                      <a:pt x="4908" y="986"/>
                    </a:lnTo>
                    <a:lnTo>
                      <a:pt x="4908" y="974"/>
                    </a:lnTo>
                    <a:lnTo>
                      <a:pt x="4920" y="962"/>
                    </a:lnTo>
                    <a:lnTo>
                      <a:pt x="4991" y="939"/>
                    </a:lnTo>
                    <a:lnTo>
                      <a:pt x="5003" y="927"/>
                    </a:lnTo>
                    <a:lnTo>
                      <a:pt x="5003" y="903"/>
                    </a:lnTo>
                    <a:lnTo>
                      <a:pt x="4979" y="903"/>
                    </a:lnTo>
                    <a:lnTo>
                      <a:pt x="4943" y="927"/>
                    </a:lnTo>
                    <a:lnTo>
                      <a:pt x="4908" y="927"/>
                    </a:lnTo>
                    <a:lnTo>
                      <a:pt x="4896" y="927"/>
                    </a:lnTo>
                    <a:lnTo>
                      <a:pt x="4825" y="962"/>
                    </a:lnTo>
                    <a:lnTo>
                      <a:pt x="4801" y="962"/>
                    </a:lnTo>
                    <a:lnTo>
                      <a:pt x="4801" y="951"/>
                    </a:lnTo>
                    <a:lnTo>
                      <a:pt x="4801" y="939"/>
                    </a:lnTo>
                    <a:lnTo>
                      <a:pt x="4836" y="927"/>
                    </a:lnTo>
                    <a:lnTo>
                      <a:pt x="4872" y="879"/>
                    </a:lnTo>
                    <a:lnTo>
                      <a:pt x="4884" y="832"/>
                    </a:lnTo>
                    <a:lnTo>
                      <a:pt x="4896" y="820"/>
                    </a:lnTo>
                    <a:lnTo>
                      <a:pt x="4908" y="796"/>
                    </a:lnTo>
                    <a:lnTo>
                      <a:pt x="4884" y="772"/>
                    </a:lnTo>
                    <a:lnTo>
                      <a:pt x="4860" y="772"/>
                    </a:lnTo>
                    <a:lnTo>
                      <a:pt x="4860" y="820"/>
                    </a:lnTo>
                    <a:lnTo>
                      <a:pt x="4848" y="844"/>
                    </a:lnTo>
                    <a:lnTo>
                      <a:pt x="4836" y="867"/>
                    </a:lnTo>
                    <a:lnTo>
                      <a:pt x="4801" y="879"/>
                    </a:lnTo>
                    <a:lnTo>
                      <a:pt x="4777" y="867"/>
                    </a:lnTo>
                    <a:lnTo>
                      <a:pt x="4729" y="855"/>
                    </a:lnTo>
                    <a:lnTo>
                      <a:pt x="4718" y="844"/>
                    </a:lnTo>
                    <a:lnTo>
                      <a:pt x="4718" y="832"/>
                    </a:lnTo>
                    <a:lnTo>
                      <a:pt x="4777" y="796"/>
                    </a:lnTo>
                    <a:lnTo>
                      <a:pt x="4777" y="772"/>
                    </a:lnTo>
                    <a:lnTo>
                      <a:pt x="4729" y="760"/>
                    </a:lnTo>
                    <a:lnTo>
                      <a:pt x="4706" y="760"/>
                    </a:lnTo>
                    <a:lnTo>
                      <a:pt x="4694" y="737"/>
                    </a:lnTo>
                    <a:lnTo>
                      <a:pt x="4670" y="713"/>
                    </a:lnTo>
                    <a:lnTo>
                      <a:pt x="4670" y="713"/>
                    </a:lnTo>
                    <a:lnTo>
                      <a:pt x="4646" y="665"/>
                    </a:lnTo>
                    <a:lnTo>
                      <a:pt x="4634" y="665"/>
                    </a:lnTo>
                    <a:lnTo>
                      <a:pt x="4611" y="642"/>
                    </a:lnTo>
                    <a:lnTo>
                      <a:pt x="4575" y="642"/>
                    </a:lnTo>
                    <a:lnTo>
                      <a:pt x="4563" y="618"/>
                    </a:lnTo>
                    <a:lnTo>
                      <a:pt x="4563" y="606"/>
                    </a:lnTo>
                    <a:lnTo>
                      <a:pt x="4551" y="582"/>
                    </a:lnTo>
                    <a:lnTo>
                      <a:pt x="4563" y="558"/>
                    </a:lnTo>
                    <a:lnTo>
                      <a:pt x="4587" y="511"/>
                    </a:lnTo>
                    <a:lnTo>
                      <a:pt x="4611" y="499"/>
                    </a:lnTo>
                    <a:lnTo>
                      <a:pt x="4623" y="499"/>
                    </a:lnTo>
                    <a:lnTo>
                      <a:pt x="4634" y="463"/>
                    </a:lnTo>
                    <a:lnTo>
                      <a:pt x="4658" y="428"/>
                    </a:lnTo>
                    <a:lnTo>
                      <a:pt x="4646" y="416"/>
                    </a:lnTo>
                    <a:lnTo>
                      <a:pt x="4623" y="404"/>
                    </a:lnTo>
                    <a:lnTo>
                      <a:pt x="4611" y="440"/>
                    </a:lnTo>
                    <a:lnTo>
                      <a:pt x="4599" y="440"/>
                    </a:lnTo>
                    <a:lnTo>
                      <a:pt x="4563" y="440"/>
                    </a:lnTo>
                    <a:lnTo>
                      <a:pt x="4539" y="475"/>
                    </a:lnTo>
                    <a:lnTo>
                      <a:pt x="4504" y="511"/>
                    </a:lnTo>
                    <a:lnTo>
                      <a:pt x="4504" y="594"/>
                    </a:lnTo>
                    <a:lnTo>
                      <a:pt x="4468" y="618"/>
                    </a:lnTo>
                    <a:lnTo>
                      <a:pt x="4432" y="630"/>
                    </a:lnTo>
                    <a:lnTo>
                      <a:pt x="4409" y="618"/>
                    </a:lnTo>
                    <a:lnTo>
                      <a:pt x="4409" y="606"/>
                    </a:lnTo>
                    <a:lnTo>
                      <a:pt x="4468" y="582"/>
                    </a:lnTo>
                    <a:lnTo>
                      <a:pt x="4468" y="558"/>
                    </a:lnTo>
                    <a:lnTo>
                      <a:pt x="4432" y="546"/>
                    </a:lnTo>
                    <a:lnTo>
                      <a:pt x="4432" y="523"/>
                    </a:lnTo>
                    <a:lnTo>
                      <a:pt x="4456" y="511"/>
                    </a:lnTo>
                    <a:lnTo>
                      <a:pt x="4444" y="499"/>
                    </a:lnTo>
                    <a:lnTo>
                      <a:pt x="4397" y="487"/>
                    </a:lnTo>
                    <a:lnTo>
                      <a:pt x="4373" y="440"/>
                    </a:lnTo>
                    <a:lnTo>
                      <a:pt x="4349" y="440"/>
                    </a:lnTo>
                    <a:lnTo>
                      <a:pt x="4349" y="440"/>
                    </a:lnTo>
                    <a:lnTo>
                      <a:pt x="4349" y="475"/>
                    </a:lnTo>
                    <a:lnTo>
                      <a:pt x="4302" y="487"/>
                    </a:lnTo>
                    <a:lnTo>
                      <a:pt x="4302" y="499"/>
                    </a:lnTo>
                    <a:lnTo>
                      <a:pt x="4290" y="499"/>
                    </a:lnTo>
                    <a:lnTo>
                      <a:pt x="4266" y="463"/>
                    </a:lnTo>
                    <a:lnTo>
                      <a:pt x="4242" y="463"/>
                    </a:lnTo>
                    <a:lnTo>
                      <a:pt x="4218" y="499"/>
                    </a:lnTo>
                    <a:lnTo>
                      <a:pt x="4195" y="523"/>
                    </a:lnTo>
                    <a:lnTo>
                      <a:pt x="4183" y="523"/>
                    </a:lnTo>
                    <a:lnTo>
                      <a:pt x="4159" y="558"/>
                    </a:lnTo>
                    <a:lnTo>
                      <a:pt x="4147" y="582"/>
                    </a:lnTo>
                    <a:lnTo>
                      <a:pt x="4147" y="594"/>
                    </a:lnTo>
                    <a:lnTo>
                      <a:pt x="4147" y="618"/>
                    </a:lnTo>
                    <a:lnTo>
                      <a:pt x="4159" y="630"/>
                    </a:lnTo>
                    <a:lnTo>
                      <a:pt x="4183" y="653"/>
                    </a:lnTo>
                    <a:lnTo>
                      <a:pt x="4195" y="713"/>
                    </a:lnTo>
                    <a:lnTo>
                      <a:pt x="4183" y="713"/>
                    </a:lnTo>
                    <a:lnTo>
                      <a:pt x="4183" y="725"/>
                    </a:lnTo>
                    <a:lnTo>
                      <a:pt x="4135" y="749"/>
                    </a:lnTo>
                    <a:lnTo>
                      <a:pt x="4123" y="772"/>
                    </a:lnTo>
                    <a:lnTo>
                      <a:pt x="4147" y="808"/>
                    </a:lnTo>
                    <a:lnTo>
                      <a:pt x="4159" y="832"/>
                    </a:lnTo>
                    <a:lnTo>
                      <a:pt x="4171" y="903"/>
                    </a:lnTo>
                    <a:lnTo>
                      <a:pt x="4218" y="927"/>
                    </a:lnTo>
                    <a:lnTo>
                      <a:pt x="4278" y="998"/>
                    </a:lnTo>
                    <a:lnTo>
                      <a:pt x="4278" y="1010"/>
                    </a:lnTo>
                    <a:lnTo>
                      <a:pt x="4254" y="1034"/>
                    </a:lnTo>
                    <a:lnTo>
                      <a:pt x="4242" y="1057"/>
                    </a:lnTo>
                    <a:lnTo>
                      <a:pt x="4230" y="1093"/>
                    </a:lnTo>
                    <a:lnTo>
                      <a:pt x="4218" y="1105"/>
                    </a:lnTo>
                    <a:lnTo>
                      <a:pt x="4207" y="1093"/>
                    </a:lnTo>
                    <a:lnTo>
                      <a:pt x="4218" y="1057"/>
                    </a:lnTo>
                    <a:lnTo>
                      <a:pt x="4218" y="1034"/>
                    </a:lnTo>
                    <a:lnTo>
                      <a:pt x="4230" y="998"/>
                    </a:lnTo>
                    <a:lnTo>
                      <a:pt x="4230" y="986"/>
                    </a:lnTo>
                    <a:lnTo>
                      <a:pt x="4207" y="974"/>
                    </a:lnTo>
                    <a:lnTo>
                      <a:pt x="4147" y="927"/>
                    </a:lnTo>
                    <a:lnTo>
                      <a:pt x="4147" y="903"/>
                    </a:lnTo>
                    <a:lnTo>
                      <a:pt x="4147" y="879"/>
                    </a:lnTo>
                    <a:lnTo>
                      <a:pt x="4112" y="820"/>
                    </a:lnTo>
                    <a:lnTo>
                      <a:pt x="4100" y="808"/>
                    </a:lnTo>
                    <a:lnTo>
                      <a:pt x="4076" y="796"/>
                    </a:lnTo>
                    <a:lnTo>
                      <a:pt x="4016" y="796"/>
                    </a:lnTo>
                    <a:lnTo>
                      <a:pt x="4005" y="772"/>
                    </a:lnTo>
                    <a:lnTo>
                      <a:pt x="3993" y="772"/>
                    </a:lnTo>
                    <a:lnTo>
                      <a:pt x="3993" y="725"/>
                    </a:lnTo>
                    <a:lnTo>
                      <a:pt x="4005" y="701"/>
                    </a:lnTo>
                    <a:lnTo>
                      <a:pt x="4016" y="677"/>
                    </a:lnTo>
                    <a:lnTo>
                      <a:pt x="4028" y="618"/>
                    </a:lnTo>
                    <a:lnTo>
                      <a:pt x="4064" y="546"/>
                    </a:lnTo>
                    <a:lnTo>
                      <a:pt x="4076" y="523"/>
                    </a:lnTo>
                    <a:lnTo>
                      <a:pt x="4076" y="487"/>
                    </a:lnTo>
                    <a:lnTo>
                      <a:pt x="4064" y="475"/>
                    </a:lnTo>
                    <a:lnTo>
                      <a:pt x="4016" y="475"/>
                    </a:lnTo>
                    <a:lnTo>
                      <a:pt x="3981" y="499"/>
                    </a:lnTo>
                    <a:lnTo>
                      <a:pt x="3981" y="463"/>
                    </a:lnTo>
                    <a:lnTo>
                      <a:pt x="3945" y="451"/>
                    </a:lnTo>
                    <a:lnTo>
                      <a:pt x="3933" y="416"/>
                    </a:lnTo>
                    <a:lnTo>
                      <a:pt x="3898" y="404"/>
                    </a:lnTo>
                    <a:lnTo>
                      <a:pt x="3886" y="440"/>
                    </a:lnTo>
                    <a:lnTo>
                      <a:pt x="3898" y="523"/>
                    </a:lnTo>
                    <a:lnTo>
                      <a:pt x="3886" y="535"/>
                    </a:lnTo>
                    <a:lnTo>
                      <a:pt x="3886" y="523"/>
                    </a:lnTo>
                    <a:lnTo>
                      <a:pt x="3862" y="463"/>
                    </a:lnTo>
                    <a:lnTo>
                      <a:pt x="3826" y="451"/>
                    </a:lnTo>
                    <a:lnTo>
                      <a:pt x="3814" y="440"/>
                    </a:lnTo>
                    <a:lnTo>
                      <a:pt x="3862" y="428"/>
                    </a:lnTo>
                    <a:lnTo>
                      <a:pt x="3850" y="392"/>
                    </a:lnTo>
                    <a:lnTo>
                      <a:pt x="3874" y="380"/>
                    </a:lnTo>
                    <a:lnTo>
                      <a:pt x="3874" y="368"/>
                    </a:lnTo>
                    <a:lnTo>
                      <a:pt x="3886" y="344"/>
                    </a:lnTo>
                    <a:lnTo>
                      <a:pt x="3945" y="297"/>
                    </a:lnTo>
                    <a:lnTo>
                      <a:pt x="3945" y="261"/>
                    </a:lnTo>
                    <a:lnTo>
                      <a:pt x="3933" y="249"/>
                    </a:lnTo>
                    <a:lnTo>
                      <a:pt x="3909" y="249"/>
                    </a:lnTo>
                    <a:lnTo>
                      <a:pt x="3898" y="273"/>
                    </a:lnTo>
                    <a:lnTo>
                      <a:pt x="3862" y="297"/>
                    </a:lnTo>
                    <a:lnTo>
                      <a:pt x="3838" y="368"/>
                    </a:lnTo>
                    <a:lnTo>
                      <a:pt x="3803" y="380"/>
                    </a:lnTo>
                    <a:lnTo>
                      <a:pt x="3779" y="380"/>
                    </a:lnTo>
                    <a:lnTo>
                      <a:pt x="3779" y="380"/>
                    </a:lnTo>
                    <a:lnTo>
                      <a:pt x="3814" y="356"/>
                    </a:lnTo>
                    <a:lnTo>
                      <a:pt x="3814" y="321"/>
                    </a:lnTo>
                    <a:lnTo>
                      <a:pt x="3826" y="297"/>
                    </a:lnTo>
                    <a:lnTo>
                      <a:pt x="3826" y="273"/>
                    </a:lnTo>
                    <a:lnTo>
                      <a:pt x="3814" y="261"/>
                    </a:lnTo>
                    <a:lnTo>
                      <a:pt x="3791" y="297"/>
                    </a:lnTo>
                    <a:lnTo>
                      <a:pt x="3779" y="297"/>
                    </a:lnTo>
                    <a:lnTo>
                      <a:pt x="3767" y="237"/>
                    </a:lnTo>
                    <a:lnTo>
                      <a:pt x="3755" y="237"/>
                    </a:lnTo>
                    <a:lnTo>
                      <a:pt x="3743" y="273"/>
                    </a:lnTo>
                    <a:lnTo>
                      <a:pt x="3755" y="333"/>
                    </a:lnTo>
                    <a:lnTo>
                      <a:pt x="3731" y="333"/>
                    </a:lnTo>
                    <a:lnTo>
                      <a:pt x="3731" y="321"/>
                    </a:lnTo>
                    <a:lnTo>
                      <a:pt x="3731" y="285"/>
                    </a:lnTo>
                    <a:lnTo>
                      <a:pt x="3719" y="273"/>
                    </a:lnTo>
                    <a:lnTo>
                      <a:pt x="3731" y="226"/>
                    </a:lnTo>
                    <a:lnTo>
                      <a:pt x="3719" y="226"/>
                    </a:lnTo>
                    <a:lnTo>
                      <a:pt x="3684" y="249"/>
                    </a:lnTo>
                    <a:lnTo>
                      <a:pt x="3684" y="321"/>
                    </a:lnTo>
                    <a:lnTo>
                      <a:pt x="3672" y="344"/>
                    </a:lnTo>
                    <a:lnTo>
                      <a:pt x="3648" y="356"/>
                    </a:lnTo>
                    <a:lnTo>
                      <a:pt x="3624" y="356"/>
                    </a:lnTo>
                    <a:lnTo>
                      <a:pt x="3601" y="356"/>
                    </a:lnTo>
                    <a:lnTo>
                      <a:pt x="3577" y="333"/>
                    </a:lnTo>
                    <a:lnTo>
                      <a:pt x="3589" y="321"/>
                    </a:lnTo>
                    <a:lnTo>
                      <a:pt x="3601" y="321"/>
                    </a:lnTo>
                    <a:lnTo>
                      <a:pt x="3601" y="309"/>
                    </a:lnTo>
                    <a:lnTo>
                      <a:pt x="3612" y="285"/>
                    </a:lnTo>
                    <a:lnTo>
                      <a:pt x="3624" y="285"/>
                    </a:lnTo>
                    <a:lnTo>
                      <a:pt x="3624" y="309"/>
                    </a:lnTo>
                    <a:lnTo>
                      <a:pt x="3636" y="321"/>
                    </a:lnTo>
                    <a:lnTo>
                      <a:pt x="3648" y="321"/>
                    </a:lnTo>
                    <a:lnTo>
                      <a:pt x="3660" y="321"/>
                    </a:lnTo>
                    <a:lnTo>
                      <a:pt x="3672" y="309"/>
                    </a:lnTo>
                    <a:lnTo>
                      <a:pt x="3660" y="261"/>
                    </a:lnTo>
                    <a:lnTo>
                      <a:pt x="3672" y="249"/>
                    </a:lnTo>
                    <a:lnTo>
                      <a:pt x="3684" y="202"/>
                    </a:lnTo>
                    <a:lnTo>
                      <a:pt x="3684" y="131"/>
                    </a:lnTo>
                    <a:lnTo>
                      <a:pt x="3707" y="95"/>
                    </a:lnTo>
                    <a:lnTo>
                      <a:pt x="3707" y="59"/>
                    </a:lnTo>
                    <a:lnTo>
                      <a:pt x="3696" y="47"/>
                    </a:lnTo>
                    <a:lnTo>
                      <a:pt x="3684" y="47"/>
                    </a:lnTo>
                    <a:lnTo>
                      <a:pt x="3672" y="59"/>
                    </a:lnTo>
                    <a:lnTo>
                      <a:pt x="3660" y="119"/>
                    </a:lnTo>
                    <a:lnTo>
                      <a:pt x="3648" y="190"/>
                    </a:lnTo>
                    <a:lnTo>
                      <a:pt x="3624" y="214"/>
                    </a:lnTo>
                    <a:lnTo>
                      <a:pt x="3624" y="214"/>
                    </a:lnTo>
                    <a:lnTo>
                      <a:pt x="3601" y="214"/>
                    </a:lnTo>
                    <a:lnTo>
                      <a:pt x="3577" y="202"/>
                    </a:lnTo>
                    <a:lnTo>
                      <a:pt x="3553" y="178"/>
                    </a:lnTo>
                    <a:lnTo>
                      <a:pt x="3553" y="166"/>
                    </a:lnTo>
                    <a:lnTo>
                      <a:pt x="3577" y="142"/>
                    </a:lnTo>
                    <a:lnTo>
                      <a:pt x="3624" y="83"/>
                    </a:lnTo>
                    <a:lnTo>
                      <a:pt x="3601" y="47"/>
                    </a:lnTo>
                    <a:lnTo>
                      <a:pt x="3577" y="47"/>
                    </a:lnTo>
                    <a:lnTo>
                      <a:pt x="3553" y="59"/>
                    </a:lnTo>
                    <a:lnTo>
                      <a:pt x="3505" y="166"/>
                    </a:lnTo>
                    <a:lnTo>
                      <a:pt x="3505" y="142"/>
                    </a:lnTo>
                    <a:lnTo>
                      <a:pt x="3482" y="131"/>
                    </a:lnTo>
                    <a:lnTo>
                      <a:pt x="3482" y="107"/>
                    </a:lnTo>
                    <a:lnTo>
                      <a:pt x="3458" y="107"/>
                    </a:lnTo>
                    <a:lnTo>
                      <a:pt x="3434" y="142"/>
                    </a:lnTo>
                    <a:lnTo>
                      <a:pt x="3387" y="249"/>
                    </a:lnTo>
                    <a:lnTo>
                      <a:pt x="3363" y="261"/>
                    </a:lnTo>
                    <a:lnTo>
                      <a:pt x="3351" y="261"/>
                    </a:lnTo>
                    <a:lnTo>
                      <a:pt x="3339" y="249"/>
                    </a:lnTo>
                    <a:lnTo>
                      <a:pt x="3339" y="237"/>
                    </a:lnTo>
                    <a:lnTo>
                      <a:pt x="3363" y="226"/>
                    </a:lnTo>
                    <a:lnTo>
                      <a:pt x="3398" y="178"/>
                    </a:lnTo>
                    <a:lnTo>
                      <a:pt x="3398" y="166"/>
                    </a:lnTo>
                    <a:lnTo>
                      <a:pt x="3375" y="178"/>
                    </a:lnTo>
                    <a:lnTo>
                      <a:pt x="3351" y="178"/>
                    </a:lnTo>
                    <a:lnTo>
                      <a:pt x="3351" y="166"/>
                    </a:lnTo>
                    <a:lnTo>
                      <a:pt x="3375" y="154"/>
                    </a:lnTo>
                    <a:lnTo>
                      <a:pt x="3398" y="107"/>
                    </a:lnTo>
                    <a:lnTo>
                      <a:pt x="3398" y="83"/>
                    </a:lnTo>
                    <a:lnTo>
                      <a:pt x="3387" y="83"/>
                    </a:lnTo>
                    <a:lnTo>
                      <a:pt x="3375" y="107"/>
                    </a:lnTo>
                    <a:lnTo>
                      <a:pt x="3363" y="95"/>
                    </a:lnTo>
                    <a:lnTo>
                      <a:pt x="3375" y="59"/>
                    </a:lnTo>
                    <a:lnTo>
                      <a:pt x="3375" y="47"/>
                    </a:lnTo>
                    <a:lnTo>
                      <a:pt x="3351" y="47"/>
                    </a:lnTo>
                    <a:lnTo>
                      <a:pt x="3339" y="47"/>
                    </a:lnTo>
                    <a:lnTo>
                      <a:pt x="3327" y="107"/>
                    </a:lnTo>
                    <a:lnTo>
                      <a:pt x="3315" y="178"/>
                    </a:lnTo>
                    <a:lnTo>
                      <a:pt x="3303" y="190"/>
                    </a:lnTo>
                    <a:lnTo>
                      <a:pt x="3292" y="178"/>
                    </a:lnTo>
                    <a:lnTo>
                      <a:pt x="3292" y="166"/>
                    </a:lnTo>
                    <a:lnTo>
                      <a:pt x="3303" y="83"/>
                    </a:lnTo>
                    <a:lnTo>
                      <a:pt x="3280" y="71"/>
                    </a:lnTo>
                    <a:lnTo>
                      <a:pt x="3256" y="83"/>
                    </a:lnTo>
                    <a:lnTo>
                      <a:pt x="3256" y="119"/>
                    </a:lnTo>
                    <a:lnTo>
                      <a:pt x="3244" y="119"/>
                    </a:lnTo>
                    <a:lnTo>
                      <a:pt x="3232" y="119"/>
                    </a:lnTo>
                    <a:lnTo>
                      <a:pt x="3220" y="12"/>
                    </a:lnTo>
                    <a:lnTo>
                      <a:pt x="3208" y="0"/>
                    </a:lnTo>
                    <a:lnTo>
                      <a:pt x="3196" y="0"/>
                    </a:lnTo>
                    <a:lnTo>
                      <a:pt x="3185" y="0"/>
                    </a:lnTo>
                    <a:lnTo>
                      <a:pt x="3149" y="71"/>
                    </a:lnTo>
                    <a:lnTo>
                      <a:pt x="3149" y="107"/>
                    </a:lnTo>
                    <a:lnTo>
                      <a:pt x="3090" y="166"/>
                    </a:lnTo>
                    <a:lnTo>
                      <a:pt x="3090" y="226"/>
                    </a:lnTo>
                    <a:lnTo>
                      <a:pt x="3125" y="285"/>
                    </a:lnTo>
                    <a:lnTo>
                      <a:pt x="3113" y="321"/>
                    </a:lnTo>
                    <a:lnTo>
                      <a:pt x="3101" y="344"/>
                    </a:lnTo>
                    <a:lnTo>
                      <a:pt x="3078" y="380"/>
                    </a:lnTo>
                    <a:lnTo>
                      <a:pt x="3054" y="392"/>
                    </a:lnTo>
                    <a:lnTo>
                      <a:pt x="3030" y="451"/>
                    </a:lnTo>
                    <a:lnTo>
                      <a:pt x="3030" y="475"/>
                    </a:lnTo>
                    <a:lnTo>
                      <a:pt x="3066" y="570"/>
                    </a:lnTo>
                    <a:lnTo>
                      <a:pt x="3054" y="606"/>
                    </a:lnTo>
                    <a:lnTo>
                      <a:pt x="3042" y="630"/>
                    </a:lnTo>
                    <a:lnTo>
                      <a:pt x="3042" y="677"/>
                    </a:lnTo>
                    <a:lnTo>
                      <a:pt x="3042" y="713"/>
                    </a:lnTo>
                    <a:lnTo>
                      <a:pt x="3006" y="713"/>
                    </a:lnTo>
                    <a:lnTo>
                      <a:pt x="2983" y="749"/>
                    </a:lnTo>
                    <a:lnTo>
                      <a:pt x="2947" y="737"/>
                    </a:lnTo>
                    <a:lnTo>
                      <a:pt x="2923" y="760"/>
                    </a:lnTo>
                    <a:lnTo>
                      <a:pt x="2911" y="772"/>
                    </a:lnTo>
                    <a:lnTo>
                      <a:pt x="2887" y="749"/>
                    </a:lnTo>
                    <a:lnTo>
                      <a:pt x="2864" y="749"/>
                    </a:lnTo>
                    <a:lnTo>
                      <a:pt x="2852" y="808"/>
                    </a:lnTo>
                    <a:lnTo>
                      <a:pt x="2852" y="820"/>
                    </a:lnTo>
                    <a:lnTo>
                      <a:pt x="2899" y="820"/>
                    </a:lnTo>
                    <a:lnTo>
                      <a:pt x="2983" y="855"/>
                    </a:lnTo>
                    <a:lnTo>
                      <a:pt x="2983" y="879"/>
                    </a:lnTo>
                    <a:lnTo>
                      <a:pt x="2971" y="915"/>
                    </a:lnTo>
                    <a:lnTo>
                      <a:pt x="2983" y="951"/>
                    </a:lnTo>
                    <a:lnTo>
                      <a:pt x="2971" y="974"/>
                    </a:lnTo>
                    <a:lnTo>
                      <a:pt x="2971" y="998"/>
                    </a:lnTo>
                    <a:lnTo>
                      <a:pt x="2959" y="1022"/>
                    </a:lnTo>
                    <a:lnTo>
                      <a:pt x="2947" y="1069"/>
                    </a:lnTo>
                    <a:lnTo>
                      <a:pt x="2911" y="1129"/>
                    </a:lnTo>
                    <a:lnTo>
                      <a:pt x="2911" y="1212"/>
                    </a:lnTo>
                    <a:lnTo>
                      <a:pt x="2887" y="1248"/>
                    </a:lnTo>
                    <a:lnTo>
                      <a:pt x="2887" y="1283"/>
                    </a:lnTo>
                    <a:lnTo>
                      <a:pt x="2840" y="1307"/>
                    </a:lnTo>
                    <a:lnTo>
                      <a:pt x="2828" y="1331"/>
                    </a:lnTo>
                    <a:lnTo>
                      <a:pt x="2781" y="1366"/>
                    </a:lnTo>
                    <a:lnTo>
                      <a:pt x="2769" y="1378"/>
                    </a:lnTo>
                    <a:lnTo>
                      <a:pt x="2745" y="1355"/>
                    </a:lnTo>
                    <a:lnTo>
                      <a:pt x="2721" y="1355"/>
                    </a:lnTo>
                    <a:lnTo>
                      <a:pt x="2721" y="1366"/>
                    </a:lnTo>
                    <a:lnTo>
                      <a:pt x="2733" y="1414"/>
                    </a:lnTo>
                    <a:lnTo>
                      <a:pt x="2709" y="1438"/>
                    </a:lnTo>
                    <a:lnTo>
                      <a:pt x="2709" y="1473"/>
                    </a:lnTo>
                    <a:lnTo>
                      <a:pt x="2662" y="1521"/>
                    </a:lnTo>
                    <a:lnTo>
                      <a:pt x="2685" y="1533"/>
                    </a:lnTo>
                    <a:lnTo>
                      <a:pt x="2709" y="1509"/>
                    </a:lnTo>
                    <a:lnTo>
                      <a:pt x="2733" y="1509"/>
                    </a:lnTo>
                    <a:lnTo>
                      <a:pt x="2697" y="1604"/>
                    </a:lnTo>
                    <a:lnTo>
                      <a:pt x="2733" y="1711"/>
                    </a:lnTo>
                    <a:lnTo>
                      <a:pt x="2709" y="1711"/>
                    </a:lnTo>
                    <a:lnTo>
                      <a:pt x="2650" y="1723"/>
                    </a:lnTo>
                    <a:lnTo>
                      <a:pt x="2638" y="1747"/>
                    </a:lnTo>
                    <a:lnTo>
                      <a:pt x="2638" y="1771"/>
                    </a:lnTo>
                    <a:lnTo>
                      <a:pt x="2626" y="1782"/>
                    </a:lnTo>
                    <a:lnTo>
                      <a:pt x="2602" y="1782"/>
                    </a:lnTo>
                    <a:lnTo>
                      <a:pt x="2590" y="1830"/>
                    </a:lnTo>
                    <a:lnTo>
                      <a:pt x="2543" y="1830"/>
                    </a:lnTo>
                    <a:lnTo>
                      <a:pt x="2507" y="1866"/>
                    </a:lnTo>
                    <a:lnTo>
                      <a:pt x="2483" y="1854"/>
                    </a:lnTo>
                    <a:lnTo>
                      <a:pt x="2472" y="1889"/>
                    </a:lnTo>
                    <a:lnTo>
                      <a:pt x="2436" y="1901"/>
                    </a:lnTo>
                    <a:lnTo>
                      <a:pt x="2412" y="1937"/>
                    </a:lnTo>
                    <a:lnTo>
                      <a:pt x="2424" y="1961"/>
                    </a:lnTo>
                    <a:lnTo>
                      <a:pt x="2460" y="1973"/>
                    </a:lnTo>
                    <a:lnTo>
                      <a:pt x="2460" y="1984"/>
                    </a:lnTo>
                    <a:lnTo>
                      <a:pt x="2448" y="2008"/>
                    </a:lnTo>
                    <a:lnTo>
                      <a:pt x="2448" y="2032"/>
                    </a:lnTo>
                    <a:lnTo>
                      <a:pt x="2472" y="2044"/>
                    </a:lnTo>
                    <a:lnTo>
                      <a:pt x="2483" y="2020"/>
                    </a:lnTo>
                    <a:lnTo>
                      <a:pt x="2495" y="2020"/>
                    </a:lnTo>
                    <a:lnTo>
                      <a:pt x="2507" y="2068"/>
                    </a:lnTo>
                    <a:lnTo>
                      <a:pt x="2495" y="2079"/>
                    </a:lnTo>
                    <a:lnTo>
                      <a:pt x="2495" y="2091"/>
                    </a:lnTo>
                    <a:lnTo>
                      <a:pt x="2460" y="2103"/>
                    </a:lnTo>
                    <a:lnTo>
                      <a:pt x="2448" y="2127"/>
                    </a:lnTo>
                    <a:lnTo>
                      <a:pt x="2412" y="2139"/>
                    </a:lnTo>
                    <a:lnTo>
                      <a:pt x="2412" y="2163"/>
                    </a:lnTo>
                    <a:lnTo>
                      <a:pt x="2460" y="2175"/>
                    </a:lnTo>
                    <a:lnTo>
                      <a:pt x="2472" y="2222"/>
                    </a:lnTo>
                    <a:lnTo>
                      <a:pt x="2448" y="2246"/>
                    </a:lnTo>
                    <a:lnTo>
                      <a:pt x="2436" y="2282"/>
                    </a:lnTo>
                    <a:lnTo>
                      <a:pt x="2424" y="2293"/>
                    </a:lnTo>
                    <a:lnTo>
                      <a:pt x="2412" y="2329"/>
                    </a:lnTo>
                    <a:lnTo>
                      <a:pt x="2400" y="2341"/>
                    </a:lnTo>
                    <a:lnTo>
                      <a:pt x="2400" y="2388"/>
                    </a:lnTo>
                    <a:lnTo>
                      <a:pt x="2376" y="2400"/>
                    </a:lnTo>
                    <a:lnTo>
                      <a:pt x="2353" y="2412"/>
                    </a:lnTo>
                    <a:lnTo>
                      <a:pt x="2329" y="2412"/>
                    </a:lnTo>
                    <a:lnTo>
                      <a:pt x="2329" y="2436"/>
                    </a:lnTo>
                    <a:lnTo>
                      <a:pt x="2353" y="2448"/>
                    </a:lnTo>
                    <a:lnTo>
                      <a:pt x="2353" y="2472"/>
                    </a:lnTo>
                    <a:lnTo>
                      <a:pt x="2329" y="2472"/>
                    </a:lnTo>
                    <a:lnTo>
                      <a:pt x="2317" y="2495"/>
                    </a:lnTo>
                    <a:lnTo>
                      <a:pt x="2293" y="2495"/>
                    </a:lnTo>
                    <a:lnTo>
                      <a:pt x="2293" y="2531"/>
                    </a:lnTo>
                    <a:lnTo>
                      <a:pt x="2258" y="2555"/>
                    </a:lnTo>
                    <a:lnTo>
                      <a:pt x="2246" y="2579"/>
                    </a:lnTo>
                    <a:lnTo>
                      <a:pt x="2222" y="2602"/>
                    </a:lnTo>
                    <a:lnTo>
                      <a:pt x="2222" y="2626"/>
                    </a:lnTo>
                    <a:lnTo>
                      <a:pt x="2198" y="2638"/>
                    </a:lnTo>
                    <a:lnTo>
                      <a:pt x="2174" y="2662"/>
                    </a:lnTo>
                    <a:lnTo>
                      <a:pt x="2151" y="2674"/>
                    </a:lnTo>
                    <a:lnTo>
                      <a:pt x="2127" y="2709"/>
                    </a:lnTo>
                    <a:lnTo>
                      <a:pt x="2103" y="2721"/>
                    </a:lnTo>
                    <a:lnTo>
                      <a:pt x="2103" y="2745"/>
                    </a:lnTo>
                    <a:lnTo>
                      <a:pt x="2079" y="2781"/>
                    </a:lnTo>
                    <a:lnTo>
                      <a:pt x="2091" y="2828"/>
                    </a:lnTo>
                    <a:lnTo>
                      <a:pt x="2056" y="2852"/>
                    </a:lnTo>
                    <a:lnTo>
                      <a:pt x="2032" y="2899"/>
                    </a:lnTo>
                    <a:lnTo>
                      <a:pt x="2008" y="2911"/>
                    </a:lnTo>
                    <a:lnTo>
                      <a:pt x="1984" y="2935"/>
                    </a:lnTo>
                    <a:lnTo>
                      <a:pt x="1972" y="3006"/>
                    </a:lnTo>
                    <a:lnTo>
                      <a:pt x="1961" y="3161"/>
                    </a:lnTo>
                    <a:lnTo>
                      <a:pt x="1949" y="3208"/>
                    </a:lnTo>
                    <a:lnTo>
                      <a:pt x="1913" y="3268"/>
                    </a:lnTo>
                    <a:lnTo>
                      <a:pt x="1842" y="3327"/>
                    </a:lnTo>
                    <a:lnTo>
                      <a:pt x="1782" y="3434"/>
                    </a:lnTo>
                    <a:lnTo>
                      <a:pt x="1723" y="3458"/>
                    </a:lnTo>
                    <a:lnTo>
                      <a:pt x="1687" y="3506"/>
                    </a:lnTo>
                    <a:lnTo>
                      <a:pt x="1640" y="3529"/>
                    </a:lnTo>
                    <a:lnTo>
                      <a:pt x="1616" y="3601"/>
                    </a:lnTo>
                    <a:lnTo>
                      <a:pt x="1604" y="3624"/>
                    </a:lnTo>
                    <a:lnTo>
                      <a:pt x="1604" y="3708"/>
                    </a:lnTo>
                    <a:lnTo>
                      <a:pt x="1521" y="3826"/>
                    </a:lnTo>
                    <a:lnTo>
                      <a:pt x="1485" y="3850"/>
                    </a:lnTo>
                    <a:lnTo>
                      <a:pt x="1450" y="3874"/>
                    </a:lnTo>
                    <a:lnTo>
                      <a:pt x="1402" y="4005"/>
                    </a:lnTo>
                    <a:lnTo>
                      <a:pt x="1354" y="4040"/>
                    </a:lnTo>
                    <a:lnTo>
                      <a:pt x="1319" y="4124"/>
                    </a:lnTo>
                    <a:lnTo>
                      <a:pt x="1259" y="4159"/>
                    </a:lnTo>
                    <a:lnTo>
                      <a:pt x="1224" y="4219"/>
                    </a:lnTo>
                    <a:lnTo>
                      <a:pt x="1188" y="4219"/>
                    </a:lnTo>
                    <a:lnTo>
                      <a:pt x="1152" y="4195"/>
                    </a:lnTo>
                    <a:lnTo>
                      <a:pt x="1105" y="4230"/>
                    </a:lnTo>
                    <a:lnTo>
                      <a:pt x="237" y="4872"/>
                    </a:lnTo>
                    <a:lnTo>
                      <a:pt x="35" y="5015"/>
                    </a:lnTo>
                    <a:lnTo>
                      <a:pt x="35" y="5027"/>
                    </a:lnTo>
                    <a:lnTo>
                      <a:pt x="35" y="5027"/>
                    </a:lnTo>
                    <a:lnTo>
                      <a:pt x="0" y="5039"/>
                    </a:lnTo>
                    <a:lnTo>
                      <a:pt x="95" y="5062"/>
                    </a:lnTo>
                    <a:lnTo>
                      <a:pt x="119" y="5050"/>
                    </a:lnTo>
                    <a:lnTo>
                      <a:pt x="166" y="4979"/>
                    </a:lnTo>
                    <a:lnTo>
                      <a:pt x="214" y="4932"/>
                    </a:lnTo>
                    <a:lnTo>
                      <a:pt x="261" y="4896"/>
                    </a:lnTo>
                    <a:lnTo>
                      <a:pt x="321" y="4896"/>
                    </a:lnTo>
                    <a:lnTo>
                      <a:pt x="404" y="4884"/>
                    </a:lnTo>
                    <a:lnTo>
                      <a:pt x="428" y="4896"/>
                    </a:lnTo>
                    <a:lnTo>
                      <a:pt x="475" y="4932"/>
                    </a:lnTo>
                    <a:lnTo>
                      <a:pt x="570" y="4979"/>
                    </a:lnTo>
                    <a:lnTo>
                      <a:pt x="701" y="5003"/>
                    </a:lnTo>
                    <a:lnTo>
                      <a:pt x="737" y="4991"/>
                    </a:lnTo>
                    <a:lnTo>
                      <a:pt x="796" y="4967"/>
                    </a:lnTo>
                    <a:lnTo>
                      <a:pt x="891" y="4979"/>
                    </a:lnTo>
                    <a:lnTo>
                      <a:pt x="950" y="5015"/>
                    </a:lnTo>
                    <a:lnTo>
                      <a:pt x="998" y="5122"/>
                    </a:lnTo>
                    <a:lnTo>
                      <a:pt x="1010" y="5134"/>
                    </a:lnTo>
                    <a:lnTo>
                      <a:pt x="1164" y="5157"/>
                    </a:lnTo>
                    <a:lnTo>
                      <a:pt x="1200" y="5193"/>
                    </a:lnTo>
                    <a:lnTo>
                      <a:pt x="1259" y="5217"/>
                    </a:lnTo>
                    <a:lnTo>
                      <a:pt x="1354" y="5276"/>
                    </a:lnTo>
                    <a:lnTo>
                      <a:pt x="1414" y="5336"/>
                    </a:lnTo>
                    <a:lnTo>
                      <a:pt x="1438" y="5466"/>
                    </a:lnTo>
                    <a:lnTo>
                      <a:pt x="1426" y="5561"/>
                    </a:lnTo>
                    <a:lnTo>
                      <a:pt x="1485" y="5728"/>
                    </a:lnTo>
                    <a:lnTo>
                      <a:pt x="1473" y="5894"/>
                    </a:lnTo>
                    <a:lnTo>
                      <a:pt x="1485" y="6049"/>
                    </a:lnTo>
                    <a:lnTo>
                      <a:pt x="1521" y="6120"/>
                    </a:lnTo>
                    <a:lnTo>
                      <a:pt x="1533" y="6203"/>
                    </a:lnTo>
                    <a:lnTo>
                      <a:pt x="1485" y="6358"/>
                    </a:lnTo>
                    <a:lnTo>
                      <a:pt x="1485" y="6465"/>
                    </a:lnTo>
                    <a:lnTo>
                      <a:pt x="1402" y="6655"/>
                    </a:lnTo>
                    <a:lnTo>
                      <a:pt x="1414" y="6750"/>
                    </a:lnTo>
                    <a:lnTo>
                      <a:pt x="1378" y="6833"/>
                    </a:lnTo>
                    <a:lnTo>
                      <a:pt x="1366" y="6952"/>
                    </a:lnTo>
                    <a:lnTo>
                      <a:pt x="1343" y="7035"/>
                    </a:lnTo>
                    <a:lnTo>
                      <a:pt x="1212" y="7225"/>
                    </a:lnTo>
                    <a:lnTo>
                      <a:pt x="1129" y="7249"/>
                    </a:lnTo>
                    <a:lnTo>
                      <a:pt x="1105" y="7261"/>
                    </a:lnTo>
                    <a:lnTo>
                      <a:pt x="1093" y="7285"/>
                    </a:lnTo>
                    <a:lnTo>
                      <a:pt x="1105" y="7332"/>
                    </a:lnTo>
                    <a:lnTo>
                      <a:pt x="1141" y="7356"/>
                    </a:lnTo>
                    <a:lnTo>
                      <a:pt x="1212" y="7415"/>
                    </a:lnTo>
                    <a:lnTo>
                      <a:pt x="1295" y="7392"/>
                    </a:lnTo>
                    <a:lnTo>
                      <a:pt x="1354" y="7403"/>
                    </a:lnTo>
                    <a:lnTo>
                      <a:pt x="1390" y="7427"/>
                    </a:lnTo>
                    <a:lnTo>
                      <a:pt x="1402" y="7463"/>
                    </a:lnTo>
                    <a:lnTo>
                      <a:pt x="1390" y="7510"/>
                    </a:lnTo>
                    <a:lnTo>
                      <a:pt x="1366" y="7546"/>
                    </a:lnTo>
                    <a:lnTo>
                      <a:pt x="1295" y="7582"/>
                    </a:lnTo>
                    <a:lnTo>
                      <a:pt x="1295" y="7605"/>
                    </a:lnTo>
                    <a:lnTo>
                      <a:pt x="1307" y="7617"/>
                    </a:lnTo>
                    <a:lnTo>
                      <a:pt x="1343" y="7617"/>
                    </a:lnTo>
                    <a:lnTo>
                      <a:pt x="1390" y="7605"/>
                    </a:lnTo>
                    <a:lnTo>
                      <a:pt x="1414" y="7701"/>
                    </a:lnTo>
                    <a:lnTo>
                      <a:pt x="1461" y="7712"/>
                    </a:lnTo>
                    <a:lnTo>
                      <a:pt x="1497" y="7760"/>
                    </a:lnTo>
                    <a:lnTo>
                      <a:pt x="1485" y="7796"/>
                    </a:lnTo>
                    <a:lnTo>
                      <a:pt x="1485" y="7831"/>
                    </a:lnTo>
                    <a:lnTo>
                      <a:pt x="1521" y="7867"/>
                    </a:lnTo>
                    <a:lnTo>
                      <a:pt x="1545" y="7879"/>
                    </a:lnTo>
                    <a:lnTo>
                      <a:pt x="1568" y="7891"/>
                    </a:lnTo>
                    <a:lnTo>
                      <a:pt x="1568" y="7938"/>
                    </a:lnTo>
                    <a:lnTo>
                      <a:pt x="1640" y="7998"/>
                    </a:lnTo>
                    <a:lnTo>
                      <a:pt x="1687" y="8081"/>
                    </a:lnTo>
                    <a:lnTo>
                      <a:pt x="1687" y="8093"/>
                    </a:lnTo>
                    <a:lnTo>
                      <a:pt x="1770" y="8164"/>
                    </a:lnTo>
                    <a:lnTo>
                      <a:pt x="1806" y="8259"/>
                    </a:lnTo>
                    <a:lnTo>
                      <a:pt x="1806" y="8283"/>
                    </a:lnTo>
                    <a:lnTo>
                      <a:pt x="1842" y="8307"/>
                    </a:lnTo>
                    <a:lnTo>
                      <a:pt x="1877" y="8366"/>
                    </a:lnTo>
                    <a:lnTo>
                      <a:pt x="1913" y="8390"/>
                    </a:lnTo>
                    <a:lnTo>
                      <a:pt x="1949" y="8390"/>
                    </a:lnTo>
                    <a:lnTo>
                      <a:pt x="1996" y="8330"/>
                    </a:lnTo>
                    <a:lnTo>
                      <a:pt x="2032" y="8307"/>
                    </a:lnTo>
                    <a:lnTo>
                      <a:pt x="2091" y="8295"/>
                    </a:lnTo>
                    <a:lnTo>
                      <a:pt x="2151" y="8247"/>
                    </a:lnTo>
                    <a:lnTo>
                      <a:pt x="2198" y="8235"/>
                    </a:lnTo>
                    <a:lnTo>
                      <a:pt x="2270" y="8235"/>
                    </a:lnTo>
                    <a:lnTo>
                      <a:pt x="2329" y="8223"/>
                    </a:lnTo>
                    <a:lnTo>
                      <a:pt x="2365" y="8212"/>
                    </a:lnTo>
                    <a:lnTo>
                      <a:pt x="2400" y="8212"/>
                    </a:lnTo>
                    <a:lnTo>
                      <a:pt x="2436" y="8212"/>
                    </a:lnTo>
                    <a:lnTo>
                      <a:pt x="2472" y="8223"/>
                    </a:lnTo>
                    <a:lnTo>
                      <a:pt x="2507" y="8283"/>
                    </a:lnTo>
                    <a:lnTo>
                      <a:pt x="2578" y="8318"/>
                    </a:lnTo>
                    <a:lnTo>
                      <a:pt x="2578" y="8330"/>
                    </a:lnTo>
                    <a:lnTo>
                      <a:pt x="2578" y="8402"/>
                    </a:lnTo>
                    <a:lnTo>
                      <a:pt x="2531" y="8473"/>
                    </a:lnTo>
                    <a:lnTo>
                      <a:pt x="2543" y="8592"/>
                    </a:lnTo>
                    <a:lnTo>
                      <a:pt x="2531" y="8627"/>
                    </a:lnTo>
                    <a:lnTo>
                      <a:pt x="2483" y="8687"/>
                    </a:lnTo>
                    <a:lnTo>
                      <a:pt x="2460" y="8687"/>
                    </a:lnTo>
                    <a:lnTo>
                      <a:pt x="2400" y="8699"/>
                    </a:lnTo>
                    <a:lnTo>
                      <a:pt x="2281" y="8711"/>
                    </a:lnTo>
                    <a:lnTo>
                      <a:pt x="2270" y="8734"/>
                    </a:lnTo>
                    <a:lnTo>
                      <a:pt x="2222" y="8794"/>
                    </a:lnTo>
                    <a:lnTo>
                      <a:pt x="2163" y="8996"/>
                    </a:lnTo>
                    <a:lnTo>
                      <a:pt x="2103" y="9091"/>
                    </a:lnTo>
                    <a:lnTo>
                      <a:pt x="2103" y="9186"/>
                    </a:lnTo>
                    <a:lnTo>
                      <a:pt x="2056" y="9222"/>
                    </a:lnTo>
                    <a:lnTo>
                      <a:pt x="2056" y="9245"/>
                    </a:lnTo>
                    <a:lnTo>
                      <a:pt x="2067" y="9305"/>
                    </a:lnTo>
                    <a:lnTo>
                      <a:pt x="2056" y="9340"/>
                    </a:lnTo>
                    <a:lnTo>
                      <a:pt x="1961" y="9424"/>
                    </a:lnTo>
                    <a:lnTo>
                      <a:pt x="1901" y="9507"/>
                    </a:lnTo>
                    <a:lnTo>
                      <a:pt x="1937" y="9578"/>
                    </a:lnTo>
                    <a:lnTo>
                      <a:pt x="1961" y="9590"/>
                    </a:lnTo>
                    <a:lnTo>
                      <a:pt x="2032" y="9626"/>
                    </a:lnTo>
                    <a:lnTo>
                      <a:pt x="2115" y="9733"/>
                    </a:lnTo>
                    <a:lnTo>
                      <a:pt x="2139" y="9756"/>
                    </a:lnTo>
                    <a:lnTo>
                      <a:pt x="2151" y="9780"/>
                    </a:lnTo>
                    <a:lnTo>
                      <a:pt x="2139" y="9899"/>
                    </a:lnTo>
                    <a:lnTo>
                      <a:pt x="2163" y="9935"/>
                    </a:lnTo>
                    <a:lnTo>
                      <a:pt x="2198" y="9947"/>
                    </a:lnTo>
                    <a:lnTo>
                      <a:pt x="2222" y="10006"/>
                    </a:lnTo>
                    <a:lnTo>
                      <a:pt x="2234" y="10030"/>
                    </a:lnTo>
                    <a:lnTo>
                      <a:pt x="2258" y="10042"/>
                    </a:lnTo>
                    <a:lnTo>
                      <a:pt x="2317" y="10006"/>
                    </a:lnTo>
                    <a:lnTo>
                      <a:pt x="2412" y="10065"/>
                    </a:lnTo>
                    <a:lnTo>
                      <a:pt x="2448" y="10125"/>
                    </a:lnTo>
                    <a:lnTo>
                      <a:pt x="2460" y="10172"/>
                    </a:lnTo>
                    <a:lnTo>
                      <a:pt x="2436" y="10232"/>
                    </a:lnTo>
                    <a:lnTo>
                      <a:pt x="2341" y="10339"/>
                    </a:lnTo>
                    <a:lnTo>
                      <a:pt x="2329" y="10386"/>
                    </a:lnTo>
                    <a:lnTo>
                      <a:pt x="2353" y="10422"/>
                    </a:lnTo>
                    <a:lnTo>
                      <a:pt x="2460" y="10422"/>
                    </a:lnTo>
                    <a:lnTo>
                      <a:pt x="2483" y="10481"/>
                    </a:lnTo>
                    <a:lnTo>
                      <a:pt x="2495" y="10493"/>
                    </a:lnTo>
                    <a:lnTo>
                      <a:pt x="2519" y="10505"/>
                    </a:lnTo>
                    <a:lnTo>
                      <a:pt x="2614" y="10505"/>
                    </a:lnTo>
                    <a:lnTo>
                      <a:pt x="2650" y="10469"/>
                    </a:lnTo>
                    <a:lnTo>
                      <a:pt x="2662" y="10529"/>
                    </a:lnTo>
                    <a:lnTo>
                      <a:pt x="2662" y="10541"/>
                    </a:lnTo>
                    <a:lnTo>
                      <a:pt x="2638" y="10576"/>
                    </a:lnTo>
                    <a:lnTo>
                      <a:pt x="2567" y="10636"/>
                    </a:lnTo>
                    <a:lnTo>
                      <a:pt x="2543" y="10660"/>
                    </a:lnTo>
                    <a:lnTo>
                      <a:pt x="2543" y="10695"/>
                    </a:lnTo>
                    <a:lnTo>
                      <a:pt x="2567" y="10755"/>
                    </a:lnTo>
                    <a:lnTo>
                      <a:pt x="2614" y="10802"/>
                    </a:lnTo>
                    <a:lnTo>
                      <a:pt x="2614" y="10838"/>
                    </a:lnTo>
                    <a:lnTo>
                      <a:pt x="2626" y="10850"/>
                    </a:lnTo>
                    <a:lnTo>
                      <a:pt x="2662" y="10885"/>
                    </a:lnTo>
                    <a:lnTo>
                      <a:pt x="2674" y="10933"/>
                    </a:lnTo>
                    <a:lnTo>
                      <a:pt x="2697" y="10957"/>
                    </a:lnTo>
                    <a:lnTo>
                      <a:pt x="2733" y="10957"/>
                    </a:lnTo>
                    <a:lnTo>
                      <a:pt x="2816" y="10933"/>
                    </a:lnTo>
                    <a:lnTo>
                      <a:pt x="3006" y="11004"/>
                    </a:lnTo>
                    <a:lnTo>
                      <a:pt x="3030" y="11004"/>
                    </a:lnTo>
                    <a:lnTo>
                      <a:pt x="3054" y="11028"/>
                    </a:lnTo>
                    <a:lnTo>
                      <a:pt x="3137" y="10945"/>
                    </a:lnTo>
                    <a:lnTo>
                      <a:pt x="3208" y="10850"/>
                    </a:lnTo>
                    <a:lnTo>
                      <a:pt x="3220" y="10814"/>
                    </a:lnTo>
                    <a:lnTo>
                      <a:pt x="3232" y="10743"/>
                    </a:lnTo>
                    <a:lnTo>
                      <a:pt x="3280" y="10660"/>
                    </a:lnTo>
                    <a:lnTo>
                      <a:pt x="3280" y="10624"/>
                    </a:lnTo>
                    <a:lnTo>
                      <a:pt x="3256" y="10517"/>
                    </a:lnTo>
                    <a:lnTo>
                      <a:pt x="3268" y="10481"/>
                    </a:lnTo>
                    <a:lnTo>
                      <a:pt x="3303" y="10398"/>
                    </a:lnTo>
                    <a:lnTo>
                      <a:pt x="3292" y="10315"/>
                    </a:lnTo>
                    <a:lnTo>
                      <a:pt x="3280" y="10256"/>
                    </a:lnTo>
                    <a:lnTo>
                      <a:pt x="3303" y="10184"/>
                    </a:lnTo>
                    <a:lnTo>
                      <a:pt x="3327" y="10137"/>
                    </a:lnTo>
                    <a:lnTo>
                      <a:pt x="3351" y="10089"/>
                    </a:lnTo>
                    <a:lnTo>
                      <a:pt x="3351" y="10042"/>
                    </a:lnTo>
                    <a:lnTo>
                      <a:pt x="3256" y="9935"/>
                    </a:lnTo>
                    <a:lnTo>
                      <a:pt x="3232" y="9923"/>
                    </a:lnTo>
                    <a:lnTo>
                      <a:pt x="3208" y="9875"/>
                    </a:lnTo>
                    <a:lnTo>
                      <a:pt x="3220" y="9828"/>
                    </a:lnTo>
                    <a:lnTo>
                      <a:pt x="3220" y="9756"/>
                    </a:lnTo>
                    <a:lnTo>
                      <a:pt x="3196" y="9673"/>
                    </a:lnTo>
                    <a:lnTo>
                      <a:pt x="3185" y="9554"/>
                    </a:lnTo>
                    <a:lnTo>
                      <a:pt x="3137" y="9471"/>
                    </a:lnTo>
                    <a:lnTo>
                      <a:pt x="3137" y="9400"/>
                    </a:lnTo>
                    <a:lnTo>
                      <a:pt x="3173" y="9352"/>
                    </a:lnTo>
                    <a:lnTo>
                      <a:pt x="3185" y="9305"/>
                    </a:lnTo>
                    <a:lnTo>
                      <a:pt x="3256" y="9234"/>
                    </a:lnTo>
                    <a:lnTo>
                      <a:pt x="3339" y="9127"/>
                    </a:lnTo>
                    <a:lnTo>
                      <a:pt x="3375" y="9043"/>
                    </a:lnTo>
                    <a:lnTo>
                      <a:pt x="3446" y="8841"/>
                    </a:lnTo>
                    <a:lnTo>
                      <a:pt x="3482" y="8770"/>
                    </a:lnTo>
                    <a:lnTo>
                      <a:pt x="3517" y="8734"/>
                    </a:lnTo>
                    <a:lnTo>
                      <a:pt x="3565" y="8627"/>
                    </a:lnTo>
                    <a:lnTo>
                      <a:pt x="3612" y="8568"/>
                    </a:lnTo>
                    <a:lnTo>
                      <a:pt x="3624" y="8509"/>
                    </a:lnTo>
                    <a:lnTo>
                      <a:pt x="3612" y="8461"/>
                    </a:lnTo>
                    <a:lnTo>
                      <a:pt x="3624" y="8425"/>
                    </a:lnTo>
                    <a:lnTo>
                      <a:pt x="3660" y="8366"/>
                    </a:lnTo>
                    <a:lnTo>
                      <a:pt x="3684" y="8235"/>
                    </a:lnTo>
                    <a:lnTo>
                      <a:pt x="3719" y="8188"/>
                    </a:lnTo>
                    <a:lnTo>
                      <a:pt x="3731" y="8116"/>
                    </a:lnTo>
                    <a:lnTo>
                      <a:pt x="3767" y="8081"/>
                    </a:lnTo>
                    <a:lnTo>
                      <a:pt x="3791" y="8010"/>
                    </a:lnTo>
                    <a:lnTo>
                      <a:pt x="3862" y="7914"/>
                    </a:lnTo>
                    <a:lnTo>
                      <a:pt x="3909" y="7867"/>
                    </a:lnTo>
                    <a:lnTo>
                      <a:pt x="3957" y="7807"/>
                    </a:lnTo>
                    <a:lnTo>
                      <a:pt x="3981" y="7796"/>
                    </a:lnTo>
                    <a:lnTo>
                      <a:pt x="4028" y="7796"/>
                    </a:lnTo>
                    <a:lnTo>
                      <a:pt x="4064" y="7772"/>
                    </a:lnTo>
                    <a:lnTo>
                      <a:pt x="4112" y="7772"/>
                    </a:lnTo>
                    <a:lnTo>
                      <a:pt x="4207" y="7724"/>
                    </a:lnTo>
                    <a:lnTo>
                      <a:pt x="4290" y="7712"/>
                    </a:lnTo>
                    <a:lnTo>
                      <a:pt x="4409" y="7665"/>
                    </a:lnTo>
                    <a:lnTo>
                      <a:pt x="4456" y="7629"/>
                    </a:lnTo>
                    <a:lnTo>
                      <a:pt x="4504" y="7558"/>
                    </a:lnTo>
                    <a:lnTo>
                      <a:pt x="4539" y="7534"/>
                    </a:lnTo>
                    <a:lnTo>
                      <a:pt x="4599" y="7534"/>
                    </a:lnTo>
                    <a:lnTo>
                      <a:pt x="4634" y="7534"/>
                    </a:lnTo>
                    <a:lnTo>
                      <a:pt x="4658" y="7558"/>
                    </a:lnTo>
                    <a:lnTo>
                      <a:pt x="4682" y="7558"/>
                    </a:lnTo>
                    <a:lnTo>
                      <a:pt x="4789" y="7415"/>
                    </a:lnTo>
                    <a:lnTo>
                      <a:pt x="4825" y="7403"/>
                    </a:lnTo>
                    <a:lnTo>
                      <a:pt x="4860" y="7392"/>
                    </a:lnTo>
                    <a:lnTo>
                      <a:pt x="5015" y="7285"/>
                    </a:lnTo>
                    <a:lnTo>
                      <a:pt x="5074" y="7261"/>
                    </a:lnTo>
                    <a:lnTo>
                      <a:pt x="5110" y="7261"/>
                    </a:lnTo>
                    <a:lnTo>
                      <a:pt x="5169" y="7249"/>
                    </a:lnTo>
                    <a:lnTo>
                      <a:pt x="5217" y="7213"/>
                    </a:lnTo>
                    <a:lnTo>
                      <a:pt x="5240" y="7130"/>
                    </a:lnTo>
                    <a:lnTo>
                      <a:pt x="5288" y="7094"/>
                    </a:lnTo>
                    <a:lnTo>
                      <a:pt x="5300" y="7059"/>
                    </a:lnTo>
                    <a:lnTo>
                      <a:pt x="5336" y="7035"/>
                    </a:lnTo>
                    <a:lnTo>
                      <a:pt x="5336" y="7011"/>
                    </a:lnTo>
                    <a:lnTo>
                      <a:pt x="5359" y="6999"/>
                    </a:lnTo>
                    <a:lnTo>
                      <a:pt x="5371" y="6964"/>
                    </a:lnTo>
                    <a:lnTo>
                      <a:pt x="5419" y="6928"/>
                    </a:lnTo>
                    <a:lnTo>
                      <a:pt x="5442" y="6892"/>
                    </a:lnTo>
                    <a:lnTo>
                      <a:pt x="5478" y="6881"/>
                    </a:lnTo>
                    <a:lnTo>
                      <a:pt x="5490" y="6833"/>
                    </a:lnTo>
                    <a:lnTo>
                      <a:pt x="5514" y="6821"/>
                    </a:lnTo>
                    <a:lnTo>
                      <a:pt x="5633" y="6833"/>
                    </a:lnTo>
                    <a:lnTo>
                      <a:pt x="5704" y="6821"/>
                    </a:lnTo>
                    <a:lnTo>
                      <a:pt x="5811" y="6785"/>
                    </a:lnTo>
                    <a:lnTo>
                      <a:pt x="5823" y="6785"/>
                    </a:lnTo>
                    <a:lnTo>
                      <a:pt x="5858" y="6762"/>
                    </a:lnTo>
                    <a:lnTo>
                      <a:pt x="5977" y="6785"/>
                    </a:lnTo>
                    <a:lnTo>
                      <a:pt x="6049" y="6809"/>
                    </a:lnTo>
                    <a:lnTo>
                      <a:pt x="6096" y="6833"/>
                    </a:lnTo>
                    <a:lnTo>
                      <a:pt x="6120" y="6881"/>
                    </a:lnTo>
                    <a:lnTo>
                      <a:pt x="6203" y="6928"/>
                    </a:lnTo>
                    <a:lnTo>
                      <a:pt x="6274" y="6952"/>
                    </a:lnTo>
                    <a:lnTo>
                      <a:pt x="6346" y="6892"/>
                    </a:lnTo>
                    <a:lnTo>
                      <a:pt x="6417" y="6881"/>
                    </a:lnTo>
                    <a:lnTo>
                      <a:pt x="6453" y="6857"/>
                    </a:lnTo>
                    <a:lnTo>
                      <a:pt x="6488" y="6857"/>
                    </a:lnTo>
                    <a:lnTo>
                      <a:pt x="6524" y="6881"/>
                    </a:lnTo>
                    <a:lnTo>
                      <a:pt x="6536" y="6881"/>
                    </a:lnTo>
                    <a:lnTo>
                      <a:pt x="6607" y="6857"/>
                    </a:lnTo>
                    <a:lnTo>
                      <a:pt x="6726" y="6833"/>
                    </a:lnTo>
                    <a:lnTo>
                      <a:pt x="6785" y="6797"/>
                    </a:lnTo>
                    <a:lnTo>
                      <a:pt x="6809" y="6785"/>
                    </a:lnTo>
                    <a:lnTo>
                      <a:pt x="6845" y="6667"/>
                    </a:lnTo>
                    <a:lnTo>
                      <a:pt x="6880" y="6619"/>
                    </a:lnTo>
                    <a:lnTo>
                      <a:pt x="6892" y="6560"/>
                    </a:lnTo>
                    <a:lnTo>
                      <a:pt x="6904" y="6524"/>
                    </a:lnTo>
                    <a:lnTo>
                      <a:pt x="6916" y="6488"/>
                    </a:lnTo>
                    <a:lnTo>
                      <a:pt x="6964" y="6370"/>
                    </a:lnTo>
                    <a:lnTo>
                      <a:pt x="6940" y="6322"/>
                    </a:lnTo>
                    <a:lnTo>
                      <a:pt x="6940" y="6263"/>
                    </a:lnTo>
                    <a:lnTo>
                      <a:pt x="6928" y="6227"/>
                    </a:lnTo>
                    <a:lnTo>
                      <a:pt x="6880" y="6227"/>
                    </a:lnTo>
                    <a:lnTo>
                      <a:pt x="6857" y="6179"/>
                    </a:lnTo>
                    <a:lnTo>
                      <a:pt x="6809" y="6156"/>
                    </a:lnTo>
                    <a:lnTo>
                      <a:pt x="6785" y="6108"/>
                    </a:lnTo>
                    <a:lnTo>
                      <a:pt x="6714" y="6061"/>
                    </a:lnTo>
                    <a:lnTo>
                      <a:pt x="6690" y="6013"/>
                    </a:lnTo>
                    <a:lnTo>
                      <a:pt x="6702" y="5977"/>
                    </a:lnTo>
                    <a:lnTo>
                      <a:pt x="6702" y="5942"/>
                    </a:lnTo>
                    <a:lnTo>
                      <a:pt x="6690" y="5918"/>
                    </a:lnTo>
                    <a:lnTo>
                      <a:pt x="6678" y="5906"/>
                    </a:lnTo>
                    <a:lnTo>
                      <a:pt x="6655" y="5835"/>
                    </a:lnTo>
                    <a:lnTo>
                      <a:pt x="6678" y="5775"/>
                    </a:lnTo>
                    <a:lnTo>
                      <a:pt x="6655" y="5728"/>
                    </a:lnTo>
                    <a:lnTo>
                      <a:pt x="6655" y="5657"/>
                    </a:lnTo>
                    <a:lnTo>
                      <a:pt x="6678" y="5633"/>
                    </a:lnTo>
                    <a:lnTo>
                      <a:pt x="6678" y="5609"/>
                    </a:lnTo>
                    <a:lnTo>
                      <a:pt x="6655" y="5550"/>
                    </a:lnTo>
                    <a:lnTo>
                      <a:pt x="6655" y="5502"/>
                    </a:lnTo>
                    <a:lnTo>
                      <a:pt x="6714" y="5454"/>
                    </a:lnTo>
                    <a:lnTo>
                      <a:pt x="6750" y="5395"/>
                    </a:lnTo>
                    <a:lnTo>
                      <a:pt x="6773" y="5371"/>
                    </a:lnTo>
                    <a:lnTo>
                      <a:pt x="6797" y="5300"/>
                    </a:lnTo>
                    <a:lnTo>
                      <a:pt x="6845" y="5288"/>
                    </a:lnTo>
                    <a:lnTo>
                      <a:pt x="6869" y="5241"/>
                    </a:lnTo>
                    <a:lnTo>
                      <a:pt x="6964" y="5181"/>
                    </a:lnTo>
                    <a:lnTo>
                      <a:pt x="6987" y="5157"/>
                    </a:lnTo>
                    <a:lnTo>
                      <a:pt x="6999" y="5122"/>
                    </a:lnTo>
                    <a:lnTo>
                      <a:pt x="6999" y="5039"/>
                    </a:lnTo>
                    <a:lnTo>
                      <a:pt x="7023" y="5003"/>
                    </a:lnTo>
                    <a:lnTo>
                      <a:pt x="7011" y="4943"/>
                    </a:lnTo>
                    <a:lnTo>
                      <a:pt x="6999" y="4932"/>
                    </a:lnTo>
                    <a:lnTo>
                      <a:pt x="7011" y="4920"/>
                    </a:lnTo>
                    <a:lnTo>
                      <a:pt x="7011" y="4908"/>
                    </a:lnTo>
                    <a:lnTo>
                      <a:pt x="7011" y="4884"/>
                    </a:lnTo>
                    <a:lnTo>
                      <a:pt x="6999" y="4872"/>
                    </a:lnTo>
                    <a:lnTo>
                      <a:pt x="6976" y="4848"/>
                    </a:lnTo>
                    <a:lnTo>
                      <a:pt x="6964" y="4825"/>
                    </a:lnTo>
                    <a:lnTo>
                      <a:pt x="6976" y="4753"/>
                    </a:lnTo>
                    <a:lnTo>
                      <a:pt x="6964" y="4730"/>
                    </a:lnTo>
                    <a:lnTo>
                      <a:pt x="6964" y="4682"/>
                    </a:lnTo>
                    <a:lnTo>
                      <a:pt x="6928" y="4623"/>
                    </a:lnTo>
                    <a:lnTo>
                      <a:pt x="6904" y="4539"/>
                    </a:lnTo>
                    <a:lnTo>
                      <a:pt x="6869" y="4492"/>
                    </a:lnTo>
                    <a:lnTo>
                      <a:pt x="6880" y="4444"/>
                    </a:lnTo>
                    <a:lnTo>
                      <a:pt x="6857" y="4397"/>
                    </a:lnTo>
                    <a:lnTo>
                      <a:pt x="6857" y="4373"/>
                    </a:lnTo>
                    <a:lnTo>
                      <a:pt x="6880" y="4326"/>
                    </a:lnTo>
                    <a:lnTo>
                      <a:pt x="6928" y="4290"/>
                    </a:lnTo>
                    <a:lnTo>
                      <a:pt x="6940" y="4219"/>
                    </a:lnTo>
                    <a:lnTo>
                      <a:pt x="6964" y="4183"/>
                    </a:lnTo>
                    <a:lnTo>
                      <a:pt x="6976" y="4159"/>
                    </a:lnTo>
                    <a:lnTo>
                      <a:pt x="6952" y="4112"/>
                    </a:lnTo>
                    <a:lnTo>
                      <a:pt x="6952" y="4052"/>
                    </a:lnTo>
                    <a:lnTo>
                      <a:pt x="6916" y="3993"/>
                    </a:lnTo>
                    <a:lnTo>
                      <a:pt x="6857" y="3969"/>
                    </a:lnTo>
                    <a:lnTo>
                      <a:pt x="6857" y="3957"/>
                    </a:lnTo>
                    <a:lnTo>
                      <a:pt x="6845" y="3921"/>
                    </a:lnTo>
                    <a:lnTo>
                      <a:pt x="6797" y="3838"/>
                    </a:lnTo>
                    <a:lnTo>
                      <a:pt x="6809" y="3779"/>
                    </a:lnTo>
                    <a:lnTo>
                      <a:pt x="6845" y="3731"/>
                    </a:lnTo>
                    <a:lnTo>
                      <a:pt x="6916" y="3719"/>
                    </a:lnTo>
                    <a:lnTo>
                      <a:pt x="6928" y="3696"/>
                    </a:lnTo>
                    <a:lnTo>
                      <a:pt x="6916" y="3684"/>
                    </a:lnTo>
                    <a:lnTo>
                      <a:pt x="6916" y="3660"/>
                    </a:lnTo>
                    <a:lnTo>
                      <a:pt x="6964" y="3624"/>
                    </a:lnTo>
                    <a:lnTo>
                      <a:pt x="6999" y="3517"/>
                    </a:lnTo>
                    <a:lnTo>
                      <a:pt x="7035" y="3506"/>
                    </a:lnTo>
                    <a:lnTo>
                      <a:pt x="7071" y="3434"/>
                    </a:lnTo>
                    <a:lnTo>
                      <a:pt x="7118" y="3422"/>
                    </a:lnTo>
                    <a:lnTo>
                      <a:pt x="7142" y="3327"/>
                    </a:lnTo>
                    <a:lnTo>
                      <a:pt x="7189" y="3292"/>
                    </a:lnTo>
                    <a:lnTo>
                      <a:pt x="7201" y="3256"/>
                    </a:lnTo>
                    <a:lnTo>
                      <a:pt x="7189" y="3137"/>
                    </a:lnTo>
                    <a:lnTo>
                      <a:pt x="7237" y="3078"/>
                    </a:lnTo>
                    <a:lnTo>
                      <a:pt x="7284" y="3054"/>
                    </a:lnTo>
                    <a:lnTo>
                      <a:pt x="7284" y="3006"/>
                    </a:lnTo>
                    <a:lnTo>
                      <a:pt x="7332" y="2995"/>
                    </a:lnTo>
                    <a:lnTo>
                      <a:pt x="7344" y="2983"/>
                    </a:lnTo>
                    <a:lnTo>
                      <a:pt x="7356" y="2923"/>
                    </a:lnTo>
                    <a:lnTo>
                      <a:pt x="7391" y="2899"/>
                    </a:lnTo>
                    <a:lnTo>
                      <a:pt x="7391" y="2876"/>
                    </a:lnTo>
                    <a:lnTo>
                      <a:pt x="7415" y="2852"/>
                    </a:lnTo>
                    <a:lnTo>
                      <a:pt x="7427" y="2864"/>
                    </a:lnTo>
                    <a:lnTo>
                      <a:pt x="7427" y="2899"/>
                    </a:lnTo>
                    <a:lnTo>
                      <a:pt x="7439" y="2911"/>
                    </a:lnTo>
                    <a:lnTo>
                      <a:pt x="7451" y="2911"/>
                    </a:lnTo>
                    <a:lnTo>
                      <a:pt x="7475" y="2876"/>
                    </a:lnTo>
                    <a:lnTo>
                      <a:pt x="7498" y="2888"/>
                    </a:lnTo>
                    <a:lnTo>
                      <a:pt x="7510" y="2888"/>
                    </a:lnTo>
                    <a:lnTo>
                      <a:pt x="7534" y="2852"/>
                    </a:lnTo>
                    <a:lnTo>
                      <a:pt x="7570" y="2876"/>
                    </a:lnTo>
                    <a:lnTo>
                      <a:pt x="7629" y="2864"/>
                    </a:lnTo>
                    <a:lnTo>
                      <a:pt x="7665" y="2888"/>
                    </a:lnTo>
                    <a:lnTo>
                      <a:pt x="7677" y="2888"/>
                    </a:lnTo>
                    <a:lnTo>
                      <a:pt x="7700" y="2876"/>
                    </a:lnTo>
                    <a:lnTo>
                      <a:pt x="7760" y="2852"/>
                    </a:lnTo>
                    <a:lnTo>
                      <a:pt x="7772" y="2828"/>
                    </a:lnTo>
                    <a:lnTo>
                      <a:pt x="7843" y="2793"/>
                    </a:lnTo>
                    <a:lnTo>
                      <a:pt x="7855" y="2757"/>
                    </a:lnTo>
                    <a:lnTo>
                      <a:pt x="7867" y="2733"/>
                    </a:lnTo>
                    <a:lnTo>
                      <a:pt x="7867" y="2709"/>
                    </a:lnTo>
                    <a:lnTo>
                      <a:pt x="7879" y="2697"/>
                    </a:lnTo>
                    <a:lnTo>
                      <a:pt x="7902" y="2697"/>
                    </a:lnTo>
                    <a:lnTo>
                      <a:pt x="7902" y="2686"/>
                    </a:lnTo>
                    <a:lnTo>
                      <a:pt x="7867" y="2674"/>
                    </a:lnTo>
                    <a:lnTo>
                      <a:pt x="7867" y="2650"/>
                    </a:lnTo>
                    <a:lnTo>
                      <a:pt x="7986" y="2638"/>
                    </a:lnTo>
                    <a:lnTo>
                      <a:pt x="8033" y="2626"/>
                    </a:lnTo>
                    <a:lnTo>
                      <a:pt x="8057" y="2614"/>
                    </a:lnTo>
                    <a:lnTo>
                      <a:pt x="8057" y="2555"/>
                    </a:lnTo>
                    <a:lnTo>
                      <a:pt x="8104" y="2543"/>
                    </a:lnTo>
                    <a:lnTo>
                      <a:pt x="8104" y="2507"/>
                    </a:lnTo>
                    <a:lnTo>
                      <a:pt x="8116" y="2460"/>
                    </a:lnTo>
                    <a:lnTo>
                      <a:pt x="8140" y="2448"/>
                    </a:lnTo>
                    <a:lnTo>
                      <a:pt x="8200" y="2424"/>
                    </a:lnTo>
                    <a:lnTo>
                      <a:pt x="8247" y="2365"/>
                    </a:lnTo>
                    <a:lnTo>
                      <a:pt x="8259" y="2329"/>
                    </a:lnTo>
                    <a:lnTo>
                      <a:pt x="8283" y="2305"/>
                    </a:lnTo>
                    <a:lnTo>
                      <a:pt x="8283" y="2282"/>
                    </a:lnTo>
                    <a:lnTo>
                      <a:pt x="8259" y="2246"/>
                    </a:lnTo>
                    <a:lnTo>
                      <a:pt x="8211" y="2186"/>
                    </a:lnTo>
                    <a:lnTo>
                      <a:pt x="8211" y="2151"/>
                    </a:lnTo>
                    <a:lnTo>
                      <a:pt x="8259" y="205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42" name="Freeform 108"/>
              <p:cNvSpPr>
                <a:spLocks/>
              </p:cNvSpPr>
              <p:nvPr/>
            </p:nvSpPr>
            <p:spPr bwMode="auto">
              <a:xfrm>
                <a:off x="25479375" y="-19029363"/>
                <a:ext cx="150813" cy="131763"/>
              </a:xfrm>
              <a:custGeom>
                <a:avLst/>
                <a:gdLst/>
                <a:ahLst/>
                <a:cxnLst>
                  <a:cxn ang="0">
                    <a:pos x="83" y="71"/>
                  </a:cxn>
                  <a:cxn ang="0">
                    <a:pos x="83" y="35"/>
                  </a:cxn>
                  <a:cxn ang="0">
                    <a:pos x="95" y="24"/>
                  </a:cxn>
                  <a:cxn ang="0">
                    <a:pos x="95" y="0"/>
                  </a:cxn>
                  <a:cxn ang="0">
                    <a:pos x="36" y="12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47"/>
                  </a:cxn>
                  <a:cxn ang="0">
                    <a:pos x="60" y="83"/>
                  </a:cxn>
                  <a:cxn ang="0">
                    <a:pos x="83" y="71"/>
                  </a:cxn>
                </a:cxnLst>
                <a:rect l="0" t="0" r="r" b="b"/>
                <a:pathLst>
                  <a:path w="95" h="83">
                    <a:moveTo>
                      <a:pt x="83" y="71"/>
                    </a:moveTo>
                    <a:lnTo>
                      <a:pt x="83" y="35"/>
                    </a:lnTo>
                    <a:lnTo>
                      <a:pt x="95" y="24"/>
                    </a:lnTo>
                    <a:lnTo>
                      <a:pt x="95" y="0"/>
                    </a:lnTo>
                    <a:lnTo>
                      <a:pt x="36" y="12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47"/>
                    </a:lnTo>
                    <a:lnTo>
                      <a:pt x="60" y="83"/>
                    </a:lnTo>
                    <a:lnTo>
                      <a:pt x="83" y="7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43" name="Freeform 262"/>
              <p:cNvSpPr>
                <a:spLocks/>
              </p:cNvSpPr>
              <p:nvPr/>
            </p:nvSpPr>
            <p:spPr bwMode="auto">
              <a:xfrm>
                <a:off x="25253950" y="-19218275"/>
                <a:ext cx="225425" cy="339725"/>
              </a:xfrm>
              <a:custGeom>
                <a:avLst/>
                <a:gdLst/>
                <a:ahLst/>
                <a:cxnLst>
                  <a:cxn ang="0">
                    <a:pos x="11" y="202"/>
                  </a:cxn>
                  <a:cxn ang="0">
                    <a:pos x="23" y="214"/>
                  </a:cxn>
                  <a:cxn ang="0">
                    <a:pos x="47" y="190"/>
                  </a:cxn>
                  <a:cxn ang="0">
                    <a:pos x="95" y="190"/>
                  </a:cxn>
                  <a:cxn ang="0">
                    <a:pos x="130" y="107"/>
                  </a:cxn>
                  <a:cxn ang="0">
                    <a:pos x="142" y="71"/>
                  </a:cxn>
                  <a:cxn ang="0">
                    <a:pos x="130" y="59"/>
                  </a:cxn>
                  <a:cxn ang="0">
                    <a:pos x="106" y="59"/>
                  </a:cxn>
                  <a:cxn ang="0">
                    <a:pos x="83" y="95"/>
                  </a:cxn>
                  <a:cxn ang="0">
                    <a:pos x="71" y="95"/>
                  </a:cxn>
                  <a:cxn ang="0">
                    <a:pos x="59" y="83"/>
                  </a:cxn>
                  <a:cxn ang="0">
                    <a:pos x="83" y="48"/>
                  </a:cxn>
                  <a:cxn ang="0">
                    <a:pos x="142" y="24"/>
                  </a:cxn>
                  <a:cxn ang="0">
                    <a:pos x="142" y="0"/>
                  </a:cxn>
                  <a:cxn ang="0">
                    <a:pos x="95" y="0"/>
                  </a:cxn>
                  <a:cxn ang="0">
                    <a:pos x="47" y="36"/>
                  </a:cxn>
                  <a:cxn ang="0">
                    <a:pos x="0" y="59"/>
                  </a:cxn>
                  <a:cxn ang="0">
                    <a:pos x="0" y="95"/>
                  </a:cxn>
                  <a:cxn ang="0">
                    <a:pos x="11" y="202"/>
                  </a:cxn>
                </a:cxnLst>
                <a:rect l="0" t="0" r="r" b="b"/>
                <a:pathLst>
                  <a:path w="142" h="214">
                    <a:moveTo>
                      <a:pt x="11" y="202"/>
                    </a:moveTo>
                    <a:lnTo>
                      <a:pt x="23" y="214"/>
                    </a:lnTo>
                    <a:lnTo>
                      <a:pt x="47" y="190"/>
                    </a:lnTo>
                    <a:lnTo>
                      <a:pt x="95" y="190"/>
                    </a:lnTo>
                    <a:lnTo>
                      <a:pt x="130" y="107"/>
                    </a:lnTo>
                    <a:lnTo>
                      <a:pt x="142" y="71"/>
                    </a:lnTo>
                    <a:lnTo>
                      <a:pt x="130" y="59"/>
                    </a:lnTo>
                    <a:lnTo>
                      <a:pt x="106" y="59"/>
                    </a:lnTo>
                    <a:lnTo>
                      <a:pt x="83" y="95"/>
                    </a:lnTo>
                    <a:lnTo>
                      <a:pt x="71" y="95"/>
                    </a:lnTo>
                    <a:lnTo>
                      <a:pt x="59" y="83"/>
                    </a:lnTo>
                    <a:lnTo>
                      <a:pt x="83" y="48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95" y="0"/>
                    </a:lnTo>
                    <a:lnTo>
                      <a:pt x="47" y="36"/>
                    </a:lnTo>
                    <a:lnTo>
                      <a:pt x="0" y="59"/>
                    </a:lnTo>
                    <a:lnTo>
                      <a:pt x="0" y="95"/>
                    </a:lnTo>
                    <a:lnTo>
                      <a:pt x="11" y="20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44" name="Freeform 264"/>
              <p:cNvSpPr>
                <a:spLocks/>
              </p:cNvSpPr>
              <p:nvPr/>
            </p:nvSpPr>
            <p:spPr bwMode="auto">
              <a:xfrm>
                <a:off x="25139650" y="-18916650"/>
                <a:ext cx="76200" cy="112713"/>
              </a:xfrm>
              <a:custGeom>
                <a:avLst/>
                <a:gdLst/>
                <a:ahLst/>
                <a:cxnLst>
                  <a:cxn ang="0">
                    <a:pos x="36" y="71"/>
                  </a:cxn>
                  <a:cxn ang="0">
                    <a:pos x="48" y="0"/>
                  </a:cxn>
                  <a:cxn ang="0">
                    <a:pos x="12" y="12"/>
                  </a:cxn>
                  <a:cxn ang="0">
                    <a:pos x="0" y="36"/>
                  </a:cxn>
                  <a:cxn ang="0">
                    <a:pos x="12" y="71"/>
                  </a:cxn>
                  <a:cxn ang="0">
                    <a:pos x="36" y="71"/>
                  </a:cxn>
                </a:cxnLst>
                <a:rect l="0" t="0" r="r" b="b"/>
                <a:pathLst>
                  <a:path w="48" h="71">
                    <a:moveTo>
                      <a:pt x="36" y="71"/>
                    </a:moveTo>
                    <a:lnTo>
                      <a:pt x="48" y="0"/>
                    </a:lnTo>
                    <a:lnTo>
                      <a:pt x="12" y="12"/>
                    </a:lnTo>
                    <a:lnTo>
                      <a:pt x="0" y="36"/>
                    </a:lnTo>
                    <a:lnTo>
                      <a:pt x="12" y="71"/>
                    </a:lnTo>
                    <a:lnTo>
                      <a:pt x="36" y="7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45" name="Freeform 266"/>
              <p:cNvSpPr>
                <a:spLocks/>
              </p:cNvSpPr>
              <p:nvPr/>
            </p:nvSpPr>
            <p:spPr bwMode="auto">
              <a:xfrm>
                <a:off x="25026938" y="-18840450"/>
                <a:ext cx="93663" cy="131763"/>
              </a:xfrm>
              <a:custGeom>
                <a:avLst/>
                <a:gdLst/>
                <a:ahLst/>
                <a:cxnLst>
                  <a:cxn ang="0">
                    <a:pos x="36" y="83"/>
                  </a:cxn>
                  <a:cxn ang="0">
                    <a:pos x="59" y="47"/>
                  </a:cxn>
                  <a:cxn ang="0">
                    <a:pos x="59" y="35"/>
                  </a:cxn>
                  <a:cxn ang="0">
                    <a:pos x="47" y="23"/>
                  </a:cxn>
                  <a:cxn ang="0">
                    <a:pos x="36" y="0"/>
                  </a:cxn>
                  <a:cxn ang="0">
                    <a:pos x="12" y="12"/>
                  </a:cxn>
                  <a:cxn ang="0">
                    <a:pos x="0" y="71"/>
                  </a:cxn>
                  <a:cxn ang="0">
                    <a:pos x="24" y="83"/>
                  </a:cxn>
                  <a:cxn ang="0">
                    <a:pos x="36" y="83"/>
                  </a:cxn>
                </a:cxnLst>
                <a:rect l="0" t="0" r="r" b="b"/>
                <a:pathLst>
                  <a:path w="59" h="83">
                    <a:moveTo>
                      <a:pt x="36" y="83"/>
                    </a:moveTo>
                    <a:lnTo>
                      <a:pt x="59" y="47"/>
                    </a:lnTo>
                    <a:lnTo>
                      <a:pt x="59" y="35"/>
                    </a:lnTo>
                    <a:lnTo>
                      <a:pt x="47" y="23"/>
                    </a:lnTo>
                    <a:lnTo>
                      <a:pt x="36" y="0"/>
                    </a:lnTo>
                    <a:lnTo>
                      <a:pt x="12" y="12"/>
                    </a:lnTo>
                    <a:lnTo>
                      <a:pt x="0" y="71"/>
                    </a:lnTo>
                    <a:lnTo>
                      <a:pt x="24" y="83"/>
                    </a:lnTo>
                    <a:lnTo>
                      <a:pt x="36" y="83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46" name="Freeform 268"/>
              <p:cNvSpPr>
                <a:spLocks/>
              </p:cNvSpPr>
              <p:nvPr/>
            </p:nvSpPr>
            <p:spPr bwMode="auto">
              <a:xfrm>
                <a:off x="23782338" y="-18897600"/>
                <a:ext cx="150813" cy="188913"/>
              </a:xfrm>
              <a:custGeom>
                <a:avLst/>
                <a:gdLst/>
                <a:ahLst/>
                <a:cxnLst>
                  <a:cxn ang="0">
                    <a:pos x="0" y="107"/>
                  </a:cxn>
                  <a:cxn ang="0">
                    <a:pos x="11" y="119"/>
                  </a:cxn>
                  <a:cxn ang="0">
                    <a:pos x="23" y="119"/>
                  </a:cxn>
                  <a:cxn ang="0">
                    <a:pos x="35" y="107"/>
                  </a:cxn>
                  <a:cxn ang="0">
                    <a:pos x="59" y="71"/>
                  </a:cxn>
                  <a:cxn ang="0">
                    <a:pos x="95" y="36"/>
                  </a:cxn>
                  <a:cxn ang="0">
                    <a:pos x="71" y="24"/>
                  </a:cxn>
                  <a:cxn ang="0">
                    <a:pos x="83" y="12"/>
                  </a:cxn>
                  <a:cxn ang="0">
                    <a:pos x="59" y="0"/>
                  </a:cxn>
                  <a:cxn ang="0">
                    <a:pos x="23" y="0"/>
                  </a:cxn>
                  <a:cxn ang="0">
                    <a:pos x="11" y="12"/>
                  </a:cxn>
                  <a:cxn ang="0">
                    <a:pos x="11" y="59"/>
                  </a:cxn>
                  <a:cxn ang="0">
                    <a:pos x="0" y="107"/>
                  </a:cxn>
                </a:cxnLst>
                <a:rect l="0" t="0" r="r" b="b"/>
                <a:pathLst>
                  <a:path w="95" h="119">
                    <a:moveTo>
                      <a:pt x="0" y="107"/>
                    </a:moveTo>
                    <a:lnTo>
                      <a:pt x="11" y="119"/>
                    </a:lnTo>
                    <a:lnTo>
                      <a:pt x="23" y="119"/>
                    </a:lnTo>
                    <a:lnTo>
                      <a:pt x="35" y="107"/>
                    </a:lnTo>
                    <a:lnTo>
                      <a:pt x="59" y="71"/>
                    </a:lnTo>
                    <a:lnTo>
                      <a:pt x="95" y="36"/>
                    </a:lnTo>
                    <a:lnTo>
                      <a:pt x="71" y="24"/>
                    </a:lnTo>
                    <a:lnTo>
                      <a:pt x="83" y="12"/>
                    </a:lnTo>
                    <a:lnTo>
                      <a:pt x="59" y="0"/>
                    </a:lnTo>
                    <a:lnTo>
                      <a:pt x="23" y="0"/>
                    </a:lnTo>
                    <a:lnTo>
                      <a:pt x="11" y="12"/>
                    </a:lnTo>
                    <a:lnTo>
                      <a:pt x="11" y="59"/>
                    </a:lnTo>
                    <a:lnTo>
                      <a:pt x="0" y="10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47" name="Freeform 270"/>
              <p:cNvSpPr>
                <a:spLocks/>
              </p:cNvSpPr>
              <p:nvPr/>
            </p:nvSpPr>
            <p:spPr bwMode="auto">
              <a:xfrm>
                <a:off x="23517225" y="-17992725"/>
                <a:ext cx="112713" cy="169863"/>
              </a:xfrm>
              <a:custGeom>
                <a:avLst/>
                <a:gdLst/>
                <a:ahLst/>
                <a:cxnLst>
                  <a:cxn ang="0">
                    <a:pos x="71" y="60"/>
                  </a:cxn>
                  <a:cxn ang="0">
                    <a:pos x="71" y="0"/>
                  </a:cxn>
                  <a:cxn ang="0">
                    <a:pos x="60" y="0"/>
                  </a:cxn>
                  <a:cxn ang="0">
                    <a:pos x="48" y="24"/>
                  </a:cxn>
                  <a:cxn ang="0">
                    <a:pos x="0" y="36"/>
                  </a:cxn>
                  <a:cxn ang="0">
                    <a:pos x="0" y="84"/>
                  </a:cxn>
                  <a:cxn ang="0">
                    <a:pos x="12" y="107"/>
                  </a:cxn>
                  <a:cxn ang="0">
                    <a:pos x="48" y="96"/>
                  </a:cxn>
                  <a:cxn ang="0">
                    <a:pos x="71" y="60"/>
                  </a:cxn>
                </a:cxnLst>
                <a:rect l="0" t="0" r="r" b="b"/>
                <a:pathLst>
                  <a:path w="71" h="107">
                    <a:moveTo>
                      <a:pt x="71" y="60"/>
                    </a:moveTo>
                    <a:lnTo>
                      <a:pt x="71" y="0"/>
                    </a:lnTo>
                    <a:lnTo>
                      <a:pt x="60" y="0"/>
                    </a:lnTo>
                    <a:lnTo>
                      <a:pt x="48" y="24"/>
                    </a:lnTo>
                    <a:lnTo>
                      <a:pt x="0" y="36"/>
                    </a:lnTo>
                    <a:lnTo>
                      <a:pt x="0" y="84"/>
                    </a:lnTo>
                    <a:lnTo>
                      <a:pt x="12" y="107"/>
                    </a:lnTo>
                    <a:lnTo>
                      <a:pt x="48" y="96"/>
                    </a:lnTo>
                    <a:lnTo>
                      <a:pt x="71" y="6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48" name="Freeform 272"/>
              <p:cNvSpPr>
                <a:spLocks/>
              </p:cNvSpPr>
              <p:nvPr/>
            </p:nvSpPr>
            <p:spPr bwMode="auto">
              <a:xfrm>
                <a:off x="23629938" y="-18368963"/>
                <a:ext cx="207963" cy="622300"/>
              </a:xfrm>
              <a:custGeom>
                <a:avLst/>
                <a:gdLst/>
                <a:ahLst/>
                <a:cxnLst>
                  <a:cxn ang="0">
                    <a:pos x="36" y="356"/>
                  </a:cxn>
                  <a:cxn ang="0">
                    <a:pos x="107" y="309"/>
                  </a:cxn>
                  <a:cxn ang="0">
                    <a:pos x="119" y="285"/>
                  </a:cxn>
                  <a:cxn ang="0">
                    <a:pos x="119" y="237"/>
                  </a:cxn>
                  <a:cxn ang="0">
                    <a:pos x="131" y="214"/>
                  </a:cxn>
                  <a:cxn ang="0">
                    <a:pos x="131" y="154"/>
                  </a:cxn>
                  <a:cxn ang="0">
                    <a:pos x="119" y="154"/>
                  </a:cxn>
                  <a:cxn ang="0">
                    <a:pos x="107" y="178"/>
                  </a:cxn>
                  <a:cxn ang="0">
                    <a:pos x="96" y="178"/>
                  </a:cxn>
                  <a:cxn ang="0">
                    <a:pos x="107" y="142"/>
                  </a:cxn>
                  <a:cxn ang="0">
                    <a:pos x="131" y="119"/>
                  </a:cxn>
                  <a:cxn ang="0">
                    <a:pos x="119" y="0"/>
                  </a:cxn>
                  <a:cxn ang="0">
                    <a:pos x="96" y="12"/>
                  </a:cxn>
                  <a:cxn ang="0">
                    <a:pos x="60" y="71"/>
                  </a:cxn>
                  <a:cxn ang="0">
                    <a:pos x="24" y="83"/>
                  </a:cxn>
                  <a:cxn ang="0">
                    <a:pos x="0" y="95"/>
                  </a:cxn>
                  <a:cxn ang="0">
                    <a:pos x="0" y="166"/>
                  </a:cxn>
                  <a:cxn ang="0">
                    <a:pos x="36" y="261"/>
                  </a:cxn>
                  <a:cxn ang="0">
                    <a:pos x="36" y="297"/>
                  </a:cxn>
                  <a:cxn ang="0">
                    <a:pos x="0" y="368"/>
                  </a:cxn>
                  <a:cxn ang="0">
                    <a:pos x="0" y="392"/>
                  </a:cxn>
                  <a:cxn ang="0">
                    <a:pos x="12" y="392"/>
                  </a:cxn>
                  <a:cxn ang="0">
                    <a:pos x="36" y="356"/>
                  </a:cxn>
                </a:cxnLst>
                <a:rect l="0" t="0" r="r" b="b"/>
                <a:pathLst>
                  <a:path w="131" h="392">
                    <a:moveTo>
                      <a:pt x="36" y="356"/>
                    </a:moveTo>
                    <a:lnTo>
                      <a:pt x="107" y="309"/>
                    </a:lnTo>
                    <a:lnTo>
                      <a:pt x="119" y="285"/>
                    </a:lnTo>
                    <a:lnTo>
                      <a:pt x="119" y="237"/>
                    </a:lnTo>
                    <a:lnTo>
                      <a:pt x="131" y="214"/>
                    </a:lnTo>
                    <a:lnTo>
                      <a:pt x="131" y="154"/>
                    </a:lnTo>
                    <a:lnTo>
                      <a:pt x="119" y="154"/>
                    </a:lnTo>
                    <a:lnTo>
                      <a:pt x="107" y="178"/>
                    </a:lnTo>
                    <a:lnTo>
                      <a:pt x="96" y="178"/>
                    </a:lnTo>
                    <a:lnTo>
                      <a:pt x="107" y="142"/>
                    </a:lnTo>
                    <a:lnTo>
                      <a:pt x="131" y="119"/>
                    </a:lnTo>
                    <a:lnTo>
                      <a:pt x="119" y="0"/>
                    </a:lnTo>
                    <a:lnTo>
                      <a:pt x="96" y="12"/>
                    </a:lnTo>
                    <a:lnTo>
                      <a:pt x="60" y="71"/>
                    </a:lnTo>
                    <a:lnTo>
                      <a:pt x="24" y="83"/>
                    </a:lnTo>
                    <a:lnTo>
                      <a:pt x="0" y="95"/>
                    </a:lnTo>
                    <a:lnTo>
                      <a:pt x="0" y="166"/>
                    </a:lnTo>
                    <a:lnTo>
                      <a:pt x="36" y="261"/>
                    </a:lnTo>
                    <a:lnTo>
                      <a:pt x="36" y="297"/>
                    </a:lnTo>
                    <a:lnTo>
                      <a:pt x="0" y="368"/>
                    </a:lnTo>
                    <a:lnTo>
                      <a:pt x="0" y="392"/>
                    </a:lnTo>
                    <a:lnTo>
                      <a:pt x="12" y="392"/>
                    </a:lnTo>
                    <a:lnTo>
                      <a:pt x="36" y="35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49" name="Freeform 274"/>
              <p:cNvSpPr>
                <a:spLocks/>
              </p:cNvSpPr>
              <p:nvPr/>
            </p:nvSpPr>
            <p:spPr bwMode="auto">
              <a:xfrm>
                <a:off x="23253700" y="-20577175"/>
                <a:ext cx="282575" cy="227013"/>
              </a:xfrm>
              <a:custGeom>
                <a:avLst/>
                <a:gdLst/>
                <a:ahLst/>
                <a:cxnLst>
                  <a:cxn ang="0">
                    <a:pos x="154" y="95"/>
                  </a:cxn>
                  <a:cxn ang="0">
                    <a:pos x="154" y="36"/>
                  </a:cxn>
                  <a:cxn ang="0">
                    <a:pos x="131" y="36"/>
                  </a:cxn>
                  <a:cxn ang="0">
                    <a:pos x="119" y="48"/>
                  </a:cxn>
                  <a:cxn ang="0">
                    <a:pos x="107" y="72"/>
                  </a:cxn>
                  <a:cxn ang="0">
                    <a:pos x="95" y="24"/>
                  </a:cxn>
                  <a:cxn ang="0">
                    <a:pos x="83" y="12"/>
                  </a:cxn>
                  <a:cxn ang="0">
                    <a:pos x="71" y="0"/>
                  </a:cxn>
                  <a:cxn ang="0">
                    <a:pos x="47" y="0"/>
                  </a:cxn>
                  <a:cxn ang="0">
                    <a:pos x="47" y="1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0" y="131"/>
                  </a:cxn>
                  <a:cxn ang="0">
                    <a:pos x="35" y="143"/>
                  </a:cxn>
                  <a:cxn ang="0">
                    <a:pos x="59" y="131"/>
                  </a:cxn>
                  <a:cxn ang="0">
                    <a:pos x="107" y="119"/>
                  </a:cxn>
                  <a:cxn ang="0">
                    <a:pos x="142" y="143"/>
                  </a:cxn>
                  <a:cxn ang="0">
                    <a:pos x="166" y="131"/>
                  </a:cxn>
                  <a:cxn ang="0">
                    <a:pos x="178" y="107"/>
                  </a:cxn>
                  <a:cxn ang="0">
                    <a:pos x="154" y="95"/>
                  </a:cxn>
                </a:cxnLst>
                <a:rect l="0" t="0" r="r" b="b"/>
                <a:pathLst>
                  <a:path w="178" h="143">
                    <a:moveTo>
                      <a:pt x="154" y="95"/>
                    </a:moveTo>
                    <a:lnTo>
                      <a:pt x="154" y="36"/>
                    </a:lnTo>
                    <a:lnTo>
                      <a:pt x="131" y="36"/>
                    </a:lnTo>
                    <a:lnTo>
                      <a:pt x="119" y="48"/>
                    </a:lnTo>
                    <a:lnTo>
                      <a:pt x="107" y="72"/>
                    </a:lnTo>
                    <a:lnTo>
                      <a:pt x="95" y="24"/>
                    </a:lnTo>
                    <a:lnTo>
                      <a:pt x="83" y="12"/>
                    </a:lnTo>
                    <a:lnTo>
                      <a:pt x="71" y="0"/>
                    </a:lnTo>
                    <a:lnTo>
                      <a:pt x="47" y="0"/>
                    </a:lnTo>
                    <a:lnTo>
                      <a:pt x="47" y="1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0" y="131"/>
                    </a:lnTo>
                    <a:lnTo>
                      <a:pt x="35" y="143"/>
                    </a:lnTo>
                    <a:lnTo>
                      <a:pt x="59" y="131"/>
                    </a:lnTo>
                    <a:lnTo>
                      <a:pt x="107" y="119"/>
                    </a:lnTo>
                    <a:lnTo>
                      <a:pt x="142" y="143"/>
                    </a:lnTo>
                    <a:lnTo>
                      <a:pt x="166" y="131"/>
                    </a:lnTo>
                    <a:lnTo>
                      <a:pt x="178" y="107"/>
                    </a:lnTo>
                    <a:lnTo>
                      <a:pt x="154" y="9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50" name="Freeform 276"/>
              <p:cNvSpPr>
                <a:spLocks/>
              </p:cNvSpPr>
              <p:nvPr/>
            </p:nvSpPr>
            <p:spPr bwMode="auto">
              <a:xfrm>
                <a:off x="23253700" y="-20747038"/>
                <a:ext cx="93663" cy="133350"/>
              </a:xfrm>
              <a:custGeom>
                <a:avLst/>
                <a:gdLst/>
                <a:ahLst/>
                <a:cxnLst>
                  <a:cxn ang="0">
                    <a:pos x="12" y="84"/>
                  </a:cxn>
                  <a:cxn ang="0">
                    <a:pos x="47" y="72"/>
                  </a:cxn>
                  <a:cxn ang="0">
                    <a:pos x="59" y="48"/>
                  </a:cxn>
                  <a:cxn ang="0">
                    <a:pos x="35" y="12"/>
                  </a:cxn>
                  <a:cxn ang="0">
                    <a:pos x="24" y="0"/>
                  </a:cxn>
                  <a:cxn ang="0">
                    <a:pos x="12" y="0"/>
                  </a:cxn>
                  <a:cxn ang="0">
                    <a:pos x="0" y="12"/>
                  </a:cxn>
                  <a:cxn ang="0">
                    <a:pos x="12" y="48"/>
                  </a:cxn>
                  <a:cxn ang="0">
                    <a:pos x="12" y="84"/>
                  </a:cxn>
                </a:cxnLst>
                <a:rect l="0" t="0" r="r" b="b"/>
                <a:pathLst>
                  <a:path w="59" h="84">
                    <a:moveTo>
                      <a:pt x="12" y="84"/>
                    </a:moveTo>
                    <a:lnTo>
                      <a:pt x="47" y="72"/>
                    </a:lnTo>
                    <a:lnTo>
                      <a:pt x="59" y="48"/>
                    </a:lnTo>
                    <a:lnTo>
                      <a:pt x="35" y="12"/>
                    </a:lnTo>
                    <a:lnTo>
                      <a:pt x="24" y="0"/>
                    </a:lnTo>
                    <a:lnTo>
                      <a:pt x="12" y="0"/>
                    </a:lnTo>
                    <a:lnTo>
                      <a:pt x="0" y="12"/>
                    </a:lnTo>
                    <a:lnTo>
                      <a:pt x="12" y="48"/>
                    </a:lnTo>
                    <a:lnTo>
                      <a:pt x="12" y="8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51" name="Freeform 278"/>
              <p:cNvSpPr>
                <a:spLocks/>
              </p:cNvSpPr>
              <p:nvPr/>
            </p:nvSpPr>
            <p:spPr bwMode="auto">
              <a:xfrm>
                <a:off x="22763163" y="-21067713"/>
                <a:ext cx="358775" cy="227013"/>
              </a:xfrm>
              <a:custGeom>
                <a:avLst/>
                <a:gdLst/>
                <a:ahLst/>
                <a:cxnLst>
                  <a:cxn ang="0">
                    <a:pos x="142" y="84"/>
                  </a:cxn>
                  <a:cxn ang="0">
                    <a:pos x="202" y="84"/>
                  </a:cxn>
                  <a:cxn ang="0">
                    <a:pos x="226" y="72"/>
                  </a:cxn>
                  <a:cxn ang="0">
                    <a:pos x="202" y="48"/>
                  </a:cxn>
                  <a:cxn ang="0">
                    <a:pos x="190" y="0"/>
                  </a:cxn>
                  <a:cxn ang="0">
                    <a:pos x="71" y="0"/>
                  </a:cxn>
                  <a:cxn ang="0">
                    <a:pos x="71" y="60"/>
                  </a:cxn>
                  <a:cxn ang="0">
                    <a:pos x="35" y="48"/>
                  </a:cxn>
                  <a:cxn ang="0">
                    <a:pos x="0" y="60"/>
                  </a:cxn>
                  <a:cxn ang="0">
                    <a:pos x="0" y="72"/>
                  </a:cxn>
                  <a:cxn ang="0">
                    <a:pos x="24" y="84"/>
                  </a:cxn>
                  <a:cxn ang="0">
                    <a:pos x="35" y="131"/>
                  </a:cxn>
                  <a:cxn ang="0">
                    <a:pos x="59" y="143"/>
                  </a:cxn>
                  <a:cxn ang="0">
                    <a:pos x="83" y="143"/>
                  </a:cxn>
                  <a:cxn ang="0">
                    <a:pos x="142" y="84"/>
                  </a:cxn>
                </a:cxnLst>
                <a:rect l="0" t="0" r="r" b="b"/>
                <a:pathLst>
                  <a:path w="226" h="143">
                    <a:moveTo>
                      <a:pt x="142" y="84"/>
                    </a:moveTo>
                    <a:lnTo>
                      <a:pt x="202" y="84"/>
                    </a:lnTo>
                    <a:lnTo>
                      <a:pt x="226" y="72"/>
                    </a:lnTo>
                    <a:lnTo>
                      <a:pt x="202" y="48"/>
                    </a:lnTo>
                    <a:lnTo>
                      <a:pt x="190" y="0"/>
                    </a:lnTo>
                    <a:lnTo>
                      <a:pt x="71" y="0"/>
                    </a:lnTo>
                    <a:lnTo>
                      <a:pt x="71" y="60"/>
                    </a:lnTo>
                    <a:lnTo>
                      <a:pt x="35" y="48"/>
                    </a:lnTo>
                    <a:lnTo>
                      <a:pt x="0" y="60"/>
                    </a:lnTo>
                    <a:lnTo>
                      <a:pt x="0" y="72"/>
                    </a:lnTo>
                    <a:lnTo>
                      <a:pt x="24" y="84"/>
                    </a:lnTo>
                    <a:lnTo>
                      <a:pt x="35" y="131"/>
                    </a:lnTo>
                    <a:lnTo>
                      <a:pt x="59" y="143"/>
                    </a:lnTo>
                    <a:lnTo>
                      <a:pt x="83" y="143"/>
                    </a:lnTo>
                    <a:lnTo>
                      <a:pt x="142" y="8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52" name="Freeform 282"/>
              <p:cNvSpPr>
                <a:spLocks/>
              </p:cNvSpPr>
              <p:nvPr/>
            </p:nvSpPr>
            <p:spPr bwMode="auto">
              <a:xfrm>
                <a:off x="22102763" y="-21048663"/>
                <a:ext cx="169863" cy="284163"/>
              </a:xfrm>
              <a:custGeom>
                <a:avLst/>
                <a:gdLst/>
                <a:ahLst/>
                <a:cxnLst>
                  <a:cxn ang="0">
                    <a:pos x="47" y="179"/>
                  </a:cxn>
                  <a:cxn ang="0">
                    <a:pos x="107" y="155"/>
                  </a:cxn>
                  <a:cxn ang="0">
                    <a:pos x="107" y="131"/>
                  </a:cxn>
                  <a:cxn ang="0">
                    <a:pos x="83" y="83"/>
                  </a:cxn>
                  <a:cxn ang="0">
                    <a:pos x="95" y="36"/>
                  </a:cxn>
                  <a:cxn ang="0">
                    <a:pos x="59" y="0"/>
                  </a:cxn>
                  <a:cxn ang="0">
                    <a:pos x="36" y="0"/>
                  </a:cxn>
                  <a:cxn ang="0">
                    <a:pos x="24" y="0"/>
                  </a:cxn>
                  <a:cxn ang="0">
                    <a:pos x="24" y="24"/>
                  </a:cxn>
                  <a:cxn ang="0">
                    <a:pos x="36" y="48"/>
                  </a:cxn>
                  <a:cxn ang="0">
                    <a:pos x="12" y="72"/>
                  </a:cxn>
                  <a:cxn ang="0">
                    <a:pos x="12" y="83"/>
                  </a:cxn>
                  <a:cxn ang="0">
                    <a:pos x="24" y="107"/>
                  </a:cxn>
                  <a:cxn ang="0">
                    <a:pos x="0" y="143"/>
                  </a:cxn>
                  <a:cxn ang="0">
                    <a:pos x="0" y="167"/>
                  </a:cxn>
                  <a:cxn ang="0">
                    <a:pos x="47" y="179"/>
                  </a:cxn>
                </a:cxnLst>
                <a:rect l="0" t="0" r="r" b="b"/>
                <a:pathLst>
                  <a:path w="107" h="179">
                    <a:moveTo>
                      <a:pt x="47" y="179"/>
                    </a:moveTo>
                    <a:lnTo>
                      <a:pt x="107" y="155"/>
                    </a:lnTo>
                    <a:lnTo>
                      <a:pt x="107" y="131"/>
                    </a:lnTo>
                    <a:lnTo>
                      <a:pt x="83" y="83"/>
                    </a:lnTo>
                    <a:lnTo>
                      <a:pt x="95" y="36"/>
                    </a:lnTo>
                    <a:lnTo>
                      <a:pt x="59" y="0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24" y="24"/>
                    </a:lnTo>
                    <a:lnTo>
                      <a:pt x="36" y="48"/>
                    </a:lnTo>
                    <a:lnTo>
                      <a:pt x="12" y="72"/>
                    </a:lnTo>
                    <a:lnTo>
                      <a:pt x="12" y="83"/>
                    </a:lnTo>
                    <a:lnTo>
                      <a:pt x="24" y="107"/>
                    </a:lnTo>
                    <a:lnTo>
                      <a:pt x="0" y="143"/>
                    </a:lnTo>
                    <a:lnTo>
                      <a:pt x="0" y="167"/>
                    </a:lnTo>
                    <a:lnTo>
                      <a:pt x="47" y="179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53" name="Freeform 284"/>
              <p:cNvSpPr>
                <a:spLocks/>
              </p:cNvSpPr>
              <p:nvPr/>
            </p:nvSpPr>
            <p:spPr bwMode="auto">
              <a:xfrm>
                <a:off x="21724938" y="-21255038"/>
                <a:ext cx="95250" cy="74613"/>
              </a:xfrm>
              <a:custGeom>
                <a:avLst/>
                <a:gdLst/>
                <a:ahLst/>
                <a:cxnLst>
                  <a:cxn ang="0">
                    <a:pos x="48" y="35"/>
                  </a:cxn>
                  <a:cxn ang="0">
                    <a:pos x="60" y="35"/>
                  </a:cxn>
                  <a:cxn ang="0">
                    <a:pos x="60" y="23"/>
                  </a:cxn>
                  <a:cxn ang="0">
                    <a:pos x="48" y="0"/>
                  </a:cxn>
                  <a:cxn ang="0">
                    <a:pos x="36" y="0"/>
                  </a:cxn>
                  <a:cxn ang="0">
                    <a:pos x="0" y="23"/>
                  </a:cxn>
                  <a:cxn ang="0">
                    <a:pos x="0" y="47"/>
                  </a:cxn>
                  <a:cxn ang="0">
                    <a:pos x="12" y="47"/>
                  </a:cxn>
                  <a:cxn ang="0">
                    <a:pos x="24" y="35"/>
                  </a:cxn>
                  <a:cxn ang="0">
                    <a:pos x="48" y="35"/>
                  </a:cxn>
                </a:cxnLst>
                <a:rect l="0" t="0" r="r" b="b"/>
                <a:pathLst>
                  <a:path w="60" h="47">
                    <a:moveTo>
                      <a:pt x="48" y="35"/>
                    </a:moveTo>
                    <a:lnTo>
                      <a:pt x="60" y="35"/>
                    </a:lnTo>
                    <a:lnTo>
                      <a:pt x="60" y="23"/>
                    </a:lnTo>
                    <a:lnTo>
                      <a:pt x="48" y="0"/>
                    </a:lnTo>
                    <a:lnTo>
                      <a:pt x="36" y="0"/>
                    </a:lnTo>
                    <a:lnTo>
                      <a:pt x="0" y="23"/>
                    </a:lnTo>
                    <a:lnTo>
                      <a:pt x="0" y="47"/>
                    </a:lnTo>
                    <a:lnTo>
                      <a:pt x="12" y="47"/>
                    </a:lnTo>
                    <a:lnTo>
                      <a:pt x="24" y="35"/>
                    </a:lnTo>
                    <a:lnTo>
                      <a:pt x="48" y="3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54" name="Freeform 286"/>
              <p:cNvSpPr>
                <a:spLocks/>
              </p:cNvSpPr>
              <p:nvPr/>
            </p:nvSpPr>
            <p:spPr bwMode="auto">
              <a:xfrm>
                <a:off x="22291675" y="-20426363"/>
                <a:ext cx="93663" cy="133350"/>
              </a:xfrm>
              <a:custGeom>
                <a:avLst/>
                <a:gdLst/>
                <a:ahLst/>
                <a:cxnLst>
                  <a:cxn ang="0">
                    <a:pos x="0" y="72"/>
                  </a:cxn>
                  <a:cxn ang="0">
                    <a:pos x="0" y="84"/>
                  </a:cxn>
                  <a:cxn ang="0">
                    <a:pos x="24" y="72"/>
                  </a:cxn>
                  <a:cxn ang="0">
                    <a:pos x="47" y="48"/>
                  </a:cxn>
                  <a:cxn ang="0">
                    <a:pos x="59" y="0"/>
                  </a:cxn>
                  <a:cxn ang="0">
                    <a:pos x="35" y="0"/>
                  </a:cxn>
                  <a:cxn ang="0">
                    <a:pos x="24" y="36"/>
                  </a:cxn>
                  <a:cxn ang="0">
                    <a:pos x="0" y="60"/>
                  </a:cxn>
                  <a:cxn ang="0">
                    <a:pos x="0" y="72"/>
                  </a:cxn>
                </a:cxnLst>
                <a:rect l="0" t="0" r="r" b="b"/>
                <a:pathLst>
                  <a:path w="59" h="84">
                    <a:moveTo>
                      <a:pt x="0" y="72"/>
                    </a:moveTo>
                    <a:lnTo>
                      <a:pt x="0" y="84"/>
                    </a:lnTo>
                    <a:lnTo>
                      <a:pt x="24" y="72"/>
                    </a:lnTo>
                    <a:lnTo>
                      <a:pt x="47" y="48"/>
                    </a:lnTo>
                    <a:lnTo>
                      <a:pt x="59" y="0"/>
                    </a:lnTo>
                    <a:lnTo>
                      <a:pt x="35" y="0"/>
                    </a:lnTo>
                    <a:lnTo>
                      <a:pt x="24" y="36"/>
                    </a:lnTo>
                    <a:lnTo>
                      <a:pt x="0" y="60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55" name="Freeform 288"/>
              <p:cNvSpPr>
                <a:spLocks/>
              </p:cNvSpPr>
              <p:nvPr/>
            </p:nvSpPr>
            <p:spPr bwMode="auto">
              <a:xfrm>
                <a:off x="22196425" y="-20500975"/>
                <a:ext cx="95250" cy="244475"/>
              </a:xfrm>
              <a:custGeom>
                <a:avLst/>
                <a:gdLst/>
                <a:ahLst/>
                <a:cxnLst>
                  <a:cxn ang="0">
                    <a:pos x="12" y="154"/>
                  </a:cxn>
                  <a:cxn ang="0">
                    <a:pos x="24" y="143"/>
                  </a:cxn>
                  <a:cxn ang="0">
                    <a:pos x="36" y="119"/>
                  </a:cxn>
                  <a:cxn ang="0">
                    <a:pos x="36" y="59"/>
                  </a:cxn>
                  <a:cxn ang="0">
                    <a:pos x="60" y="47"/>
                  </a:cxn>
                  <a:cxn ang="0">
                    <a:pos x="48" y="0"/>
                  </a:cxn>
                  <a:cxn ang="0">
                    <a:pos x="24" y="12"/>
                  </a:cxn>
                  <a:cxn ang="0">
                    <a:pos x="12" y="71"/>
                  </a:cxn>
                  <a:cxn ang="0">
                    <a:pos x="0" y="143"/>
                  </a:cxn>
                  <a:cxn ang="0">
                    <a:pos x="12" y="154"/>
                  </a:cxn>
                </a:cxnLst>
                <a:rect l="0" t="0" r="r" b="b"/>
                <a:pathLst>
                  <a:path w="60" h="154">
                    <a:moveTo>
                      <a:pt x="12" y="154"/>
                    </a:moveTo>
                    <a:lnTo>
                      <a:pt x="24" y="143"/>
                    </a:lnTo>
                    <a:lnTo>
                      <a:pt x="36" y="119"/>
                    </a:lnTo>
                    <a:lnTo>
                      <a:pt x="36" y="59"/>
                    </a:lnTo>
                    <a:lnTo>
                      <a:pt x="60" y="47"/>
                    </a:lnTo>
                    <a:lnTo>
                      <a:pt x="48" y="0"/>
                    </a:lnTo>
                    <a:lnTo>
                      <a:pt x="24" y="12"/>
                    </a:lnTo>
                    <a:lnTo>
                      <a:pt x="12" y="71"/>
                    </a:lnTo>
                    <a:lnTo>
                      <a:pt x="0" y="143"/>
                    </a:lnTo>
                    <a:lnTo>
                      <a:pt x="12" y="15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56" name="Freeform 290"/>
              <p:cNvSpPr>
                <a:spLocks/>
              </p:cNvSpPr>
              <p:nvPr/>
            </p:nvSpPr>
            <p:spPr bwMode="auto">
              <a:xfrm>
                <a:off x="21178838" y="-21539200"/>
                <a:ext cx="74613" cy="150813"/>
              </a:xfrm>
              <a:custGeom>
                <a:avLst/>
                <a:gdLst/>
                <a:ahLst/>
                <a:cxnLst>
                  <a:cxn ang="0">
                    <a:pos x="0" y="72"/>
                  </a:cxn>
                  <a:cxn ang="0">
                    <a:pos x="23" y="95"/>
                  </a:cxn>
                  <a:cxn ang="0">
                    <a:pos x="35" y="83"/>
                  </a:cxn>
                  <a:cxn ang="0">
                    <a:pos x="35" y="72"/>
                  </a:cxn>
                  <a:cxn ang="0">
                    <a:pos x="35" y="48"/>
                  </a:cxn>
                  <a:cxn ang="0">
                    <a:pos x="47" y="48"/>
                  </a:cxn>
                  <a:cxn ang="0">
                    <a:pos x="47" y="24"/>
                  </a:cxn>
                  <a:cxn ang="0">
                    <a:pos x="35" y="0"/>
                  </a:cxn>
                  <a:cxn ang="0">
                    <a:pos x="11" y="0"/>
                  </a:cxn>
                  <a:cxn ang="0">
                    <a:pos x="11" y="24"/>
                  </a:cxn>
                  <a:cxn ang="0">
                    <a:pos x="11" y="36"/>
                  </a:cxn>
                  <a:cxn ang="0">
                    <a:pos x="0" y="72"/>
                  </a:cxn>
                </a:cxnLst>
                <a:rect l="0" t="0" r="r" b="b"/>
                <a:pathLst>
                  <a:path w="47" h="95">
                    <a:moveTo>
                      <a:pt x="0" y="72"/>
                    </a:moveTo>
                    <a:lnTo>
                      <a:pt x="23" y="95"/>
                    </a:lnTo>
                    <a:lnTo>
                      <a:pt x="35" y="83"/>
                    </a:lnTo>
                    <a:lnTo>
                      <a:pt x="35" y="72"/>
                    </a:lnTo>
                    <a:lnTo>
                      <a:pt x="35" y="48"/>
                    </a:lnTo>
                    <a:lnTo>
                      <a:pt x="47" y="48"/>
                    </a:lnTo>
                    <a:lnTo>
                      <a:pt x="47" y="24"/>
                    </a:lnTo>
                    <a:lnTo>
                      <a:pt x="35" y="0"/>
                    </a:lnTo>
                    <a:lnTo>
                      <a:pt x="11" y="0"/>
                    </a:lnTo>
                    <a:lnTo>
                      <a:pt x="11" y="24"/>
                    </a:lnTo>
                    <a:lnTo>
                      <a:pt x="11" y="36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57" name="Freeform 292"/>
              <p:cNvSpPr>
                <a:spLocks/>
              </p:cNvSpPr>
              <p:nvPr/>
            </p:nvSpPr>
            <p:spPr bwMode="auto">
              <a:xfrm>
                <a:off x="20951825" y="-21558250"/>
                <a:ext cx="76200" cy="150813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12" y="95"/>
                  </a:cxn>
                  <a:cxn ang="0">
                    <a:pos x="36" y="95"/>
                  </a:cxn>
                  <a:cxn ang="0">
                    <a:pos x="48" y="60"/>
                  </a:cxn>
                  <a:cxn ang="0">
                    <a:pos x="36" y="36"/>
                  </a:cxn>
                  <a:cxn ang="0">
                    <a:pos x="24" y="0"/>
                  </a:cxn>
                  <a:cxn ang="0">
                    <a:pos x="12" y="0"/>
                  </a:cxn>
                  <a:cxn ang="0">
                    <a:pos x="0" y="60"/>
                  </a:cxn>
                </a:cxnLst>
                <a:rect l="0" t="0" r="r" b="b"/>
                <a:pathLst>
                  <a:path w="48" h="95">
                    <a:moveTo>
                      <a:pt x="0" y="60"/>
                    </a:moveTo>
                    <a:lnTo>
                      <a:pt x="12" y="95"/>
                    </a:lnTo>
                    <a:lnTo>
                      <a:pt x="36" y="95"/>
                    </a:lnTo>
                    <a:lnTo>
                      <a:pt x="48" y="60"/>
                    </a:lnTo>
                    <a:lnTo>
                      <a:pt x="36" y="36"/>
                    </a:lnTo>
                    <a:lnTo>
                      <a:pt x="24" y="0"/>
                    </a:lnTo>
                    <a:lnTo>
                      <a:pt x="12" y="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</p:grpSp>
        <p:grpSp>
          <p:nvGrpSpPr>
            <p:cNvPr id="36" name="Group 676"/>
            <p:cNvGrpSpPr/>
            <p:nvPr/>
          </p:nvGrpSpPr>
          <p:grpSpPr>
            <a:xfrm>
              <a:off x="29535438" y="-9332913"/>
              <a:ext cx="12376150" cy="4319588"/>
              <a:chOff x="29535438" y="-9332913"/>
              <a:chExt cx="12376150" cy="4319588"/>
            </a:xfrm>
            <a:grpFill/>
          </p:grpSpPr>
          <p:sp>
            <p:nvSpPr>
              <p:cNvPr id="37" name="Freeform 244"/>
              <p:cNvSpPr>
                <a:spLocks/>
              </p:cNvSpPr>
              <p:nvPr/>
            </p:nvSpPr>
            <p:spPr bwMode="auto">
              <a:xfrm>
                <a:off x="29535438" y="-9332913"/>
                <a:ext cx="12376150" cy="4319588"/>
              </a:xfrm>
              <a:custGeom>
                <a:avLst/>
                <a:gdLst/>
                <a:ahLst/>
                <a:cxnLst>
                  <a:cxn ang="0">
                    <a:pos x="7344" y="1937"/>
                  </a:cxn>
                  <a:cxn ang="0">
                    <a:pos x="7499" y="1795"/>
                  </a:cxn>
                  <a:cxn ang="0">
                    <a:pos x="7582" y="1402"/>
                  </a:cxn>
                  <a:cxn ang="0">
                    <a:pos x="7713" y="1022"/>
                  </a:cxn>
                  <a:cxn ang="0">
                    <a:pos x="7760" y="689"/>
                  </a:cxn>
                  <a:cxn ang="0">
                    <a:pos x="7606" y="475"/>
                  </a:cxn>
                  <a:cxn ang="0">
                    <a:pos x="7119" y="392"/>
                  </a:cxn>
                  <a:cxn ang="0">
                    <a:pos x="6869" y="654"/>
                  </a:cxn>
                  <a:cxn ang="0">
                    <a:pos x="6477" y="773"/>
                  </a:cxn>
                  <a:cxn ang="0">
                    <a:pos x="6287" y="796"/>
                  </a:cxn>
                  <a:cxn ang="0">
                    <a:pos x="6037" y="832"/>
                  </a:cxn>
                  <a:cxn ang="0">
                    <a:pos x="5704" y="891"/>
                  </a:cxn>
                  <a:cxn ang="0">
                    <a:pos x="5039" y="1307"/>
                  </a:cxn>
                  <a:cxn ang="0">
                    <a:pos x="4908" y="963"/>
                  </a:cxn>
                  <a:cxn ang="0">
                    <a:pos x="4777" y="903"/>
                  </a:cxn>
                  <a:cxn ang="0">
                    <a:pos x="4956" y="475"/>
                  </a:cxn>
                  <a:cxn ang="0">
                    <a:pos x="5158" y="250"/>
                  </a:cxn>
                  <a:cxn ang="0">
                    <a:pos x="4754" y="190"/>
                  </a:cxn>
                  <a:cxn ang="0">
                    <a:pos x="4373" y="416"/>
                  </a:cxn>
                  <a:cxn ang="0">
                    <a:pos x="3910" y="701"/>
                  </a:cxn>
                  <a:cxn ang="0">
                    <a:pos x="3613" y="606"/>
                  </a:cxn>
                  <a:cxn ang="0">
                    <a:pos x="3268" y="582"/>
                  </a:cxn>
                  <a:cxn ang="0">
                    <a:pos x="2852" y="618"/>
                  </a:cxn>
                  <a:cxn ang="0">
                    <a:pos x="2722" y="701"/>
                  </a:cxn>
                  <a:cxn ang="0">
                    <a:pos x="2424" y="392"/>
                  </a:cxn>
                  <a:cxn ang="0">
                    <a:pos x="2222" y="226"/>
                  </a:cxn>
                  <a:cxn ang="0">
                    <a:pos x="1688" y="71"/>
                  </a:cxn>
                  <a:cxn ang="0">
                    <a:pos x="1272" y="12"/>
                  </a:cxn>
                  <a:cxn ang="0">
                    <a:pos x="963" y="131"/>
                  </a:cxn>
                  <a:cxn ang="0">
                    <a:pos x="880" y="369"/>
                  </a:cxn>
                  <a:cxn ang="0">
                    <a:pos x="1022" y="666"/>
                  </a:cxn>
                  <a:cxn ang="0">
                    <a:pos x="820" y="1082"/>
                  </a:cxn>
                  <a:cxn ang="0">
                    <a:pos x="523" y="1343"/>
                  </a:cxn>
                  <a:cxn ang="0">
                    <a:pos x="190" y="1533"/>
                  </a:cxn>
                  <a:cxn ang="0">
                    <a:pos x="273" y="1759"/>
                  </a:cxn>
                  <a:cxn ang="0">
                    <a:pos x="535" y="1949"/>
                  </a:cxn>
                  <a:cxn ang="0">
                    <a:pos x="654" y="2282"/>
                  </a:cxn>
                  <a:cxn ang="0">
                    <a:pos x="666" y="2567"/>
                  </a:cxn>
                  <a:cxn ang="0">
                    <a:pos x="1117" y="2448"/>
                  </a:cxn>
                  <a:cxn ang="0">
                    <a:pos x="1319" y="2104"/>
                  </a:cxn>
                  <a:cxn ang="0">
                    <a:pos x="1688" y="1973"/>
                  </a:cxn>
                  <a:cxn ang="0">
                    <a:pos x="1937" y="1664"/>
                  </a:cxn>
                  <a:cxn ang="0">
                    <a:pos x="2401" y="1509"/>
                  </a:cxn>
                  <a:cxn ang="0">
                    <a:pos x="2769" y="1830"/>
                  </a:cxn>
                  <a:cxn ang="0">
                    <a:pos x="3161" y="2044"/>
                  </a:cxn>
                  <a:cxn ang="0">
                    <a:pos x="3351" y="1937"/>
                  </a:cxn>
                  <a:cxn ang="0">
                    <a:pos x="3518" y="2175"/>
                  </a:cxn>
                  <a:cxn ang="0">
                    <a:pos x="3613" y="2615"/>
                  </a:cxn>
                  <a:cxn ang="0">
                    <a:pos x="4064" y="2222"/>
                  </a:cxn>
                  <a:cxn ang="0">
                    <a:pos x="4243" y="2056"/>
                  </a:cxn>
                  <a:cxn ang="0">
                    <a:pos x="4540" y="2210"/>
                  </a:cxn>
                  <a:cxn ang="0">
                    <a:pos x="4944" y="2579"/>
                  </a:cxn>
                  <a:cxn ang="0">
                    <a:pos x="5122" y="2686"/>
                  </a:cxn>
                  <a:cxn ang="0">
                    <a:pos x="5514" y="2686"/>
                  </a:cxn>
                  <a:cxn ang="0">
                    <a:pos x="5823" y="2603"/>
                  </a:cxn>
                  <a:cxn ang="0">
                    <a:pos x="6108" y="2389"/>
                  </a:cxn>
                  <a:cxn ang="0">
                    <a:pos x="6548" y="2163"/>
                  </a:cxn>
                  <a:cxn ang="0">
                    <a:pos x="6833" y="2127"/>
                  </a:cxn>
                  <a:cxn ang="0">
                    <a:pos x="7142" y="2175"/>
                  </a:cxn>
                  <a:cxn ang="0">
                    <a:pos x="7332" y="2175"/>
                  </a:cxn>
                </a:cxnLst>
                <a:rect l="0" t="0" r="r" b="b"/>
                <a:pathLst>
                  <a:path w="7796" h="2721">
                    <a:moveTo>
                      <a:pt x="7332" y="2175"/>
                    </a:moveTo>
                    <a:lnTo>
                      <a:pt x="7332" y="2175"/>
                    </a:lnTo>
                    <a:lnTo>
                      <a:pt x="7321" y="2127"/>
                    </a:lnTo>
                    <a:lnTo>
                      <a:pt x="7332" y="2080"/>
                    </a:lnTo>
                    <a:lnTo>
                      <a:pt x="7380" y="1997"/>
                    </a:lnTo>
                    <a:lnTo>
                      <a:pt x="7368" y="1973"/>
                    </a:lnTo>
                    <a:lnTo>
                      <a:pt x="7356" y="1961"/>
                    </a:lnTo>
                    <a:lnTo>
                      <a:pt x="7344" y="1937"/>
                    </a:lnTo>
                    <a:lnTo>
                      <a:pt x="7344" y="1902"/>
                    </a:lnTo>
                    <a:lnTo>
                      <a:pt x="7356" y="1890"/>
                    </a:lnTo>
                    <a:lnTo>
                      <a:pt x="7380" y="1890"/>
                    </a:lnTo>
                    <a:lnTo>
                      <a:pt x="7404" y="1890"/>
                    </a:lnTo>
                    <a:lnTo>
                      <a:pt x="7404" y="1854"/>
                    </a:lnTo>
                    <a:lnTo>
                      <a:pt x="7404" y="1818"/>
                    </a:lnTo>
                    <a:lnTo>
                      <a:pt x="7463" y="1806"/>
                    </a:lnTo>
                    <a:lnTo>
                      <a:pt x="7499" y="1795"/>
                    </a:lnTo>
                    <a:lnTo>
                      <a:pt x="7511" y="1711"/>
                    </a:lnTo>
                    <a:lnTo>
                      <a:pt x="7546" y="1628"/>
                    </a:lnTo>
                    <a:lnTo>
                      <a:pt x="7582" y="1581"/>
                    </a:lnTo>
                    <a:lnTo>
                      <a:pt x="7582" y="1557"/>
                    </a:lnTo>
                    <a:lnTo>
                      <a:pt x="7558" y="1521"/>
                    </a:lnTo>
                    <a:lnTo>
                      <a:pt x="7594" y="1474"/>
                    </a:lnTo>
                    <a:lnTo>
                      <a:pt x="7582" y="1426"/>
                    </a:lnTo>
                    <a:lnTo>
                      <a:pt x="7582" y="1402"/>
                    </a:lnTo>
                    <a:lnTo>
                      <a:pt x="7641" y="1284"/>
                    </a:lnTo>
                    <a:lnTo>
                      <a:pt x="7689" y="1200"/>
                    </a:lnTo>
                    <a:lnTo>
                      <a:pt x="7701" y="1177"/>
                    </a:lnTo>
                    <a:lnTo>
                      <a:pt x="7737" y="1129"/>
                    </a:lnTo>
                    <a:lnTo>
                      <a:pt x="7784" y="975"/>
                    </a:lnTo>
                    <a:lnTo>
                      <a:pt x="7784" y="951"/>
                    </a:lnTo>
                    <a:lnTo>
                      <a:pt x="7760" y="939"/>
                    </a:lnTo>
                    <a:lnTo>
                      <a:pt x="7713" y="1022"/>
                    </a:lnTo>
                    <a:lnTo>
                      <a:pt x="7725" y="915"/>
                    </a:lnTo>
                    <a:lnTo>
                      <a:pt x="7689" y="832"/>
                    </a:lnTo>
                    <a:lnTo>
                      <a:pt x="7689" y="808"/>
                    </a:lnTo>
                    <a:lnTo>
                      <a:pt x="7713" y="737"/>
                    </a:lnTo>
                    <a:lnTo>
                      <a:pt x="7713" y="666"/>
                    </a:lnTo>
                    <a:lnTo>
                      <a:pt x="7713" y="618"/>
                    </a:lnTo>
                    <a:lnTo>
                      <a:pt x="7748" y="630"/>
                    </a:lnTo>
                    <a:lnTo>
                      <a:pt x="7760" y="689"/>
                    </a:lnTo>
                    <a:lnTo>
                      <a:pt x="7772" y="689"/>
                    </a:lnTo>
                    <a:lnTo>
                      <a:pt x="7784" y="677"/>
                    </a:lnTo>
                    <a:lnTo>
                      <a:pt x="7772" y="594"/>
                    </a:lnTo>
                    <a:lnTo>
                      <a:pt x="7796" y="547"/>
                    </a:lnTo>
                    <a:lnTo>
                      <a:pt x="7796" y="547"/>
                    </a:lnTo>
                    <a:lnTo>
                      <a:pt x="7713" y="547"/>
                    </a:lnTo>
                    <a:lnTo>
                      <a:pt x="7630" y="511"/>
                    </a:lnTo>
                    <a:lnTo>
                      <a:pt x="7606" y="475"/>
                    </a:lnTo>
                    <a:lnTo>
                      <a:pt x="7570" y="380"/>
                    </a:lnTo>
                    <a:lnTo>
                      <a:pt x="7487" y="333"/>
                    </a:lnTo>
                    <a:lnTo>
                      <a:pt x="7439" y="345"/>
                    </a:lnTo>
                    <a:lnTo>
                      <a:pt x="7428" y="345"/>
                    </a:lnTo>
                    <a:lnTo>
                      <a:pt x="7309" y="309"/>
                    </a:lnTo>
                    <a:lnTo>
                      <a:pt x="7237" y="333"/>
                    </a:lnTo>
                    <a:lnTo>
                      <a:pt x="7190" y="357"/>
                    </a:lnTo>
                    <a:lnTo>
                      <a:pt x="7119" y="392"/>
                    </a:lnTo>
                    <a:lnTo>
                      <a:pt x="7012" y="392"/>
                    </a:lnTo>
                    <a:lnTo>
                      <a:pt x="6988" y="404"/>
                    </a:lnTo>
                    <a:lnTo>
                      <a:pt x="6940" y="475"/>
                    </a:lnTo>
                    <a:lnTo>
                      <a:pt x="6952" y="487"/>
                    </a:lnTo>
                    <a:lnTo>
                      <a:pt x="6940" y="559"/>
                    </a:lnTo>
                    <a:lnTo>
                      <a:pt x="6928" y="606"/>
                    </a:lnTo>
                    <a:lnTo>
                      <a:pt x="6905" y="630"/>
                    </a:lnTo>
                    <a:lnTo>
                      <a:pt x="6869" y="654"/>
                    </a:lnTo>
                    <a:lnTo>
                      <a:pt x="6774" y="701"/>
                    </a:lnTo>
                    <a:lnTo>
                      <a:pt x="6726" y="713"/>
                    </a:lnTo>
                    <a:lnTo>
                      <a:pt x="6667" y="725"/>
                    </a:lnTo>
                    <a:lnTo>
                      <a:pt x="6608" y="761"/>
                    </a:lnTo>
                    <a:lnTo>
                      <a:pt x="6572" y="773"/>
                    </a:lnTo>
                    <a:lnTo>
                      <a:pt x="6536" y="725"/>
                    </a:lnTo>
                    <a:lnTo>
                      <a:pt x="6489" y="725"/>
                    </a:lnTo>
                    <a:lnTo>
                      <a:pt x="6477" y="773"/>
                    </a:lnTo>
                    <a:lnTo>
                      <a:pt x="6501" y="808"/>
                    </a:lnTo>
                    <a:lnTo>
                      <a:pt x="6512" y="844"/>
                    </a:lnTo>
                    <a:lnTo>
                      <a:pt x="6501" y="856"/>
                    </a:lnTo>
                    <a:lnTo>
                      <a:pt x="6465" y="868"/>
                    </a:lnTo>
                    <a:lnTo>
                      <a:pt x="6441" y="891"/>
                    </a:lnTo>
                    <a:lnTo>
                      <a:pt x="6417" y="891"/>
                    </a:lnTo>
                    <a:lnTo>
                      <a:pt x="6346" y="820"/>
                    </a:lnTo>
                    <a:lnTo>
                      <a:pt x="6287" y="796"/>
                    </a:lnTo>
                    <a:lnTo>
                      <a:pt x="6251" y="773"/>
                    </a:lnTo>
                    <a:lnTo>
                      <a:pt x="6227" y="784"/>
                    </a:lnTo>
                    <a:lnTo>
                      <a:pt x="6168" y="773"/>
                    </a:lnTo>
                    <a:lnTo>
                      <a:pt x="6085" y="773"/>
                    </a:lnTo>
                    <a:lnTo>
                      <a:pt x="6073" y="784"/>
                    </a:lnTo>
                    <a:lnTo>
                      <a:pt x="6073" y="808"/>
                    </a:lnTo>
                    <a:lnTo>
                      <a:pt x="6061" y="832"/>
                    </a:lnTo>
                    <a:lnTo>
                      <a:pt x="6037" y="832"/>
                    </a:lnTo>
                    <a:lnTo>
                      <a:pt x="5954" y="784"/>
                    </a:lnTo>
                    <a:lnTo>
                      <a:pt x="5906" y="773"/>
                    </a:lnTo>
                    <a:lnTo>
                      <a:pt x="5883" y="784"/>
                    </a:lnTo>
                    <a:lnTo>
                      <a:pt x="5859" y="820"/>
                    </a:lnTo>
                    <a:lnTo>
                      <a:pt x="5847" y="880"/>
                    </a:lnTo>
                    <a:lnTo>
                      <a:pt x="5811" y="915"/>
                    </a:lnTo>
                    <a:lnTo>
                      <a:pt x="5752" y="915"/>
                    </a:lnTo>
                    <a:lnTo>
                      <a:pt x="5704" y="891"/>
                    </a:lnTo>
                    <a:lnTo>
                      <a:pt x="5657" y="903"/>
                    </a:lnTo>
                    <a:lnTo>
                      <a:pt x="5645" y="927"/>
                    </a:lnTo>
                    <a:lnTo>
                      <a:pt x="5562" y="1188"/>
                    </a:lnTo>
                    <a:lnTo>
                      <a:pt x="5312" y="1295"/>
                    </a:lnTo>
                    <a:lnTo>
                      <a:pt x="5170" y="1379"/>
                    </a:lnTo>
                    <a:lnTo>
                      <a:pt x="5134" y="1367"/>
                    </a:lnTo>
                    <a:lnTo>
                      <a:pt x="5086" y="1319"/>
                    </a:lnTo>
                    <a:lnTo>
                      <a:pt x="5039" y="1307"/>
                    </a:lnTo>
                    <a:lnTo>
                      <a:pt x="5003" y="1272"/>
                    </a:lnTo>
                    <a:lnTo>
                      <a:pt x="4991" y="1248"/>
                    </a:lnTo>
                    <a:lnTo>
                      <a:pt x="5015" y="1188"/>
                    </a:lnTo>
                    <a:lnTo>
                      <a:pt x="4991" y="1165"/>
                    </a:lnTo>
                    <a:lnTo>
                      <a:pt x="4979" y="1141"/>
                    </a:lnTo>
                    <a:lnTo>
                      <a:pt x="5003" y="1058"/>
                    </a:lnTo>
                    <a:lnTo>
                      <a:pt x="4968" y="998"/>
                    </a:lnTo>
                    <a:lnTo>
                      <a:pt x="4908" y="963"/>
                    </a:lnTo>
                    <a:lnTo>
                      <a:pt x="4884" y="963"/>
                    </a:lnTo>
                    <a:lnTo>
                      <a:pt x="4837" y="975"/>
                    </a:lnTo>
                    <a:lnTo>
                      <a:pt x="4801" y="986"/>
                    </a:lnTo>
                    <a:lnTo>
                      <a:pt x="4777" y="975"/>
                    </a:lnTo>
                    <a:lnTo>
                      <a:pt x="4766" y="951"/>
                    </a:lnTo>
                    <a:lnTo>
                      <a:pt x="4766" y="927"/>
                    </a:lnTo>
                    <a:lnTo>
                      <a:pt x="4777" y="915"/>
                    </a:lnTo>
                    <a:lnTo>
                      <a:pt x="4777" y="903"/>
                    </a:lnTo>
                    <a:lnTo>
                      <a:pt x="4825" y="880"/>
                    </a:lnTo>
                    <a:lnTo>
                      <a:pt x="4920" y="784"/>
                    </a:lnTo>
                    <a:lnTo>
                      <a:pt x="4956" y="773"/>
                    </a:lnTo>
                    <a:lnTo>
                      <a:pt x="4979" y="737"/>
                    </a:lnTo>
                    <a:lnTo>
                      <a:pt x="4991" y="689"/>
                    </a:lnTo>
                    <a:lnTo>
                      <a:pt x="4991" y="654"/>
                    </a:lnTo>
                    <a:lnTo>
                      <a:pt x="4956" y="571"/>
                    </a:lnTo>
                    <a:lnTo>
                      <a:pt x="4956" y="475"/>
                    </a:lnTo>
                    <a:lnTo>
                      <a:pt x="5003" y="440"/>
                    </a:lnTo>
                    <a:lnTo>
                      <a:pt x="5039" y="428"/>
                    </a:lnTo>
                    <a:lnTo>
                      <a:pt x="5098" y="392"/>
                    </a:lnTo>
                    <a:lnTo>
                      <a:pt x="5134" y="392"/>
                    </a:lnTo>
                    <a:lnTo>
                      <a:pt x="5193" y="404"/>
                    </a:lnTo>
                    <a:lnTo>
                      <a:pt x="5205" y="380"/>
                    </a:lnTo>
                    <a:lnTo>
                      <a:pt x="5205" y="333"/>
                    </a:lnTo>
                    <a:lnTo>
                      <a:pt x="5158" y="250"/>
                    </a:lnTo>
                    <a:lnTo>
                      <a:pt x="5134" y="226"/>
                    </a:lnTo>
                    <a:lnTo>
                      <a:pt x="5027" y="190"/>
                    </a:lnTo>
                    <a:lnTo>
                      <a:pt x="4968" y="131"/>
                    </a:lnTo>
                    <a:lnTo>
                      <a:pt x="4908" y="95"/>
                    </a:lnTo>
                    <a:lnTo>
                      <a:pt x="4884" y="83"/>
                    </a:lnTo>
                    <a:lnTo>
                      <a:pt x="4837" y="83"/>
                    </a:lnTo>
                    <a:lnTo>
                      <a:pt x="4789" y="119"/>
                    </a:lnTo>
                    <a:lnTo>
                      <a:pt x="4754" y="190"/>
                    </a:lnTo>
                    <a:lnTo>
                      <a:pt x="4706" y="214"/>
                    </a:lnTo>
                    <a:lnTo>
                      <a:pt x="4623" y="214"/>
                    </a:lnTo>
                    <a:lnTo>
                      <a:pt x="4564" y="297"/>
                    </a:lnTo>
                    <a:lnTo>
                      <a:pt x="4528" y="333"/>
                    </a:lnTo>
                    <a:lnTo>
                      <a:pt x="4492" y="369"/>
                    </a:lnTo>
                    <a:lnTo>
                      <a:pt x="4409" y="380"/>
                    </a:lnTo>
                    <a:lnTo>
                      <a:pt x="4409" y="404"/>
                    </a:lnTo>
                    <a:lnTo>
                      <a:pt x="4373" y="416"/>
                    </a:lnTo>
                    <a:lnTo>
                      <a:pt x="4373" y="428"/>
                    </a:lnTo>
                    <a:lnTo>
                      <a:pt x="4314" y="428"/>
                    </a:lnTo>
                    <a:lnTo>
                      <a:pt x="4302" y="440"/>
                    </a:lnTo>
                    <a:lnTo>
                      <a:pt x="4100" y="559"/>
                    </a:lnTo>
                    <a:lnTo>
                      <a:pt x="4053" y="642"/>
                    </a:lnTo>
                    <a:lnTo>
                      <a:pt x="4017" y="654"/>
                    </a:lnTo>
                    <a:lnTo>
                      <a:pt x="3922" y="654"/>
                    </a:lnTo>
                    <a:lnTo>
                      <a:pt x="3910" y="701"/>
                    </a:lnTo>
                    <a:lnTo>
                      <a:pt x="3874" y="725"/>
                    </a:lnTo>
                    <a:lnTo>
                      <a:pt x="3791" y="701"/>
                    </a:lnTo>
                    <a:lnTo>
                      <a:pt x="3767" y="713"/>
                    </a:lnTo>
                    <a:lnTo>
                      <a:pt x="3732" y="749"/>
                    </a:lnTo>
                    <a:lnTo>
                      <a:pt x="3708" y="749"/>
                    </a:lnTo>
                    <a:lnTo>
                      <a:pt x="3660" y="725"/>
                    </a:lnTo>
                    <a:lnTo>
                      <a:pt x="3637" y="689"/>
                    </a:lnTo>
                    <a:lnTo>
                      <a:pt x="3613" y="606"/>
                    </a:lnTo>
                    <a:lnTo>
                      <a:pt x="3565" y="571"/>
                    </a:lnTo>
                    <a:lnTo>
                      <a:pt x="3530" y="571"/>
                    </a:lnTo>
                    <a:lnTo>
                      <a:pt x="3482" y="582"/>
                    </a:lnTo>
                    <a:lnTo>
                      <a:pt x="3363" y="630"/>
                    </a:lnTo>
                    <a:lnTo>
                      <a:pt x="3316" y="642"/>
                    </a:lnTo>
                    <a:lnTo>
                      <a:pt x="3292" y="618"/>
                    </a:lnTo>
                    <a:lnTo>
                      <a:pt x="3280" y="582"/>
                    </a:lnTo>
                    <a:lnTo>
                      <a:pt x="3268" y="582"/>
                    </a:lnTo>
                    <a:lnTo>
                      <a:pt x="3221" y="511"/>
                    </a:lnTo>
                    <a:lnTo>
                      <a:pt x="3161" y="475"/>
                    </a:lnTo>
                    <a:lnTo>
                      <a:pt x="3102" y="464"/>
                    </a:lnTo>
                    <a:lnTo>
                      <a:pt x="3042" y="475"/>
                    </a:lnTo>
                    <a:lnTo>
                      <a:pt x="3019" y="499"/>
                    </a:lnTo>
                    <a:lnTo>
                      <a:pt x="2983" y="582"/>
                    </a:lnTo>
                    <a:lnTo>
                      <a:pt x="2971" y="594"/>
                    </a:lnTo>
                    <a:lnTo>
                      <a:pt x="2852" y="618"/>
                    </a:lnTo>
                    <a:lnTo>
                      <a:pt x="2852" y="642"/>
                    </a:lnTo>
                    <a:lnTo>
                      <a:pt x="2840" y="689"/>
                    </a:lnTo>
                    <a:lnTo>
                      <a:pt x="2840" y="701"/>
                    </a:lnTo>
                    <a:lnTo>
                      <a:pt x="2817" y="713"/>
                    </a:lnTo>
                    <a:lnTo>
                      <a:pt x="2793" y="689"/>
                    </a:lnTo>
                    <a:lnTo>
                      <a:pt x="2769" y="677"/>
                    </a:lnTo>
                    <a:lnTo>
                      <a:pt x="2745" y="701"/>
                    </a:lnTo>
                    <a:lnTo>
                      <a:pt x="2722" y="701"/>
                    </a:lnTo>
                    <a:lnTo>
                      <a:pt x="2615" y="582"/>
                    </a:lnTo>
                    <a:lnTo>
                      <a:pt x="2615" y="559"/>
                    </a:lnTo>
                    <a:lnTo>
                      <a:pt x="2579" y="523"/>
                    </a:lnTo>
                    <a:lnTo>
                      <a:pt x="2531" y="499"/>
                    </a:lnTo>
                    <a:lnTo>
                      <a:pt x="2472" y="511"/>
                    </a:lnTo>
                    <a:lnTo>
                      <a:pt x="2436" y="487"/>
                    </a:lnTo>
                    <a:lnTo>
                      <a:pt x="2413" y="440"/>
                    </a:lnTo>
                    <a:lnTo>
                      <a:pt x="2424" y="392"/>
                    </a:lnTo>
                    <a:lnTo>
                      <a:pt x="2413" y="345"/>
                    </a:lnTo>
                    <a:lnTo>
                      <a:pt x="2377" y="262"/>
                    </a:lnTo>
                    <a:lnTo>
                      <a:pt x="2365" y="262"/>
                    </a:lnTo>
                    <a:lnTo>
                      <a:pt x="2341" y="238"/>
                    </a:lnTo>
                    <a:lnTo>
                      <a:pt x="2270" y="214"/>
                    </a:lnTo>
                    <a:lnTo>
                      <a:pt x="2270" y="226"/>
                    </a:lnTo>
                    <a:lnTo>
                      <a:pt x="2234" y="238"/>
                    </a:lnTo>
                    <a:lnTo>
                      <a:pt x="2222" y="226"/>
                    </a:lnTo>
                    <a:lnTo>
                      <a:pt x="2175" y="178"/>
                    </a:lnTo>
                    <a:lnTo>
                      <a:pt x="2163" y="143"/>
                    </a:lnTo>
                    <a:lnTo>
                      <a:pt x="2115" y="95"/>
                    </a:lnTo>
                    <a:lnTo>
                      <a:pt x="2044" y="48"/>
                    </a:lnTo>
                    <a:lnTo>
                      <a:pt x="2009" y="36"/>
                    </a:lnTo>
                    <a:lnTo>
                      <a:pt x="1878" y="83"/>
                    </a:lnTo>
                    <a:lnTo>
                      <a:pt x="1735" y="60"/>
                    </a:lnTo>
                    <a:lnTo>
                      <a:pt x="1688" y="71"/>
                    </a:lnTo>
                    <a:lnTo>
                      <a:pt x="1604" y="107"/>
                    </a:lnTo>
                    <a:lnTo>
                      <a:pt x="1533" y="107"/>
                    </a:lnTo>
                    <a:lnTo>
                      <a:pt x="1533" y="119"/>
                    </a:lnTo>
                    <a:lnTo>
                      <a:pt x="1391" y="107"/>
                    </a:lnTo>
                    <a:lnTo>
                      <a:pt x="1367" y="95"/>
                    </a:lnTo>
                    <a:lnTo>
                      <a:pt x="1331" y="71"/>
                    </a:lnTo>
                    <a:lnTo>
                      <a:pt x="1307" y="0"/>
                    </a:lnTo>
                    <a:lnTo>
                      <a:pt x="1272" y="12"/>
                    </a:lnTo>
                    <a:lnTo>
                      <a:pt x="1260" y="36"/>
                    </a:lnTo>
                    <a:lnTo>
                      <a:pt x="1260" y="48"/>
                    </a:lnTo>
                    <a:lnTo>
                      <a:pt x="1200" y="95"/>
                    </a:lnTo>
                    <a:lnTo>
                      <a:pt x="1153" y="83"/>
                    </a:lnTo>
                    <a:lnTo>
                      <a:pt x="1117" y="36"/>
                    </a:lnTo>
                    <a:lnTo>
                      <a:pt x="1058" y="24"/>
                    </a:lnTo>
                    <a:lnTo>
                      <a:pt x="1010" y="107"/>
                    </a:lnTo>
                    <a:lnTo>
                      <a:pt x="963" y="131"/>
                    </a:lnTo>
                    <a:lnTo>
                      <a:pt x="903" y="107"/>
                    </a:lnTo>
                    <a:lnTo>
                      <a:pt x="880" y="60"/>
                    </a:lnTo>
                    <a:lnTo>
                      <a:pt x="856" y="60"/>
                    </a:lnTo>
                    <a:lnTo>
                      <a:pt x="820" y="83"/>
                    </a:lnTo>
                    <a:lnTo>
                      <a:pt x="832" y="131"/>
                    </a:lnTo>
                    <a:lnTo>
                      <a:pt x="808" y="238"/>
                    </a:lnTo>
                    <a:lnTo>
                      <a:pt x="832" y="297"/>
                    </a:lnTo>
                    <a:lnTo>
                      <a:pt x="880" y="369"/>
                    </a:lnTo>
                    <a:lnTo>
                      <a:pt x="880" y="416"/>
                    </a:lnTo>
                    <a:lnTo>
                      <a:pt x="856" y="523"/>
                    </a:lnTo>
                    <a:lnTo>
                      <a:pt x="868" y="571"/>
                    </a:lnTo>
                    <a:lnTo>
                      <a:pt x="891" y="582"/>
                    </a:lnTo>
                    <a:lnTo>
                      <a:pt x="986" y="594"/>
                    </a:lnTo>
                    <a:lnTo>
                      <a:pt x="1010" y="606"/>
                    </a:lnTo>
                    <a:lnTo>
                      <a:pt x="1022" y="630"/>
                    </a:lnTo>
                    <a:lnTo>
                      <a:pt x="1022" y="666"/>
                    </a:lnTo>
                    <a:lnTo>
                      <a:pt x="1022" y="677"/>
                    </a:lnTo>
                    <a:lnTo>
                      <a:pt x="1010" y="689"/>
                    </a:lnTo>
                    <a:lnTo>
                      <a:pt x="998" y="761"/>
                    </a:lnTo>
                    <a:lnTo>
                      <a:pt x="939" y="868"/>
                    </a:lnTo>
                    <a:lnTo>
                      <a:pt x="927" y="986"/>
                    </a:lnTo>
                    <a:lnTo>
                      <a:pt x="903" y="1010"/>
                    </a:lnTo>
                    <a:lnTo>
                      <a:pt x="856" y="1022"/>
                    </a:lnTo>
                    <a:lnTo>
                      <a:pt x="820" y="1082"/>
                    </a:lnTo>
                    <a:lnTo>
                      <a:pt x="796" y="1105"/>
                    </a:lnTo>
                    <a:lnTo>
                      <a:pt x="701" y="1129"/>
                    </a:lnTo>
                    <a:lnTo>
                      <a:pt x="642" y="1260"/>
                    </a:lnTo>
                    <a:lnTo>
                      <a:pt x="606" y="1284"/>
                    </a:lnTo>
                    <a:lnTo>
                      <a:pt x="571" y="1260"/>
                    </a:lnTo>
                    <a:lnTo>
                      <a:pt x="547" y="1307"/>
                    </a:lnTo>
                    <a:lnTo>
                      <a:pt x="547" y="1331"/>
                    </a:lnTo>
                    <a:lnTo>
                      <a:pt x="523" y="1343"/>
                    </a:lnTo>
                    <a:lnTo>
                      <a:pt x="440" y="1307"/>
                    </a:lnTo>
                    <a:lnTo>
                      <a:pt x="404" y="1319"/>
                    </a:lnTo>
                    <a:lnTo>
                      <a:pt x="357" y="1391"/>
                    </a:lnTo>
                    <a:lnTo>
                      <a:pt x="309" y="1414"/>
                    </a:lnTo>
                    <a:lnTo>
                      <a:pt x="285" y="1450"/>
                    </a:lnTo>
                    <a:lnTo>
                      <a:pt x="238" y="1486"/>
                    </a:lnTo>
                    <a:lnTo>
                      <a:pt x="238" y="1486"/>
                    </a:lnTo>
                    <a:lnTo>
                      <a:pt x="190" y="1533"/>
                    </a:lnTo>
                    <a:lnTo>
                      <a:pt x="95" y="1616"/>
                    </a:lnTo>
                    <a:lnTo>
                      <a:pt x="0" y="1676"/>
                    </a:lnTo>
                    <a:lnTo>
                      <a:pt x="12" y="1688"/>
                    </a:lnTo>
                    <a:lnTo>
                      <a:pt x="60" y="1711"/>
                    </a:lnTo>
                    <a:lnTo>
                      <a:pt x="167" y="1688"/>
                    </a:lnTo>
                    <a:lnTo>
                      <a:pt x="226" y="1688"/>
                    </a:lnTo>
                    <a:lnTo>
                      <a:pt x="262" y="1699"/>
                    </a:lnTo>
                    <a:lnTo>
                      <a:pt x="273" y="1759"/>
                    </a:lnTo>
                    <a:lnTo>
                      <a:pt x="285" y="1771"/>
                    </a:lnTo>
                    <a:lnTo>
                      <a:pt x="333" y="1783"/>
                    </a:lnTo>
                    <a:lnTo>
                      <a:pt x="357" y="1795"/>
                    </a:lnTo>
                    <a:lnTo>
                      <a:pt x="357" y="1854"/>
                    </a:lnTo>
                    <a:lnTo>
                      <a:pt x="380" y="1866"/>
                    </a:lnTo>
                    <a:lnTo>
                      <a:pt x="452" y="1854"/>
                    </a:lnTo>
                    <a:lnTo>
                      <a:pt x="487" y="1878"/>
                    </a:lnTo>
                    <a:lnTo>
                      <a:pt x="535" y="1949"/>
                    </a:lnTo>
                    <a:lnTo>
                      <a:pt x="547" y="2020"/>
                    </a:lnTo>
                    <a:lnTo>
                      <a:pt x="582" y="2068"/>
                    </a:lnTo>
                    <a:lnTo>
                      <a:pt x="547" y="2115"/>
                    </a:lnTo>
                    <a:lnTo>
                      <a:pt x="547" y="2163"/>
                    </a:lnTo>
                    <a:lnTo>
                      <a:pt x="547" y="2187"/>
                    </a:lnTo>
                    <a:lnTo>
                      <a:pt x="582" y="2234"/>
                    </a:lnTo>
                    <a:lnTo>
                      <a:pt x="606" y="2258"/>
                    </a:lnTo>
                    <a:lnTo>
                      <a:pt x="654" y="2282"/>
                    </a:lnTo>
                    <a:lnTo>
                      <a:pt x="689" y="2294"/>
                    </a:lnTo>
                    <a:lnTo>
                      <a:pt x="689" y="2282"/>
                    </a:lnTo>
                    <a:lnTo>
                      <a:pt x="725" y="2282"/>
                    </a:lnTo>
                    <a:lnTo>
                      <a:pt x="737" y="2306"/>
                    </a:lnTo>
                    <a:lnTo>
                      <a:pt x="737" y="2353"/>
                    </a:lnTo>
                    <a:lnTo>
                      <a:pt x="713" y="2484"/>
                    </a:lnTo>
                    <a:lnTo>
                      <a:pt x="689" y="2543"/>
                    </a:lnTo>
                    <a:lnTo>
                      <a:pt x="666" y="2567"/>
                    </a:lnTo>
                    <a:lnTo>
                      <a:pt x="642" y="2567"/>
                    </a:lnTo>
                    <a:lnTo>
                      <a:pt x="642" y="2591"/>
                    </a:lnTo>
                    <a:lnTo>
                      <a:pt x="808" y="2591"/>
                    </a:lnTo>
                    <a:lnTo>
                      <a:pt x="891" y="2579"/>
                    </a:lnTo>
                    <a:lnTo>
                      <a:pt x="903" y="2579"/>
                    </a:lnTo>
                    <a:lnTo>
                      <a:pt x="939" y="2543"/>
                    </a:lnTo>
                    <a:lnTo>
                      <a:pt x="1022" y="2460"/>
                    </a:lnTo>
                    <a:lnTo>
                      <a:pt x="1117" y="2448"/>
                    </a:lnTo>
                    <a:lnTo>
                      <a:pt x="1165" y="2377"/>
                    </a:lnTo>
                    <a:lnTo>
                      <a:pt x="1200" y="2270"/>
                    </a:lnTo>
                    <a:lnTo>
                      <a:pt x="1200" y="2222"/>
                    </a:lnTo>
                    <a:lnTo>
                      <a:pt x="1224" y="2163"/>
                    </a:lnTo>
                    <a:lnTo>
                      <a:pt x="1236" y="2139"/>
                    </a:lnTo>
                    <a:lnTo>
                      <a:pt x="1260" y="2115"/>
                    </a:lnTo>
                    <a:lnTo>
                      <a:pt x="1307" y="2104"/>
                    </a:lnTo>
                    <a:lnTo>
                      <a:pt x="1319" y="2104"/>
                    </a:lnTo>
                    <a:lnTo>
                      <a:pt x="1355" y="2139"/>
                    </a:lnTo>
                    <a:lnTo>
                      <a:pt x="1414" y="2139"/>
                    </a:lnTo>
                    <a:lnTo>
                      <a:pt x="1497" y="2115"/>
                    </a:lnTo>
                    <a:lnTo>
                      <a:pt x="1557" y="2115"/>
                    </a:lnTo>
                    <a:lnTo>
                      <a:pt x="1616" y="2092"/>
                    </a:lnTo>
                    <a:lnTo>
                      <a:pt x="1640" y="2080"/>
                    </a:lnTo>
                    <a:lnTo>
                      <a:pt x="1664" y="2032"/>
                    </a:lnTo>
                    <a:lnTo>
                      <a:pt x="1688" y="1973"/>
                    </a:lnTo>
                    <a:lnTo>
                      <a:pt x="1700" y="1878"/>
                    </a:lnTo>
                    <a:lnTo>
                      <a:pt x="1711" y="1842"/>
                    </a:lnTo>
                    <a:lnTo>
                      <a:pt x="1818" y="1806"/>
                    </a:lnTo>
                    <a:lnTo>
                      <a:pt x="1854" y="1771"/>
                    </a:lnTo>
                    <a:lnTo>
                      <a:pt x="1902" y="1759"/>
                    </a:lnTo>
                    <a:lnTo>
                      <a:pt x="1925" y="1723"/>
                    </a:lnTo>
                    <a:lnTo>
                      <a:pt x="1925" y="1688"/>
                    </a:lnTo>
                    <a:lnTo>
                      <a:pt x="1937" y="1664"/>
                    </a:lnTo>
                    <a:lnTo>
                      <a:pt x="2020" y="1640"/>
                    </a:lnTo>
                    <a:lnTo>
                      <a:pt x="2104" y="1581"/>
                    </a:lnTo>
                    <a:lnTo>
                      <a:pt x="2199" y="1557"/>
                    </a:lnTo>
                    <a:lnTo>
                      <a:pt x="2222" y="1545"/>
                    </a:lnTo>
                    <a:lnTo>
                      <a:pt x="2246" y="1497"/>
                    </a:lnTo>
                    <a:lnTo>
                      <a:pt x="2258" y="1486"/>
                    </a:lnTo>
                    <a:lnTo>
                      <a:pt x="2341" y="1474"/>
                    </a:lnTo>
                    <a:lnTo>
                      <a:pt x="2401" y="1509"/>
                    </a:lnTo>
                    <a:lnTo>
                      <a:pt x="2448" y="1616"/>
                    </a:lnTo>
                    <a:lnTo>
                      <a:pt x="2520" y="1688"/>
                    </a:lnTo>
                    <a:lnTo>
                      <a:pt x="2531" y="1711"/>
                    </a:lnTo>
                    <a:lnTo>
                      <a:pt x="2591" y="1735"/>
                    </a:lnTo>
                    <a:lnTo>
                      <a:pt x="2662" y="1735"/>
                    </a:lnTo>
                    <a:lnTo>
                      <a:pt x="2686" y="1735"/>
                    </a:lnTo>
                    <a:lnTo>
                      <a:pt x="2722" y="1747"/>
                    </a:lnTo>
                    <a:lnTo>
                      <a:pt x="2769" y="1830"/>
                    </a:lnTo>
                    <a:lnTo>
                      <a:pt x="2781" y="1842"/>
                    </a:lnTo>
                    <a:lnTo>
                      <a:pt x="2828" y="1854"/>
                    </a:lnTo>
                    <a:lnTo>
                      <a:pt x="2912" y="1830"/>
                    </a:lnTo>
                    <a:lnTo>
                      <a:pt x="2947" y="1842"/>
                    </a:lnTo>
                    <a:lnTo>
                      <a:pt x="3054" y="1902"/>
                    </a:lnTo>
                    <a:lnTo>
                      <a:pt x="3078" y="1913"/>
                    </a:lnTo>
                    <a:lnTo>
                      <a:pt x="3126" y="2032"/>
                    </a:lnTo>
                    <a:lnTo>
                      <a:pt x="3161" y="2044"/>
                    </a:lnTo>
                    <a:lnTo>
                      <a:pt x="3173" y="2044"/>
                    </a:lnTo>
                    <a:lnTo>
                      <a:pt x="3185" y="2020"/>
                    </a:lnTo>
                    <a:lnTo>
                      <a:pt x="3209" y="1937"/>
                    </a:lnTo>
                    <a:lnTo>
                      <a:pt x="3233" y="1913"/>
                    </a:lnTo>
                    <a:lnTo>
                      <a:pt x="3268" y="1902"/>
                    </a:lnTo>
                    <a:lnTo>
                      <a:pt x="3328" y="1902"/>
                    </a:lnTo>
                    <a:lnTo>
                      <a:pt x="3339" y="1913"/>
                    </a:lnTo>
                    <a:lnTo>
                      <a:pt x="3351" y="1937"/>
                    </a:lnTo>
                    <a:lnTo>
                      <a:pt x="3351" y="1973"/>
                    </a:lnTo>
                    <a:lnTo>
                      <a:pt x="3292" y="2056"/>
                    </a:lnTo>
                    <a:lnTo>
                      <a:pt x="3316" y="2104"/>
                    </a:lnTo>
                    <a:lnTo>
                      <a:pt x="3351" y="2139"/>
                    </a:lnTo>
                    <a:lnTo>
                      <a:pt x="3399" y="2163"/>
                    </a:lnTo>
                    <a:lnTo>
                      <a:pt x="3470" y="2127"/>
                    </a:lnTo>
                    <a:lnTo>
                      <a:pt x="3518" y="2151"/>
                    </a:lnTo>
                    <a:lnTo>
                      <a:pt x="3518" y="2175"/>
                    </a:lnTo>
                    <a:lnTo>
                      <a:pt x="3518" y="2246"/>
                    </a:lnTo>
                    <a:lnTo>
                      <a:pt x="3542" y="2317"/>
                    </a:lnTo>
                    <a:lnTo>
                      <a:pt x="3542" y="2377"/>
                    </a:lnTo>
                    <a:lnTo>
                      <a:pt x="3565" y="2460"/>
                    </a:lnTo>
                    <a:lnTo>
                      <a:pt x="3565" y="2496"/>
                    </a:lnTo>
                    <a:lnTo>
                      <a:pt x="3589" y="2567"/>
                    </a:lnTo>
                    <a:lnTo>
                      <a:pt x="3601" y="2591"/>
                    </a:lnTo>
                    <a:lnTo>
                      <a:pt x="3613" y="2615"/>
                    </a:lnTo>
                    <a:lnTo>
                      <a:pt x="3625" y="2591"/>
                    </a:lnTo>
                    <a:lnTo>
                      <a:pt x="3648" y="2531"/>
                    </a:lnTo>
                    <a:lnTo>
                      <a:pt x="3732" y="2436"/>
                    </a:lnTo>
                    <a:lnTo>
                      <a:pt x="3803" y="2401"/>
                    </a:lnTo>
                    <a:lnTo>
                      <a:pt x="3886" y="2377"/>
                    </a:lnTo>
                    <a:lnTo>
                      <a:pt x="3946" y="2329"/>
                    </a:lnTo>
                    <a:lnTo>
                      <a:pt x="4005" y="2258"/>
                    </a:lnTo>
                    <a:lnTo>
                      <a:pt x="4064" y="2222"/>
                    </a:lnTo>
                    <a:lnTo>
                      <a:pt x="4100" y="2175"/>
                    </a:lnTo>
                    <a:lnTo>
                      <a:pt x="4124" y="2127"/>
                    </a:lnTo>
                    <a:lnTo>
                      <a:pt x="4136" y="2092"/>
                    </a:lnTo>
                    <a:lnTo>
                      <a:pt x="4148" y="2056"/>
                    </a:lnTo>
                    <a:lnTo>
                      <a:pt x="4159" y="2032"/>
                    </a:lnTo>
                    <a:lnTo>
                      <a:pt x="4195" y="1997"/>
                    </a:lnTo>
                    <a:lnTo>
                      <a:pt x="4219" y="2008"/>
                    </a:lnTo>
                    <a:lnTo>
                      <a:pt x="4243" y="2056"/>
                    </a:lnTo>
                    <a:lnTo>
                      <a:pt x="4278" y="2092"/>
                    </a:lnTo>
                    <a:lnTo>
                      <a:pt x="4302" y="2127"/>
                    </a:lnTo>
                    <a:lnTo>
                      <a:pt x="4338" y="2199"/>
                    </a:lnTo>
                    <a:lnTo>
                      <a:pt x="4362" y="2210"/>
                    </a:lnTo>
                    <a:lnTo>
                      <a:pt x="4409" y="2234"/>
                    </a:lnTo>
                    <a:lnTo>
                      <a:pt x="4480" y="2210"/>
                    </a:lnTo>
                    <a:lnTo>
                      <a:pt x="4516" y="2210"/>
                    </a:lnTo>
                    <a:lnTo>
                      <a:pt x="4540" y="2210"/>
                    </a:lnTo>
                    <a:lnTo>
                      <a:pt x="4575" y="2234"/>
                    </a:lnTo>
                    <a:lnTo>
                      <a:pt x="4623" y="2282"/>
                    </a:lnTo>
                    <a:lnTo>
                      <a:pt x="4730" y="2329"/>
                    </a:lnTo>
                    <a:lnTo>
                      <a:pt x="4777" y="2377"/>
                    </a:lnTo>
                    <a:lnTo>
                      <a:pt x="4825" y="2508"/>
                    </a:lnTo>
                    <a:lnTo>
                      <a:pt x="4861" y="2555"/>
                    </a:lnTo>
                    <a:lnTo>
                      <a:pt x="4908" y="2579"/>
                    </a:lnTo>
                    <a:lnTo>
                      <a:pt x="4944" y="2579"/>
                    </a:lnTo>
                    <a:lnTo>
                      <a:pt x="4956" y="2567"/>
                    </a:lnTo>
                    <a:lnTo>
                      <a:pt x="4968" y="2543"/>
                    </a:lnTo>
                    <a:lnTo>
                      <a:pt x="5015" y="2543"/>
                    </a:lnTo>
                    <a:lnTo>
                      <a:pt x="5027" y="2555"/>
                    </a:lnTo>
                    <a:lnTo>
                      <a:pt x="5027" y="2603"/>
                    </a:lnTo>
                    <a:lnTo>
                      <a:pt x="5039" y="2615"/>
                    </a:lnTo>
                    <a:lnTo>
                      <a:pt x="5075" y="2662"/>
                    </a:lnTo>
                    <a:lnTo>
                      <a:pt x="5122" y="2686"/>
                    </a:lnTo>
                    <a:lnTo>
                      <a:pt x="5158" y="2721"/>
                    </a:lnTo>
                    <a:lnTo>
                      <a:pt x="5181" y="2721"/>
                    </a:lnTo>
                    <a:lnTo>
                      <a:pt x="5193" y="2710"/>
                    </a:lnTo>
                    <a:lnTo>
                      <a:pt x="5205" y="2674"/>
                    </a:lnTo>
                    <a:lnTo>
                      <a:pt x="5253" y="2615"/>
                    </a:lnTo>
                    <a:lnTo>
                      <a:pt x="5300" y="2603"/>
                    </a:lnTo>
                    <a:lnTo>
                      <a:pt x="5431" y="2626"/>
                    </a:lnTo>
                    <a:lnTo>
                      <a:pt x="5514" y="2686"/>
                    </a:lnTo>
                    <a:lnTo>
                      <a:pt x="5574" y="2721"/>
                    </a:lnTo>
                    <a:lnTo>
                      <a:pt x="5574" y="2698"/>
                    </a:lnTo>
                    <a:lnTo>
                      <a:pt x="5609" y="2698"/>
                    </a:lnTo>
                    <a:lnTo>
                      <a:pt x="5657" y="2662"/>
                    </a:lnTo>
                    <a:lnTo>
                      <a:pt x="5681" y="2615"/>
                    </a:lnTo>
                    <a:lnTo>
                      <a:pt x="5692" y="2603"/>
                    </a:lnTo>
                    <a:lnTo>
                      <a:pt x="5799" y="2591"/>
                    </a:lnTo>
                    <a:lnTo>
                      <a:pt x="5823" y="2603"/>
                    </a:lnTo>
                    <a:lnTo>
                      <a:pt x="5859" y="2579"/>
                    </a:lnTo>
                    <a:lnTo>
                      <a:pt x="5906" y="2531"/>
                    </a:lnTo>
                    <a:lnTo>
                      <a:pt x="5906" y="2519"/>
                    </a:lnTo>
                    <a:lnTo>
                      <a:pt x="5966" y="2508"/>
                    </a:lnTo>
                    <a:lnTo>
                      <a:pt x="6001" y="2460"/>
                    </a:lnTo>
                    <a:lnTo>
                      <a:pt x="6025" y="2436"/>
                    </a:lnTo>
                    <a:lnTo>
                      <a:pt x="6085" y="2413"/>
                    </a:lnTo>
                    <a:lnTo>
                      <a:pt x="6108" y="2389"/>
                    </a:lnTo>
                    <a:lnTo>
                      <a:pt x="6144" y="2341"/>
                    </a:lnTo>
                    <a:lnTo>
                      <a:pt x="6156" y="2270"/>
                    </a:lnTo>
                    <a:lnTo>
                      <a:pt x="6180" y="2246"/>
                    </a:lnTo>
                    <a:lnTo>
                      <a:pt x="6203" y="2222"/>
                    </a:lnTo>
                    <a:lnTo>
                      <a:pt x="6239" y="2199"/>
                    </a:lnTo>
                    <a:lnTo>
                      <a:pt x="6358" y="2187"/>
                    </a:lnTo>
                    <a:lnTo>
                      <a:pt x="6465" y="2151"/>
                    </a:lnTo>
                    <a:lnTo>
                      <a:pt x="6548" y="2163"/>
                    </a:lnTo>
                    <a:lnTo>
                      <a:pt x="6572" y="2187"/>
                    </a:lnTo>
                    <a:lnTo>
                      <a:pt x="6596" y="2187"/>
                    </a:lnTo>
                    <a:lnTo>
                      <a:pt x="6643" y="2199"/>
                    </a:lnTo>
                    <a:lnTo>
                      <a:pt x="6667" y="2187"/>
                    </a:lnTo>
                    <a:lnTo>
                      <a:pt x="6691" y="2187"/>
                    </a:lnTo>
                    <a:lnTo>
                      <a:pt x="6726" y="2187"/>
                    </a:lnTo>
                    <a:lnTo>
                      <a:pt x="6774" y="2163"/>
                    </a:lnTo>
                    <a:lnTo>
                      <a:pt x="6833" y="2127"/>
                    </a:lnTo>
                    <a:lnTo>
                      <a:pt x="6893" y="2104"/>
                    </a:lnTo>
                    <a:lnTo>
                      <a:pt x="6940" y="2104"/>
                    </a:lnTo>
                    <a:lnTo>
                      <a:pt x="6940" y="2092"/>
                    </a:lnTo>
                    <a:lnTo>
                      <a:pt x="7047" y="2139"/>
                    </a:lnTo>
                    <a:lnTo>
                      <a:pt x="7059" y="2151"/>
                    </a:lnTo>
                    <a:lnTo>
                      <a:pt x="7071" y="2151"/>
                    </a:lnTo>
                    <a:lnTo>
                      <a:pt x="7083" y="2163"/>
                    </a:lnTo>
                    <a:lnTo>
                      <a:pt x="7142" y="2175"/>
                    </a:lnTo>
                    <a:lnTo>
                      <a:pt x="7202" y="2187"/>
                    </a:lnTo>
                    <a:lnTo>
                      <a:pt x="7226" y="2151"/>
                    </a:lnTo>
                    <a:lnTo>
                      <a:pt x="7249" y="2163"/>
                    </a:lnTo>
                    <a:lnTo>
                      <a:pt x="7261" y="2175"/>
                    </a:lnTo>
                    <a:lnTo>
                      <a:pt x="7285" y="2175"/>
                    </a:lnTo>
                    <a:lnTo>
                      <a:pt x="7297" y="2163"/>
                    </a:lnTo>
                    <a:lnTo>
                      <a:pt x="7309" y="2163"/>
                    </a:lnTo>
                    <a:lnTo>
                      <a:pt x="7332" y="217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38" name="Freeform 246"/>
              <p:cNvSpPr>
                <a:spLocks/>
              </p:cNvSpPr>
              <p:nvPr/>
            </p:nvSpPr>
            <p:spPr bwMode="auto">
              <a:xfrm>
                <a:off x="41798876" y="-8148643"/>
                <a:ext cx="93662" cy="174631"/>
              </a:xfrm>
              <a:custGeom>
                <a:avLst/>
                <a:gdLst>
                  <a:gd name="connsiteX0" fmla="*/ 4894 w 10000"/>
                  <a:gd name="connsiteY0" fmla="*/ 252 h 9244"/>
                  <a:gd name="connsiteX1" fmla="*/ 10000 w 10000"/>
                  <a:gd name="connsiteY1" fmla="*/ 0 h 9244"/>
                  <a:gd name="connsiteX2" fmla="*/ 10000 w 10000"/>
                  <a:gd name="connsiteY2" fmla="*/ 2269 h 9244"/>
                  <a:gd name="connsiteX3" fmla="*/ 4894 w 10000"/>
                  <a:gd name="connsiteY3" fmla="*/ 7227 h 9244"/>
                  <a:gd name="connsiteX4" fmla="*/ 2553 w 10000"/>
                  <a:gd name="connsiteY4" fmla="*/ 9244 h 9244"/>
                  <a:gd name="connsiteX5" fmla="*/ 0 w 10000"/>
                  <a:gd name="connsiteY5" fmla="*/ 8236 h 9244"/>
                  <a:gd name="connsiteX6" fmla="*/ 2553 w 10000"/>
                  <a:gd name="connsiteY6" fmla="*/ 4202 h 9244"/>
                  <a:gd name="connsiteX7" fmla="*/ 4894 w 10000"/>
                  <a:gd name="connsiteY7" fmla="*/ 252 h 9244"/>
                  <a:gd name="connsiteX0" fmla="*/ 4894 w 12553"/>
                  <a:gd name="connsiteY0" fmla="*/ 273 h 10000"/>
                  <a:gd name="connsiteX1" fmla="*/ 10000 w 12553"/>
                  <a:gd name="connsiteY1" fmla="*/ 0 h 10000"/>
                  <a:gd name="connsiteX2" fmla="*/ 12553 w 12553"/>
                  <a:gd name="connsiteY2" fmla="*/ 2455 h 10000"/>
                  <a:gd name="connsiteX3" fmla="*/ 4894 w 12553"/>
                  <a:gd name="connsiteY3" fmla="*/ 7818 h 10000"/>
                  <a:gd name="connsiteX4" fmla="*/ 2553 w 12553"/>
                  <a:gd name="connsiteY4" fmla="*/ 10000 h 10000"/>
                  <a:gd name="connsiteX5" fmla="*/ 0 w 12553"/>
                  <a:gd name="connsiteY5" fmla="*/ 8910 h 10000"/>
                  <a:gd name="connsiteX6" fmla="*/ 2553 w 12553"/>
                  <a:gd name="connsiteY6" fmla="*/ 4546 h 10000"/>
                  <a:gd name="connsiteX7" fmla="*/ 4894 w 12553"/>
                  <a:gd name="connsiteY7" fmla="*/ 27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553" h="10000">
                    <a:moveTo>
                      <a:pt x="4894" y="273"/>
                    </a:moveTo>
                    <a:lnTo>
                      <a:pt x="10000" y="0"/>
                    </a:lnTo>
                    <a:lnTo>
                      <a:pt x="12553" y="2455"/>
                    </a:lnTo>
                    <a:lnTo>
                      <a:pt x="4894" y="7818"/>
                    </a:lnTo>
                    <a:lnTo>
                      <a:pt x="2553" y="10000"/>
                    </a:lnTo>
                    <a:lnTo>
                      <a:pt x="0" y="8910"/>
                    </a:lnTo>
                    <a:lnTo>
                      <a:pt x="2553" y="4546"/>
                    </a:lnTo>
                    <a:lnTo>
                      <a:pt x="4894" y="273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  <p:sp>
            <p:nvSpPr>
              <p:cNvPr id="39" name="Freeform 248"/>
              <p:cNvSpPr>
                <a:spLocks/>
              </p:cNvSpPr>
              <p:nvPr/>
            </p:nvSpPr>
            <p:spPr bwMode="auto">
              <a:xfrm>
                <a:off x="41798875" y="-8294688"/>
                <a:ext cx="36513" cy="55563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23" y="0"/>
                  </a:cxn>
                  <a:cxn ang="0">
                    <a:pos x="23" y="23"/>
                  </a:cxn>
                  <a:cxn ang="0">
                    <a:pos x="12" y="35"/>
                  </a:cxn>
                  <a:cxn ang="0">
                    <a:pos x="0" y="23"/>
                  </a:cxn>
                  <a:cxn ang="0">
                    <a:pos x="12" y="0"/>
                  </a:cxn>
                </a:cxnLst>
                <a:rect l="0" t="0" r="r" b="b"/>
                <a:pathLst>
                  <a:path w="23" h="35">
                    <a:moveTo>
                      <a:pt x="12" y="0"/>
                    </a:moveTo>
                    <a:lnTo>
                      <a:pt x="23" y="0"/>
                    </a:lnTo>
                    <a:lnTo>
                      <a:pt x="23" y="23"/>
                    </a:lnTo>
                    <a:lnTo>
                      <a:pt x="12" y="35"/>
                    </a:lnTo>
                    <a:lnTo>
                      <a:pt x="0" y="2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1920" tIns="35960" rIns="71920" bIns="3596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50000"/>
                  <a:defRPr/>
                </a:pPr>
                <a:endParaRPr lang="en-US" sz="1416" kern="0" dirty="0">
                  <a:solidFill>
                    <a:srgbClr val="292929"/>
                  </a:solidFill>
                </a:endParaRPr>
              </a:p>
            </p:txBody>
          </p:sp>
        </p:grpSp>
      </p:grpSp>
      <p:grpSp>
        <p:nvGrpSpPr>
          <p:cNvPr id="134" name="Group 167"/>
          <p:cNvGrpSpPr/>
          <p:nvPr/>
        </p:nvGrpSpPr>
        <p:grpSpPr>
          <a:xfrm>
            <a:off x="5599366" y="3114257"/>
            <a:ext cx="759075" cy="644249"/>
            <a:chOff x="6441965" y="3667688"/>
            <a:chExt cx="957781" cy="906373"/>
          </a:xfrm>
        </p:grpSpPr>
        <p:sp>
          <p:nvSpPr>
            <p:cNvPr id="135" name="Freeform 74"/>
            <p:cNvSpPr/>
            <p:nvPr/>
          </p:nvSpPr>
          <p:spPr bwMode="auto">
            <a:xfrm>
              <a:off x="6925140" y="3914904"/>
              <a:ext cx="336556" cy="659157"/>
            </a:xfrm>
            <a:custGeom>
              <a:avLst/>
              <a:gdLst>
                <a:gd name="connsiteX0" fmla="*/ 0 w 481012"/>
                <a:gd name="connsiteY0" fmla="*/ 919163 h 919163"/>
                <a:gd name="connsiteX1" fmla="*/ 214312 w 481012"/>
                <a:gd name="connsiteY1" fmla="*/ 704850 h 919163"/>
                <a:gd name="connsiteX2" fmla="*/ 247650 w 481012"/>
                <a:gd name="connsiteY2" fmla="*/ 614363 h 919163"/>
                <a:gd name="connsiteX3" fmla="*/ 200025 w 481012"/>
                <a:gd name="connsiteY3" fmla="*/ 519113 h 919163"/>
                <a:gd name="connsiteX4" fmla="*/ 142875 w 481012"/>
                <a:gd name="connsiteY4" fmla="*/ 423863 h 919163"/>
                <a:gd name="connsiteX5" fmla="*/ 138112 w 481012"/>
                <a:gd name="connsiteY5" fmla="*/ 352425 h 919163"/>
                <a:gd name="connsiteX6" fmla="*/ 190500 w 481012"/>
                <a:gd name="connsiteY6" fmla="*/ 266700 h 919163"/>
                <a:gd name="connsiteX7" fmla="*/ 300037 w 481012"/>
                <a:gd name="connsiteY7" fmla="*/ 195263 h 919163"/>
                <a:gd name="connsiteX8" fmla="*/ 366712 w 481012"/>
                <a:gd name="connsiteY8" fmla="*/ 138113 h 919163"/>
                <a:gd name="connsiteX9" fmla="*/ 447675 w 481012"/>
                <a:gd name="connsiteY9" fmla="*/ 66675 h 919163"/>
                <a:gd name="connsiteX10" fmla="*/ 481012 w 481012"/>
                <a:gd name="connsiteY10" fmla="*/ 0 h 91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1012" h="919163">
                  <a:moveTo>
                    <a:pt x="0" y="919163"/>
                  </a:moveTo>
                  <a:cubicBezTo>
                    <a:pt x="86518" y="837406"/>
                    <a:pt x="173037" y="755650"/>
                    <a:pt x="214312" y="704850"/>
                  </a:cubicBezTo>
                  <a:cubicBezTo>
                    <a:pt x="255587" y="654050"/>
                    <a:pt x="250031" y="645319"/>
                    <a:pt x="247650" y="614363"/>
                  </a:cubicBezTo>
                  <a:cubicBezTo>
                    <a:pt x="245269" y="583407"/>
                    <a:pt x="217487" y="550863"/>
                    <a:pt x="200025" y="519113"/>
                  </a:cubicBezTo>
                  <a:cubicBezTo>
                    <a:pt x="182563" y="487363"/>
                    <a:pt x="153194" y="451644"/>
                    <a:pt x="142875" y="423863"/>
                  </a:cubicBezTo>
                  <a:cubicBezTo>
                    <a:pt x="132556" y="396082"/>
                    <a:pt x="130175" y="378619"/>
                    <a:pt x="138112" y="352425"/>
                  </a:cubicBezTo>
                  <a:cubicBezTo>
                    <a:pt x="146049" y="326231"/>
                    <a:pt x="163513" y="292894"/>
                    <a:pt x="190500" y="266700"/>
                  </a:cubicBezTo>
                  <a:cubicBezTo>
                    <a:pt x="217487" y="240506"/>
                    <a:pt x="270668" y="216694"/>
                    <a:pt x="300037" y="195263"/>
                  </a:cubicBezTo>
                  <a:cubicBezTo>
                    <a:pt x="329406" y="173832"/>
                    <a:pt x="342106" y="159544"/>
                    <a:pt x="366712" y="138113"/>
                  </a:cubicBezTo>
                  <a:cubicBezTo>
                    <a:pt x="391318" y="116682"/>
                    <a:pt x="428625" y="89694"/>
                    <a:pt x="447675" y="66675"/>
                  </a:cubicBezTo>
                  <a:cubicBezTo>
                    <a:pt x="466725" y="43656"/>
                    <a:pt x="473868" y="21828"/>
                    <a:pt x="481012" y="0"/>
                  </a:cubicBezTo>
                </a:path>
              </a:pathLst>
            </a:custGeom>
            <a:noFill/>
            <a:ln w="28575" cap="flat" cmpd="sng" algn="ctr">
              <a:solidFill>
                <a:srgbClr val="FF99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0787" tIns="36810" rIns="70787" bIns="36810" numCol="1" rtlCol="0" anchor="ctr" anchorCtr="0" compatLnSpc="1">
              <a:prstTxWarp prst="textNoShape">
                <a:avLst/>
              </a:prstTxWarp>
            </a:bodyPr>
            <a:lstStyle/>
            <a:p>
              <a:pPr defTabSz="719255"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944" kern="0" dirty="0">
                <a:solidFill>
                  <a:srgbClr val="292929"/>
                </a:solidFill>
              </a:endParaRPr>
            </a:p>
          </p:txBody>
        </p:sp>
        <p:sp>
          <p:nvSpPr>
            <p:cNvPr id="136" name="Freeform 75"/>
            <p:cNvSpPr/>
            <p:nvPr/>
          </p:nvSpPr>
          <p:spPr bwMode="auto">
            <a:xfrm>
              <a:off x="6441965" y="3667688"/>
              <a:ext cx="957781" cy="355990"/>
            </a:xfrm>
            <a:custGeom>
              <a:avLst/>
              <a:gdLst>
                <a:gd name="connsiteX0" fmla="*/ 1347788 w 1347788"/>
                <a:gd name="connsiteY0" fmla="*/ 504825 h 504825"/>
                <a:gd name="connsiteX1" fmla="*/ 1223963 w 1347788"/>
                <a:gd name="connsiteY1" fmla="*/ 414337 h 504825"/>
                <a:gd name="connsiteX2" fmla="*/ 1119188 w 1347788"/>
                <a:gd name="connsiteY2" fmla="*/ 338137 h 504825"/>
                <a:gd name="connsiteX3" fmla="*/ 1009650 w 1347788"/>
                <a:gd name="connsiteY3" fmla="*/ 257175 h 504825"/>
                <a:gd name="connsiteX4" fmla="*/ 885825 w 1347788"/>
                <a:gd name="connsiteY4" fmla="*/ 171450 h 504825"/>
                <a:gd name="connsiteX5" fmla="*/ 733425 w 1347788"/>
                <a:gd name="connsiteY5" fmla="*/ 114300 h 504825"/>
                <a:gd name="connsiteX6" fmla="*/ 547688 w 1347788"/>
                <a:gd name="connsiteY6" fmla="*/ 85725 h 504825"/>
                <a:gd name="connsiteX7" fmla="*/ 342900 w 1347788"/>
                <a:gd name="connsiteY7" fmla="*/ 76200 h 504825"/>
                <a:gd name="connsiteX8" fmla="*/ 176213 w 1347788"/>
                <a:gd name="connsiteY8" fmla="*/ 52387 h 504825"/>
                <a:gd name="connsiteX9" fmla="*/ 80963 w 1347788"/>
                <a:gd name="connsiteY9" fmla="*/ 33337 h 504825"/>
                <a:gd name="connsiteX10" fmla="*/ 0 w 1347788"/>
                <a:gd name="connsiteY10" fmla="*/ 0 h 504825"/>
                <a:gd name="connsiteX0" fmla="*/ 1309521 w 1309521"/>
                <a:gd name="connsiteY0" fmla="*/ 493282 h 493282"/>
                <a:gd name="connsiteX1" fmla="*/ 1223963 w 1309521"/>
                <a:gd name="connsiteY1" fmla="*/ 414337 h 493282"/>
                <a:gd name="connsiteX2" fmla="*/ 1119188 w 1309521"/>
                <a:gd name="connsiteY2" fmla="*/ 338137 h 493282"/>
                <a:gd name="connsiteX3" fmla="*/ 1009650 w 1309521"/>
                <a:gd name="connsiteY3" fmla="*/ 257175 h 493282"/>
                <a:gd name="connsiteX4" fmla="*/ 885825 w 1309521"/>
                <a:gd name="connsiteY4" fmla="*/ 171450 h 493282"/>
                <a:gd name="connsiteX5" fmla="*/ 733425 w 1309521"/>
                <a:gd name="connsiteY5" fmla="*/ 114300 h 493282"/>
                <a:gd name="connsiteX6" fmla="*/ 547688 w 1309521"/>
                <a:gd name="connsiteY6" fmla="*/ 85725 h 493282"/>
                <a:gd name="connsiteX7" fmla="*/ 342900 w 1309521"/>
                <a:gd name="connsiteY7" fmla="*/ 76200 h 493282"/>
                <a:gd name="connsiteX8" fmla="*/ 176213 w 1309521"/>
                <a:gd name="connsiteY8" fmla="*/ 52387 h 493282"/>
                <a:gd name="connsiteX9" fmla="*/ 80963 w 1309521"/>
                <a:gd name="connsiteY9" fmla="*/ 33337 h 493282"/>
                <a:gd name="connsiteX10" fmla="*/ 0 w 1309521"/>
                <a:gd name="connsiteY10" fmla="*/ 0 h 493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09521" h="493282">
                  <a:moveTo>
                    <a:pt x="1309521" y="493282"/>
                  </a:moveTo>
                  <a:lnTo>
                    <a:pt x="1223963" y="414337"/>
                  </a:lnTo>
                  <a:lnTo>
                    <a:pt x="1119188" y="338137"/>
                  </a:lnTo>
                  <a:cubicBezTo>
                    <a:pt x="1083469" y="311943"/>
                    <a:pt x="1048544" y="284956"/>
                    <a:pt x="1009650" y="257175"/>
                  </a:cubicBezTo>
                  <a:cubicBezTo>
                    <a:pt x="970756" y="229394"/>
                    <a:pt x="931863" y="195263"/>
                    <a:pt x="885825" y="171450"/>
                  </a:cubicBezTo>
                  <a:cubicBezTo>
                    <a:pt x="839788" y="147638"/>
                    <a:pt x="789781" y="128588"/>
                    <a:pt x="733425" y="114300"/>
                  </a:cubicBezTo>
                  <a:cubicBezTo>
                    <a:pt x="677069" y="100013"/>
                    <a:pt x="612775" y="92075"/>
                    <a:pt x="547688" y="85725"/>
                  </a:cubicBezTo>
                  <a:cubicBezTo>
                    <a:pt x="482601" y="79375"/>
                    <a:pt x="404813" y="81756"/>
                    <a:pt x="342900" y="76200"/>
                  </a:cubicBezTo>
                  <a:cubicBezTo>
                    <a:pt x="280988" y="70644"/>
                    <a:pt x="219869" y="59531"/>
                    <a:pt x="176213" y="52387"/>
                  </a:cubicBezTo>
                  <a:cubicBezTo>
                    <a:pt x="132557" y="45243"/>
                    <a:pt x="110332" y="42068"/>
                    <a:pt x="80963" y="33337"/>
                  </a:cubicBezTo>
                  <a:cubicBezTo>
                    <a:pt x="51594" y="24606"/>
                    <a:pt x="25797" y="12303"/>
                    <a:pt x="0" y="0"/>
                  </a:cubicBezTo>
                </a:path>
              </a:pathLst>
            </a:custGeom>
            <a:noFill/>
            <a:ln w="28575" cap="flat" cmpd="sng" algn="ctr">
              <a:solidFill>
                <a:srgbClr val="FF99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0787" tIns="36810" rIns="70787" bIns="36810" numCol="1" rtlCol="0" anchor="ctr" anchorCtr="0" compatLnSpc="1">
              <a:prstTxWarp prst="textNoShape">
                <a:avLst/>
              </a:prstTxWarp>
            </a:bodyPr>
            <a:lstStyle/>
            <a:p>
              <a:pPr defTabSz="719255"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944" kern="0" dirty="0">
                <a:solidFill>
                  <a:srgbClr val="292929"/>
                </a:solidFill>
              </a:endParaRPr>
            </a:p>
          </p:txBody>
        </p:sp>
      </p:grpSp>
      <p:grpSp>
        <p:nvGrpSpPr>
          <p:cNvPr id="137" name="Group 168"/>
          <p:cNvGrpSpPr/>
          <p:nvPr/>
        </p:nvGrpSpPr>
        <p:grpSpPr>
          <a:xfrm>
            <a:off x="6270541" y="3179319"/>
            <a:ext cx="385348" cy="221829"/>
            <a:chOff x="3213942" y="4531878"/>
            <a:chExt cx="579132" cy="356828"/>
          </a:xfrm>
        </p:grpSpPr>
        <p:sp>
          <p:nvSpPr>
            <p:cNvPr id="138" name="Freeform 70"/>
            <p:cNvSpPr/>
            <p:nvPr/>
          </p:nvSpPr>
          <p:spPr bwMode="auto">
            <a:xfrm>
              <a:off x="3567969" y="4531878"/>
              <a:ext cx="95632" cy="275185"/>
            </a:xfrm>
            <a:custGeom>
              <a:avLst/>
              <a:gdLst>
                <a:gd name="connsiteX0" fmla="*/ 5821 w 103717"/>
                <a:gd name="connsiteY0" fmla="*/ 0 h 298450"/>
                <a:gd name="connsiteX1" fmla="*/ 5821 w 103717"/>
                <a:gd name="connsiteY1" fmla="*/ 60325 h 298450"/>
                <a:gd name="connsiteX2" fmla="*/ 40746 w 103717"/>
                <a:gd name="connsiteY2" fmla="*/ 107950 h 298450"/>
                <a:gd name="connsiteX3" fmla="*/ 78846 w 103717"/>
                <a:gd name="connsiteY3" fmla="*/ 168275 h 298450"/>
                <a:gd name="connsiteX4" fmla="*/ 69321 w 103717"/>
                <a:gd name="connsiteY4" fmla="*/ 209550 h 298450"/>
                <a:gd name="connsiteX5" fmla="*/ 94721 w 103717"/>
                <a:gd name="connsiteY5" fmla="*/ 269875 h 298450"/>
                <a:gd name="connsiteX6" fmla="*/ 15346 w 103717"/>
                <a:gd name="connsiteY6" fmla="*/ 298450 h 29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717" h="298450">
                  <a:moveTo>
                    <a:pt x="5821" y="0"/>
                  </a:moveTo>
                  <a:cubicBezTo>
                    <a:pt x="2910" y="21166"/>
                    <a:pt x="0" y="42333"/>
                    <a:pt x="5821" y="60325"/>
                  </a:cubicBezTo>
                  <a:cubicBezTo>
                    <a:pt x="11642" y="78317"/>
                    <a:pt x="28575" y="89958"/>
                    <a:pt x="40746" y="107950"/>
                  </a:cubicBezTo>
                  <a:cubicBezTo>
                    <a:pt x="52917" y="125942"/>
                    <a:pt x="74084" y="151342"/>
                    <a:pt x="78846" y="168275"/>
                  </a:cubicBezTo>
                  <a:cubicBezTo>
                    <a:pt x="83608" y="185208"/>
                    <a:pt x="66675" y="192617"/>
                    <a:pt x="69321" y="209550"/>
                  </a:cubicBezTo>
                  <a:cubicBezTo>
                    <a:pt x="71967" y="226483"/>
                    <a:pt x="103717" y="255058"/>
                    <a:pt x="94721" y="269875"/>
                  </a:cubicBezTo>
                  <a:cubicBezTo>
                    <a:pt x="85725" y="284692"/>
                    <a:pt x="15346" y="298450"/>
                    <a:pt x="15346" y="298450"/>
                  </a:cubicBezTo>
                </a:path>
              </a:pathLst>
            </a:custGeom>
            <a:noFill/>
            <a:ln w="2857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0787" tIns="36810" rIns="70787" bIns="36810" numCol="1" rtlCol="0" anchor="ctr" anchorCtr="0" compatLnSpc="1">
              <a:prstTxWarp prst="textNoShape">
                <a:avLst/>
              </a:prstTxWarp>
            </a:bodyPr>
            <a:lstStyle/>
            <a:p>
              <a:pPr defTabSz="719255"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944" kern="0" dirty="0">
                <a:solidFill>
                  <a:srgbClr val="292929"/>
                </a:solidFill>
              </a:endParaRPr>
            </a:p>
          </p:txBody>
        </p:sp>
        <p:sp>
          <p:nvSpPr>
            <p:cNvPr id="139" name="Freeform 71"/>
            <p:cNvSpPr/>
            <p:nvPr/>
          </p:nvSpPr>
          <p:spPr bwMode="auto">
            <a:xfrm>
              <a:off x="3338513" y="4838700"/>
              <a:ext cx="36109" cy="50006"/>
            </a:xfrm>
            <a:custGeom>
              <a:avLst/>
              <a:gdLst>
                <a:gd name="connsiteX0" fmla="*/ 0 w 47625"/>
                <a:gd name="connsiteY0" fmla="*/ 0 h 54769"/>
                <a:gd name="connsiteX1" fmla="*/ 0 w 47625"/>
                <a:gd name="connsiteY1" fmla="*/ 0 h 54769"/>
                <a:gd name="connsiteX2" fmla="*/ 35718 w 47625"/>
                <a:gd name="connsiteY2" fmla="*/ 42863 h 54769"/>
                <a:gd name="connsiteX3" fmla="*/ 35718 w 47625"/>
                <a:gd name="connsiteY3" fmla="*/ 50006 h 54769"/>
                <a:gd name="connsiteX4" fmla="*/ 47625 w 47625"/>
                <a:gd name="connsiteY4" fmla="*/ 54769 h 54769"/>
                <a:gd name="connsiteX0" fmla="*/ 0 w 36109"/>
                <a:gd name="connsiteY0" fmla="*/ 0 h 50006"/>
                <a:gd name="connsiteX1" fmla="*/ 0 w 36109"/>
                <a:gd name="connsiteY1" fmla="*/ 0 h 50006"/>
                <a:gd name="connsiteX2" fmla="*/ 35718 w 36109"/>
                <a:gd name="connsiteY2" fmla="*/ 42863 h 50006"/>
                <a:gd name="connsiteX3" fmla="*/ 35718 w 36109"/>
                <a:gd name="connsiteY3" fmla="*/ 50006 h 50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09" h="50006">
                  <a:moveTo>
                    <a:pt x="0" y="0"/>
                  </a:moveTo>
                  <a:lnTo>
                    <a:pt x="0" y="0"/>
                  </a:lnTo>
                  <a:cubicBezTo>
                    <a:pt x="5311" y="5690"/>
                    <a:pt x="32771" y="25179"/>
                    <a:pt x="35718" y="42863"/>
                  </a:cubicBezTo>
                  <a:cubicBezTo>
                    <a:pt x="36109" y="45212"/>
                    <a:pt x="35718" y="47625"/>
                    <a:pt x="35718" y="50006"/>
                  </a:cubicBezTo>
                </a:path>
              </a:pathLst>
            </a:custGeom>
            <a:gradFill rotWithShape="1">
              <a:gsLst>
                <a:gs pos="0">
                  <a:srgbClr val="EB0000"/>
                </a:gs>
                <a:gs pos="100000">
                  <a:srgbClr val="FFF1E3"/>
                </a:gs>
              </a:gsLst>
              <a:lin ang="0" scaled="1"/>
            </a:gradFill>
            <a:ln w="2857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6686" tIns="39877" rIns="76686" bIns="39877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1023" kern="0" dirty="0">
                <a:solidFill>
                  <a:srgbClr val="292929"/>
                </a:solidFill>
              </a:endParaRPr>
            </a:p>
          </p:txBody>
        </p:sp>
        <p:sp>
          <p:nvSpPr>
            <p:cNvPr id="140" name="Freeform 72"/>
            <p:cNvSpPr/>
            <p:nvPr/>
          </p:nvSpPr>
          <p:spPr bwMode="auto">
            <a:xfrm>
              <a:off x="3213942" y="4644005"/>
              <a:ext cx="579129" cy="223205"/>
            </a:xfrm>
            <a:custGeom>
              <a:avLst/>
              <a:gdLst>
                <a:gd name="connsiteX0" fmla="*/ 59796 w 1282171"/>
                <a:gd name="connsiteY0" fmla="*/ 1498600 h 1606550"/>
                <a:gd name="connsiteX1" fmla="*/ 2646 w 1282171"/>
                <a:gd name="connsiteY1" fmla="*/ 1543050 h 1606550"/>
                <a:gd name="connsiteX2" fmla="*/ 43921 w 1282171"/>
                <a:gd name="connsiteY2" fmla="*/ 1581150 h 1606550"/>
                <a:gd name="connsiteX3" fmla="*/ 104246 w 1282171"/>
                <a:gd name="connsiteY3" fmla="*/ 1603375 h 1606550"/>
                <a:gd name="connsiteX4" fmla="*/ 161396 w 1282171"/>
                <a:gd name="connsiteY4" fmla="*/ 1600200 h 1606550"/>
                <a:gd name="connsiteX5" fmla="*/ 205846 w 1282171"/>
                <a:gd name="connsiteY5" fmla="*/ 1568450 h 1606550"/>
                <a:gd name="connsiteX6" fmla="*/ 250296 w 1282171"/>
                <a:gd name="connsiteY6" fmla="*/ 1543050 h 1606550"/>
                <a:gd name="connsiteX7" fmla="*/ 332846 w 1282171"/>
                <a:gd name="connsiteY7" fmla="*/ 1536700 h 1606550"/>
                <a:gd name="connsiteX8" fmla="*/ 377296 w 1282171"/>
                <a:gd name="connsiteY8" fmla="*/ 1546225 h 1606550"/>
                <a:gd name="connsiteX9" fmla="*/ 440796 w 1282171"/>
                <a:gd name="connsiteY9" fmla="*/ 1539875 h 1606550"/>
                <a:gd name="connsiteX10" fmla="*/ 491596 w 1282171"/>
                <a:gd name="connsiteY10" fmla="*/ 1539875 h 1606550"/>
                <a:gd name="connsiteX11" fmla="*/ 567796 w 1282171"/>
                <a:gd name="connsiteY11" fmla="*/ 1530350 h 1606550"/>
                <a:gd name="connsiteX12" fmla="*/ 596371 w 1282171"/>
                <a:gd name="connsiteY12" fmla="*/ 1489075 h 1606550"/>
                <a:gd name="connsiteX13" fmla="*/ 656696 w 1282171"/>
                <a:gd name="connsiteY13" fmla="*/ 1422400 h 1606550"/>
                <a:gd name="connsiteX14" fmla="*/ 666221 w 1282171"/>
                <a:gd name="connsiteY14" fmla="*/ 1365250 h 1606550"/>
                <a:gd name="connsiteX15" fmla="*/ 720196 w 1282171"/>
                <a:gd name="connsiteY15" fmla="*/ 1304925 h 1606550"/>
                <a:gd name="connsiteX16" fmla="*/ 736071 w 1282171"/>
                <a:gd name="connsiteY16" fmla="*/ 1260475 h 1606550"/>
                <a:gd name="connsiteX17" fmla="*/ 764646 w 1282171"/>
                <a:gd name="connsiteY17" fmla="*/ 1219200 h 1606550"/>
                <a:gd name="connsiteX18" fmla="*/ 815446 w 1282171"/>
                <a:gd name="connsiteY18" fmla="*/ 1168400 h 1606550"/>
                <a:gd name="connsiteX19" fmla="*/ 783696 w 1282171"/>
                <a:gd name="connsiteY19" fmla="*/ 1101725 h 1606550"/>
                <a:gd name="connsiteX20" fmla="*/ 799571 w 1282171"/>
                <a:gd name="connsiteY20" fmla="*/ 1025525 h 1606550"/>
                <a:gd name="connsiteX21" fmla="*/ 815446 w 1282171"/>
                <a:gd name="connsiteY21" fmla="*/ 958850 h 1606550"/>
                <a:gd name="connsiteX22" fmla="*/ 837671 w 1282171"/>
                <a:gd name="connsiteY22" fmla="*/ 885825 h 1606550"/>
                <a:gd name="connsiteX23" fmla="*/ 834496 w 1282171"/>
                <a:gd name="connsiteY23" fmla="*/ 819150 h 1606550"/>
                <a:gd name="connsiteX24" fmla="*/ 834496 w 1282171"/>
                <a:gd name="connsiteY24" fmla="*/ 704850 h 1606550"/>
                <a:gd name="connsiteX25" fmla="*/ 863071 w 1282171"/>
                <a:gd name="connsiteY25" fmla="*/ 666750 h 1606550"/>
                <a:gd name="connsiteX26" fmla="*/ 812271 w 1282171"/>
                <a:gd name="connsiteY26" fmla="*/ 584200 h 1606550"/>
                <a:gd name="connsiteX27" fmla="*/ 859896 w 1282171"/>
                <a:gd name="connsiteY27" fmla="*/ 495300 h 1606550"/>
                <a:gd name="connsiteX28" fmla="*/ 910696 w 1282171"/>
                <a:gd name="connsiteY28" fmla="*/ 419100 h 1606550"/>
                <a:gd name="connsiteX29" fmla="*/ 967846 w 1282171"/>
                <a:gd name="connsiteY29" fmla="*/ 393700 h 1606550"/>
                <a:gd name="connsiteX30" fmla="*/ 1018646 w 1282171"/>
                <a:gd name="connsiteY30" fmla="*/ 346075 h 1606550"/>
                <a:gd name="connsiteX31" fmla="*/ 1078971 w 1282171"/>
                <a:gd name="connsiteY31" fmla="*/ 254000 h 1606550"/>
                <a:gd name="connsiteX32" fmla="*/ 1101196 w 1282171"/>
                <a:gd name="connsiteY32" fmla="*/ 193675 h 1606550"/>
                <a:gd name="connsiteX33" fmla="*/ 1158346 w 1282171"/>
                <a:gd name="connsiteY33" fmla="*/ 161925 h 1606550"/>
                <a:gd name="connsiteX34" fmla="*/ 1212321 w 1282171"/>
                <a:gd name="connsiteY34" fmla="*/ 95250 h 1606550"/>
                <a:gd name="connsiteX35" fmla="*/ 1282171 w 128217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01196 w 1407651"/>
                <a:gd name="connsiteY32" fmla="*/ 193675 h 1606550"/>
                <a:gd name="connsiteX33" fmla="*/ 1158346 w 1407651"/>
                <a:gd name="connsiteY33" fmla="*/ 161925 h 1606550"/>
                <a:gd name="connsiteX34" fmla="*/ 1212321 w 1407651"/>
                <a:gd name="connsiteY34" fmla="*/ 95250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01196 w 1407651"/>
                <a:gd name="connsiteY32" fmla="*/ 193675 h 1606550"/>
                <a:gd name="connsiteX33" fmla="*/ 1158346 w 1407651"/>
                <a:gd name="connsiteY33" fmla="*/ 161925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01196 w 1407651"/>
                <a:gd name="connsiteY32" fmla="*/ 193675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81019 w 1407651"/>
                <a:gd name="connsiteY22" fmla="*/ 896438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65638 w 1407651"/>
                <a:gd name="connsiteY21" fmla="*/ 977952 h 1606550"/>
                <a:gd name="connsiteX22" fmla="*/ 881019 w 1407651"/>
                <a:gd name="connsiteY22" fmla="*/ 896438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829230 w 1407651"/>
                <a:gd name="connsiteY20" fmla="*/ 1040382 h 1606550"/>
                <a:gd name="connsiteX21" fmla="*/ 865638 w 1407651"/>
                <a:gd name="connsiteY21" fmla="*/ 977952 h 1606550"/>
                <a:gd name="connsiteX22" fmla="*/ 881019 w 1407651"/>
                <a:gd name="connsiteY22" fmla="*/ 896438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280765"/>
                <a:gd name="connsiteY0" fmla="*/ 1348165 h 1456115"/>
                <a:gd name="connsiteX1" fmla="*/ 2646 w 1280765"/>
                <a:gd name="connsiteY1" fmla="*/ 1392615 h 1456115"/>
                <a:gd name="connsiteX2" fmla="*/ 43921 w 1280765"/>
                <a:gd name="connsiteY2" fmla="*/ 1430715 h 1456115"/>
                <a:gd name="connsiteX3" fmla="*/ 104246 w 1280765"/>
                <a:gd name="connsiteY3" fmla="*/ 1452940 h 1456115"/>
                <a:gd name="connsiteX4" fmla="*/ 161396 w 1280765"/>
                <a:gd name="connsiteY4" fmla="*/ 1449765 h 1456115"/>
                <a:gd name="connsiteX5" fmla="*/ 205846 w 1280765"/>
                <a:gd name="connsiteY5" fmla="*/ 1418015 h 1456115"/>
                <a:gd name="connsiteX6" fmla="*/ 250296 w 1280765"/>
                <a:gd name="connsiteY6" fmla="*/ 1392615 h 1456115"/>
                <a:gd name="connsiteX7" fmla="*/ 332846 w 1280765"/>
                <a:gd name="connsiteY7" fmla="*/ 1386265 h 1456115"/>
                <a:gd name="connsiteX8" fmla="*/ 377296 w 1280765"/>
                <a:gd name="connsiteY8" fmla="*/ 1395790 h 1456115"/>
                <a:gd name="connsiteX9" fmla="*/ 440796 w 1280765"/>
                <a:gd name="connsiteY9" fmla="*/ 1389440 h 1456115"/>
                <a:gd name="connsiteX10" fmla="*/ 491596 w 1280765"/>
                <a:gd name="connsiteY10" fmla="*/ 1389440 h 1456115"/>
                <a:gd name="connsiteX11" fmla="*/ 567796 w 1280765"/>
                <a:gd name="connsiteY11" fmla="*/ 1379915 h 1456115"/>
                <a:gd name="connsiteX12" fmla="*/ 596371 w 1280765"/>
                <a:gd name="connsiteY12" fmla="*/ 1338640 h 1456115"/>
                <a:gd name="connsiteX13" fmla="*/ 656696 w 1280765"/>
                <a:gd name="connsiteY13" fmla="*/ 1271965 h 1456115"/>
                <a:gd name="connsiteX14" fmla="*/ 666221 w 1280765"/>
                <a:gd name="connsiteY14" fmla="*/ 1214815 h 1456115"/>
                <a:gd name="connsiteX15" fmla="*/ 720196 w 1280765"/>
                <a:gd name="connsiteY15" fmla="*/ 1154490 h 1456115"/>
                <a:gd name="connsiteX16" fmla="*/ 736071 w 1280765"/>
                <a:gd name="connsiteY16" fmla="*/ 1110040 h 1456115"/>
                <a:gd name="connsiteX17" fmla="*/ 764646 w 1280765"/>
                <a:gd name="connsiteY17" fmla="*/ 1068765 h 1456115"/>
                <a:gd name="connsiteX18" fmla="*/ 815446 w 1280765"/>
                <a:gd name="connsiteY18" fmla="*/ 1017965 h 1456115"/>
                <a:gd name="connsiteX19" fmla="*/ 783696 w 1280765"/>
                <a:gd name="connsiteY19" fmla="*/ 951290 h 1456115"/>
                <a:gd name="connsiteX20" fmla="*/ 829230 w 1280765"/>
                <a:gd name="connsiteY20" fmla="*/ 889947 h 1456115"/>
                <a:gd name="connsiteX21" fmla="*/ 865638 w 1280765"/>
                <a:gd name="connsiteY21" fmla="*/ 827517 h 1456115"/>
                <a:gd name="connsiteX22" fmla="*/ 881019 w 1280765"/>
                <a:gd name="connsiteY22" fmla="*/ 746003 h 1456115"/>
                <a:gd name="connsiteX23" fmla="*/ 896094 w 1280765"/>
                <a:gd name="connsiteY23" fmla="*/ 668715 h 1456115"/>
                <a:gd name="connsiteX24" fmla="*/ 905221 w 1280765"/>
                <a:gd name="connsiteY24" fmla="*/ 545925 h 1456115"/>
                <a:gd name="connsiteX25" fmla="*/ 885886 w 1280765"/>
                <a:gd name="connsiteY25" fmla="*/ 502423 h 1456115"/>
                <a:gd name="connsiteX26" fmla="*/ 898967 w 1280765"/>
                <a:gd name="connsiteY26" fmla="*/ 435887 h 1456115"/>
                <a:gd name="connsiteX27" fmla="*/ 891836 w 1280765"/>
                <a:gd name="connsiteY27" fmla="*/ 375287 h 1456115"/>
                <a:gd name="connsiteX28" fmla="*/ 906133 w 1280765"/>
                <a:gd name="connsiteY28" fmla="*/ 298380 h 1456115"/>
                <a:gd name="connsiteX29" fmla="*/ 967846 w 1280765"/>
                <a:gd name="connsiteY29" fmla="*/ 270858 h 1456115"/>
                <a:gd name="connsiteX30" fmla="*/ 1045661 w 1280765"/>
                <a:gd name="connsiteY30" fmla="*/ 246579 h 1456115"/>
                <a:gd name="connsiteX31" fmla="*/ 1115474 w 1280765"/>
                <a:gd name="connsiteY31" fmla="*/ 182096 h 1456115"/>
                <a:gd name="connsiteX32" fmla="*/ 1146825 w 1280765"/>
                <a:gd name="connsiteY32" fmla="*/ 128139 h 1456115"/>
                <a:gd name="connsiteX33" fmla="*/ 1183443 w 1280765"/>
                <a:gd name="connsiteY33" fmla="*/ 85776 h 1456115"/>
                <a:gd name="connsiteX34" fmla="*/ 1280764 w 1280765"/>
                <a:gd name="connsiteY34" fmla="*/ 0 h 1456115"/>
                <a:gd name="connsiteX0" fmla="*/ 59796 w 1183443"/>
                <a:gd name="connsiteY0" fmla="*/ 1262390 h 1370340"/>
                <a:gd name="connsiteX1" fmla="*/ 2646 w 1183443"/>
                <a:gd name="connsiteY1" fmla="*/ 1306840 h 1370340"/>
                <a:gd name="connsiteX2" fmla="*/ 43921 w 1183443"/>
                <a:gd name="connsiteY2" fmla="*/ 1344940 h 1370340"/>
                <a:gd name="connsiteX3" fmla="*/ 104246 w 1183443"/>
                <a:gd name="connsiteY3" fmla="*/ 1367165 h 1370340"/>
                <a:gd name="connsiteX4" fmla="*/ 161396 w 1183443"/>
                <a:gd name="connsiteY4" fmla="*/ 1363990 h 1370340"/>
                <a:gd name="connsiteX5" fmla="*/ 205846 w 1183443"/>
                <a:gd name="connsiteY5" fmla="*/ 1332240 h 1370340"/>
                <a:gd name="connsiteX6" fmla="*/ 250296 w 1183443"/>
                <a:gd name="connsiteY6" fmla="*/ 1306840 h 1370340"/>
                <a:gd name="connsiteX7" fmla="*/ 332846 w 1183443"/>
                <a:gd name="connsiteY7" fmla="*/ 1300490 h 1370340"/>
                <a:gd name="connsiteX8" fmla="*/ 377296 w 1183443"/>
                <a:gd name="connsiteY8" fmla="*/ 1310015 h 1370340"/>
                <a:gd name="connsiteX9" fmla="*/ 440796 w 1183443"/>
                <a:gd name="connsiteY9" fmla="*/ 1303665 h 1370340"/>
                <a:gd name="connsiteX10" fmla="*/ 491596 w 1183443"/>
                <a:gd name="connsiteY10" fmla="*/ 1303665 h 1370340"/>
                <a:gd name="connsiteX11" fmla="*/ 567796 w 1183443"/>
                <a:gd name="connsiteY11" fmla="*/ 1294140 h 1370340"/>
                <a:gd name="connsiteX12" fmla="*/ 596371 w 1183443"/>
                <a:gd name="connsiteY12" fmla="*/ 1252865 h 1370340"/>
                <a:gd name="connsiteX13" fmla="*/ 656696 w 1183443"/>
                <a:gd name="connsiteY13" fmla="*/ 1186190 h 1370340"/>
                <a:gd name="connsiteX14" fmla="*/ 666221 w 1183443"/>
                <a:gd name="connsiteY14" fmla="*/ 1129040 h 1370340"/>
                <a:gd name="connsiteX15" fmla="*/ 720196 w 1183443"/>
                <a:gd name="connsiteY15" fmla="*/ 1068715 h 1370340"/>
                <a:gd name="connsiteX16" fmla="*/ 736071 w 1183443"/>
                <a:gd name="connsiteY16" fmla="*/ 1024265 h 1370340"/>
                <a:gd name="connsiteX17" fmla="*/ 764646 w 1183443"/>
                <a:gd name="connsiteY17" fmla="*/ 982990 h 1370340"/>
                <a:gd name="connsiteX18" fmla="*/ 815446 w 1183443"/>
                <a:gd name="connsiteY18" fmla="*/ 932190 h 1370340"/>
                <a:gd name="connsiteX19" fmla="*/ 783696 w 1183443"/>
                <a:gd name="connsiteY19" fmla="*/ 865515 h 1370340"/>
                <a:gd name="connsiteX20" fmla="*/ 829230 w 1183443"/>
                <a:gd name="connsiteY20" fmla="*/ 804172 h 1370340"/>
                <a:gd name="connsiteX21" fmla="*/ 865638 w 1183443"/>
                <a:gd name="connsiteY21" fmla="*/ 741742 h 1370340"/>
                <a:gd name="connsiteX22" fmla="*/ 881019 w 1183443"/>
                <a:gd name="connsiteY22" fmla="*/ 660228 h 1370340"/>
                <a:gd name="connsiteX23" fmla="*/ 896094 w 1183443"/>
                <a:gd name="connsiteY23" fmla="*/ 582940 h 1370340"/>
                <a:gd name="connsiteX24" fmla="*/ 905221 w 1183443"/>
                <a:gd name="connsiteY24" fmla="*/ 460150 h 1370340"/>
                <a:gd name="connsiteX25" fmla="*/ 885886 w 1183443"/>
                <a:gd name="connsiteY25" fmla="*/ 416648 h 1370340"/>
                <a:gd name="connsiteX26" fmla="*/ 898967 w 1183443"/>
                <a:gd name="connsiteY26" fmla="*/ 350112 h 1370340"/>
                <a:gd name="connsiteX27" fmla="*/ 891836 w 1183443"/>
                <a:gd name="connsiteY27" fmla="*/ 289512 h 1370340"/>
                <a:gd name="connsiteX28" fmla="*/ 906133 w 1183443"/>
                <a:gd name="connsiteY28" fmla="*/ 212605 h 1370340"/>
                <a:gd name="connsiteX29" fmla="*/ 967846 w 1183443"/>
                <a:gd name="connsiteY29" fmla="*/ 185083 h 1370340"/>
                <a:gd name="connsiteX30" fmla="*/ 1045661 w 1183443"/>
                <a:gd name="connsiteY30" fmla="*/ 160804 h 1370340"/>
                <a:gd name="connsiteX31" fmla="*/ 1115474 w 1183443"/>
                <a:gd name="connsiteY31" fmla="*/ 96321 h 1370340"/>
                <a:gd name="connsiteX32" fmla="*/ 1146825 w 1183443"/>
                <a:gd name="connsiteY32" fmla="*/ 42364 h 1370340"/>
                <a:gd name="connsiteX33" fmla="*/ 1183443 w 1183443"/>
                <a:gd name="connsiteY33" fmla="*/ 1 h 1370340"/>
                <a:gd name="connsiteX0" fmla="*/ 59796 w 1146826"/>
                <a:gd name="connsiteY0" fmla="*/ 1220026 h 1327976"/>
                <a:gd name="connsiteX1" fmla="*/ 2646 w 1146826"/>
                <a:gd name="connsiteY1" fmla="*/ 1264476 h 1327976"/>
                <a:gd name="connsiteX2" fmla="*/ 43921 w 1146826"/>
                <a:gd name="connsiteY2" fmla="*/ 1302576 h 1327976"/>
                <a:gd name="connsiteX3" fmla="*/ 104246 w 1146826"/>
                <a:gd name="connsiteY3" fmla="*/ 1324801 h 1327976"/>
                <a:gd name="connsiteX4" fmla="*/ 161396 w 1146826"/>
                <a:gd name="connsiteY4" fmla="*/ 1321626 h 1327976"/>
                <a:gd name="connsiteX5" fmla="*/ 205846 w 1146826"/>
                <a:gd name="connsiteY5" fmla="*/ 1289876 h 1327976"/>
                <a:gd name="connsiteX6" fmla="*/ 250296 w 1146826"/>
                <a:gd name="connsiteY6" fmla="*/ 1264476 h 1327976"/>
                <a:gd name="connsiteX7" fmla="*/ 332846 w 1146826"/>
                <a:gd name="connsiteY7" fmla="*/ 1258126 h 1327976"/>
                <a:gd name="connsiteX8" fmla="*/ 377296 w 1146826"/>
                <a:gd name="connsiteY8" fmla="*/ 1267651 h 1327976"/>
                <a:gd name="connsiteX9" fmla="*/ 440796 w 1146826"/>
                <a:gd name="connsiteY9" fmla="*/ 1261301 h 1327976"/>
                <a:gd name="connsiteX10" fmla="*/ 491596 w 1146826"/>
                <a:gd name="connsiteY10" fmla="*/ 1261301 h 1327976"/>
                <a:gd name="connsiteX11" fmla="*/ 567796 w 1146826"/>
                <a:gd name="connsiteY11" fmla="*/ 1251776 h 1327976"/>
                <a:gd name="connsiteX12" fmla="*/ 596371 w 1146826"/>
                <a:gd name="connsiteY12" fmla="*/ 1210501 h 1327976"/>
                <a:gd name="connsiteX13" fmla="*/ 656696 w 1146826"/>
                <a:gd name="connsiteY13" fmla="*/ 1143826 h 1327976"/>
                <a:gd name="connsiteX14" fmla="*/ 666221 w 1146826"/>
                <a:gd name="connsiteY14" fmla="*/ 1086676 h 1327976"/>
                <a:gd name="connsiteX15" fmla="*/ 720196 w 1146826"/>
                <a:gd name="connsiteY15" fmla="*/ 1026351 h 1327976"/>
                <a:gd name="connsiteX16" fmla="*/ 736071 w 1146826"/>
                <a:gd name="connsiteY16" fmla="*/ 981901 h 1327976"/>
                <a:gd name="connsiteX17" fmla="*/ 764646 w 1146826"/>
                <a:gd name="connsiteY17" fmla="*/ 940626 h 1327976"/>
                <a:gd name="connsiteX18" fmla="*/ 815446 w 1146826"/>
                <a:gd name="connsiteY18" fmla="*/ 889826 h 1327976"/>
                <a:gd name="connsiteX19" fmla="*/ 783696 w 1146826"/>
                <a:gd name="connsiteY19" fmla="*/ 823151 h 1327976"/>
                <a:gd name="connsiteX20" fmla="*/ 829230 w 1146826"/>
                <a:gd name="connsiteY20" fmla="*/ 761808 h 1327976"/>
                <a:gd name="connsiteX21" fmla="*/ 865638 w 1146826"/>
                <a:gd name="connsiteY21" fmla="*/ 699378 h 1327976"/>
                <a:gd name="connsiteX22" fmla="*/ 881019 w 1146826"/>
                <a:gd name="connsiteY22" fmla="*/ 617864 h 1327976"/>
                <a:gd name="connsiteX23" fmla="*/ 896094 w 1146826"/>
                <a:gd name="connsiteY23" fmla="*/ 540576 h 1327976"/>
                <a:gd name="connsiteX24" fmla="*/ 905221 w 1146826"/>
                <a:gd name="connsiteY24" fmla="*/ 417786 h 1327976"/>
                <a:gd name="connsiteX25" fmla="*/ 885886 w 1146826"/>
                <a:gd name="connsiteY25" fmla="*/ 374284 h 1327976"/>
                <a:gd name="connsiteX26" fmla="*/ 898967 w 1146826"/>
                <a:gd name="connsiteY26" fmla="*/ 307748 h 1327976"/>
                <a:gd name="connsiteX27" fmla="*/ 891836 w 1146826"/>
                <a:gd name="connsiteY27" fmla="*/ 247148 h 1327976"/>
                <a:gd name="connsiteX28" fmla="*/ 906133 w 1146826"/>
                <a:gd name="connsiteY28" fmla="*/ 170241 h 1327976"/>
                <a:gd name="connsiteX29" fmla="*/ 967846 w 1146826"/>
                <a:gd name="connsiteY29" fmla="*/ 142719 h 1327976"/>
                <a:gd name="connsiteX30" fmla="*/ 1045661 w 1146826"/>
                <a:gd name="connsiteY30" fmla="*/ 118440 h 1327976"/>
                <a:gd name="connsiteX31" fmla="*/ 1115474 w 1146826"/>
                <a:gd name="connsiteY31" fmla="*/ 53957 h 1327976"/>
                <a:gd name="connsiteX32" fmla="*/ 1146825 w 1146826"/>
                <a:gd name="connsiteY32" fmla="*/ 0 h 1327976"/>
                <a:gd name="connsiteX0" fmla="*/ 59796 w 1115473"/>
                <a:gd name="connsiteY0" fmla="*/ 1166069 h 1274019"/>
                <a:gd name="connsiteX1" fmla="*/ 2646 w 1115473"/>
                <a:gd name="connsiteY1" fmla="*/ 1210519 h 1274019"/>
                <a:gd name="connsiteX2" fmla="*/ 43921 w 1115473"/>
                <a:gd name="connsiteY2" fmla="*/ 1248619 h 1274019"/>
                <a:gd name="connsiteX3" fmla="*/ 104246 w 1115473"/>
                <a:gd name="connsiteY3" fmla="*/ 1270844 h 1274019"/>
                <a:gd name="connsiteX4" fmla="*/ 161396 w 1115473"/>
                <a:gd name="connsiteY4" fmla="*/ 1267669 h 1274019"/>
                <a:gd name="connsiteX5" fmla="*/ 205846 w 1115473"/>
                <a:gd name="connsiteY5" fmla="*/ 1235919 h 1274019"/>
                <a:gd name="connsiteX6" fmla="*/ 250296 w 1115473"/>
                <a:gd name="connsiteY6" fmla="*/ 1210519 h 1274019"/>
                <a:gd name="connsiteX7" fmla="*/ 332846 w 1115473"/>
                <a:gd name="connsiteY7" fmla="*/ 1204169 h 1274019"/>
                <a:gd name="connsiteX8" fmla="*/ 377296 w 1115473"/>
                <a:gd name="connsiteY8" fmla="*/ 1213694 h 1274019"/>
                <a:gd name="connsiteX9" fmla="*/ 440796 w 1115473"/>
                <a:gd name="connsiteY9" fmla="*/ 1207344 h 1274019"/>
                <a:gd name="connsiteX10" fmla="*/ 491596 w 1115473"/>
                <a:gd name="connsiteY10" fmla="*/ 1207344 h 1274019"/>
                <a:gd name="connsiteX11" fmla="*/ 567796 w 1115473"/>
                <a:gd name="connsiteY11" fmla="*/ 1197819 h 1274019"/>
                <a:gd name="connsiteX12" fmla="*/ 596371 w 1115473"/>
                <a:gd name="connsiteY12" fmla="*/ 1156544 h 1274019"/>
                <a:gd name="connsiteX13" fmla="*/ 656696 w 1115473"/>
                <a:gd name="connsiteY13" fmla="*/ 1089869 h 1274019"/>
                <a:gd name="connsiteX14" fmla="*/ 666221 w 1115473"/>
                <a:gd name="connsiteY14" fmla="*/ 1032719 h 1274019"/>
                <a:gd name="connsiteX15" fmla="*/ 720196 w 1115473"/>
                <a:gd name="connsiteY15" fmla="*/ 972394 h 1274019"/>
                <a:gd name="connsiteX16" fmla="*/ 736071 w 1115473"/>
                <a:gd name="connsiteY16" fmla="*/ 927944 h 1274019"/>
                <a:gd name="connsiteX17" fmla="*/ 764646 w 1115473"/>
                <a:gd name="connsiteY17" fmla="*/ 886669 h 1274019"/>
                <a:gd name="connsiteX18" fmla="*/ 815446 w 1115473"/>
                <a:gd name="connsiteY18" fmla="*/ 835869 h 1274019"/>
                <a:gd name="connsiteX19" fmla="*/ 783696 w 1115473"/>
                <a:gd name="connsiteY19" fmla="*/ 769194 h 1274019"/>
                <a:gd name="connsiteX20" fmla="*/ 829230 w 1115473"/>
                <a:gd name="connsiteY20" fmla="*/ 707851 h 1274019"/>
                <a:gd name="connsiteX21" fmla="*/ 865638 w 1115473"/>
                <a:gd name="connsiteY21" fmla="*/ 645421 h 1274019"/>
                <a:gd name="connsiteX22" fmla="*/ 881019 w 1115473"/>
                <a:gd name="connsiteY22" fmla="*/ 563907 h 1274019"/>
                <a:gd name="connsiteX23" fmla="*/ 896094 w 1115473"/>
                <a:gd name="connsiteY23" fmla="*/ 486619 h 1274019"/>
                <a:gd name="connsiteX24" fmla="*/ 905221 w 1115473"/>
                <a:gd name="connsiteY24" fmla="*/ 363829 h 1274019"/>
                <a:gd name="connsiteX25" fmla="*/ 885886 w 1115473"/>
                <a:gd name="connsiteY25" fmla="*/ 320327 h 1274019"/>
                <a:gd name="connsiteX26" fmla="*/ 898967 w 1115473"/>
                <a:gd name="connsiteY26" fmla="*/ 253791 h 1274019"/>
                <a:gd name="connsiteX27" fmla="*/ 891836 w 1115473"/>
                <a:gd name="connsiteY27" fmla="*/ 193191 h 1274019"/>
                <a:gd name="connsiteX28" fmla="*/ 906133 w 1115473"/>
                <a:gd name="connsiteY28" fmla="*/ 116284 h 1274019"/>
                <a:gd name="connsiteX29" fmla="*/ 967846 w 1115473"/>
                <a:gd name="connsiteY29" fmla="*/ 88762 h 1274019"/>
                <a:gd name="connsiteX30" fmla="*/ 1045661 w 1115473"/>
                <a:gd name="connsiteY30" fmla="*/ 64483 h 1274019"/>
                <a:gd name="connsiteX31" fmla="*/ 1115474 w 1115473"/>
                <a:gd name="connsiteY31" fmla="*/ 0 h 1274019"/>
                <a:gd name="connsiteX0" fmla="*/ 59796 w 1045661"/>
                <a:gd name="connsiteY0" fmla="*/ 1101587 h 1209537"/>
                <a:gd name="connsiteX1" fmla="*/ 2646 w 1045661"/>
                <a:gd name="connsiteY1" fmla="*/ 1146037 h 1209537"/>
                <a:gd name="connsiteX2" fmla="*/ 43921 w 1045661"/>
                <a:gd name="connsiteY2" fmla="*/ 1184137 h 1209537"/>
                <a:gd name="connsiteX3" fmla="*/ 104246 w 1045661"/>
                <a:gd name="connsiteY3" fmla="*/ 1206362 h 1209537"/>
                <a:gd name="connsiteX4" fmla="*/ 161396 w 1045661"/>
                <a:gd name="connsiteY4" fmla="*/ 1203187 h 1209537"/>
                <a:gd name="connsiteX5" fmla="*/ 205846 w 1045661"/>
                <a:gd name="connsiteY5" fmla="*/ 1171437 h 1209537"/>
                <a:gd name="connsiteX6" fmla="*/ 250296 w 1045661"/>
                <a:gd name="connsiteY6" fmla="*/ 1146037 h 1209537"/>
                <a:gd name="connsiteX7" fmla="*/ 332846 w 1045661"/>
                <a:gd name="connsiteY7" fmla="*/ 1139687 h 1209537"/>
                <a:gd name="connsiteX8" fmla="*/ 377296 w 1045661"/>
                <a:gd name="connsiteY8" fmla="*/ 1149212 h 1209537"/>
                <a:gd name="connsiteX9" fmla="*/ 440796 w 1045661"/>
                <a:gd name="connsiteY9" fmla="*/ 1142862 h 1209537"/>
                <a:gd name="connsiteX10" fmla="*/ 491596 w 1045661"/>
                <a:gd name="connsiteY10" fmla="*/ 1142862 h 1209537"/>
                <a:gd name="connsiteX11" fmla="*/ 567796 w 1045661"/>
                <a:gd name="connsiteY11" fmla="*/ 1133337 h 1209537"/>
                <a:gd name="connsiteX12" fmla="*/ 596371 w 1045661"/>
                <a:gd name="connsiteY12" fmla="*/ 1092062 h 1209537"/>
                <a:gd name="connsiteX13" fmla="*/ 656696 w 1045661"/>
                <a:gd name="connsiteY13" fmla="*/ 1025387 h 1209537"/>
                <a:gd name="connsiteX14" fmla="*/ 666221 w 1045661"/>
                <a:gd name="connsiteY14" fmla="*/ 968237 h 1209537"/>
                <a:gd name="connsiteX15" fmla="*/ 720196 w 1045661"/>
                <a:gd name="connsiteY15" fmla="*/ 907912 h 1209537"/>
                <a:gd name="connsiteX16" fmla="*/ 736071 w 1045661"/>
                <a:gd name="connsiteY16" fmla="*/ 863462 h 1209537"/>
                <a:gd name="connsiteX17" fmla="*/ 764646 w 1045661"/>
                <a:gd name="connsiteY17" fmla="*/ 822187 h 1209537"/>
                <a:gd name="connsiteX18" fmla="*/ 815446 w 1045661"/>
                <a:gd name="connsiteY18" fmla="*/ 771387 h 1209537"/>
                <a:gd name="connsiteX19" fmla="*/ 783696 w 1045661"/>
                <a:gd name="connsiteY19" fmla="*/ 704712 h 1209537"/>
                <a:gd name="connsiteX20" fmla="*/ 829230 w 1045661"/>
                <a:gd name="connsiteY20" fmla="*/ 643369 h 1209537"/>
                <a:gd name="connsiteX21" fmla="*/ 865638 w 1045661"/>
                <a:gd name="connsiteY21" fmla="*/ 580939 h 1209537"/>
                <a:gd name="connsiteX22" fmla="*/ 881019 w 1045661"/>
                <a:gd name="connsiteY22" fmla="*/ 499425 h 1209537"/>
                <a:gd name="connsiteX23" fmla="*/ 896094 w 1045661"/>
                <a:gd name="connsiteY23" fmla="*/ 422137 h 1209537"/>
                <a:gd name="connsiteX24" fmla="*/ 905221 w 1045661"/>
                <a:gd name="connsiteY24" fmla="*/ 299347 h 1209537"/>
                <a:gd name="connsiteX25" fmla="*/ 885886 w 1045661"/>
                <a:gd name="connsiteY25" fmla="*/ 255845 h 1209537"/>
                <a:gd name="connsiteX26" fmla="*/ 898967 w 1045661"/>
                <a:gd name="connsiteY26" fmla="*/ 189309 h 1209537"/>
                <a:gd name="connsiteX27" fmla="*/ 891836 w 1045661"/>
                <a:gd name="connsiteY27" fmla="*/ 128709 h 1209537"/>
                <a:gd name="connsiteX28" fmla="*/ 906133 w 1045661"/>
                <a:gd name="connsiteY28" fmla="*/ 51802 h 1209537"/>
                <a:gd name="connsiteX29" fmla="*/ 967846 w 1045661"/>
                <a:gd name="connsiteY29" fmla="*/ 24280 h 1209537"/>
                <a:gd name="connsiteX30" fmla="*/ 1045661 w 1045661"/>
                <a:gd name="connsiteY30" fmla="*/ 1 h 1209537"/>
                <a:gd name="connsiteX0" fmla="*/ 59796 w 967846"/>
                <a:gd name="connsiteY0" fmla="*/ 1077307 h 1185257"/>
                <a:gd name="connsiteX1" fmla="*/ 2646 w 967846"/>
                <a:gd name="connsiteY1" fmla="*/ 1121757 h 1185257"/>
                <a:gd name="connsiteX2" fmla="*/ 43921 w 967846"/>
                <a:gd name="connsiteY2" fmla="*/ 1159857 h 1185257"/>
                <a:gd name="connsiteX3" fmla="*/ 104246 w 967846"/>
                <a:gd name="connsiteY3" fmla="*/ 1182082 h 1185257"/>
                <a:gd name="connsiteX4" fmla="*/ 161396 w 967846"/>
                <a:gd name="connsiteY4" fmla="*/ 1178907 h 1185257"/>
                <a:gd name="connsiteX5" fmla="*/ 205846 w 967846"/>
                <a:gd name="connsiteY5" fmla="*/ 1147157 h 1185257"/>
                <a:gd name="connsiteX6" fmla="*/ 250296 w 967846"/>
                <a:gd name="connsiteY6" fmla="*/ 1121757 h 1185257"/>
                <a:gd name="connsiteX7" fmla="*/ 332846 w 967846"/>
                <a:gd name="connsiteY7" fmla="*/ 1115407 h 1185257"/>
                <a:gd name="connsiteX8" fmla="*/ 377296 w 967846"/>
                <a:gd name="connsiteY8" fmla="*/ 1124932 h 1185257"/>
                <a:gd name="connsiteX9" fmla="*/ 440796 w 967846"/>
                <a:gd name="connsiteY9" fmla="*/ 1118582 h 1185257"/>
                <a:gd name="connsiteX10" fmla="*/ 491596 w 967846"/>
                <a:gd name="connsiteY10" fmla="*/ 1118582 h 1185257"/>
                <a:gd name="connsiteX11" fmla="*/ 567796 w 967846"/>
                <a:gd name="connsiteY11" fmla="*/ 1109057 h 1185257"/>
                <a:gd name="connsiteX12" fmla="*/ 596371 w 967846"/>
                <a:gd name="connsiteY12" fmla="*/ 1067782 h 1185257"/>
                <a:gd name="connsiteX13" fmla="*/ 656696 w 967846"/>
                <a:gd name="connsiteY13" fmla="*/ 1001107 h 1185257"/>
                <a:gd name="connsiteX14" fmla="*/ 666221 w 967846"/>
                <a:gd name="connsiteY14" fmla="*/ 943957 h 1185257"/>
                <a:gd name="connsiteX15" fmla="*/ 720196 w 967846"/>
                <a:gd name="connsiteY15" fmla="*/ 883632 h 1185257"/>
                <a:gd name="connsiteX16" fmla="*/ 736071 w 967846"/>
                <a:gd name="connsiteY16" fmla="*/ 839182 h 1185257"/>
                <a:gd name="connsiteX17" fmla="*/ 764646 w 967846"/>
                <a:gd name="connsiteY17" fmla="*/ 797907 h 1185257"/>
                <a:gd name="connsiteX18" fmla="*/ 815446 w 967846"/>
                <a:gd name="connsiteY18" fmla="*/ 747107 h 1185257"/>
                <a:gd name="connsiteX19" fmla="*/ 783696 w 967846"/>
                <a:gd name="connsiteY19" fmla="*/ 680432 h 1185257"/>
                <a:gd name="connsiteX20" fmla="*/ 829230 w 967846"/>
                <a:gd name="connsiteY20" fmla="*/ 619089 h 1185257"/>
                <a:gd name="connsiteX21" fmla="*/ 865638 w 967846"/>
                <a:gd name="connsiteY21" fmla="*/ 556659 h 1185257"/>
                <a:gd name="connsiteX22" fmla="*/ 881019 w 967846"/>
                <a:gd name="connsiteY22" fmla="*/ 475145 h 1185257"/>
                <a:gd name="connsiteX23" fmla="*/ 896094 w 967846"/>
                <a:gd name="connsiteY23" fmla="*/ 397857 h 1185257"/>
                <a:gd name="connsiteX24" fmla="*/ 905221 w 967846"/>
                <a:gd name="connsiteY24" fmla="*/ 275067 h 1185257"/>
                <a:gd name="connsiteX25" fmla="*/ 885886 w 967846"/>
                <a:gd name="connsiteY25" fmla="*/ 231565 h 1185257"/>
                <a:gd name="connsiteX26" fmla="*/ 898967 w 967846"/>
                <a:gd name="connsiteY26" fmla="*/ 165029 h 1185257"/>
                <a:gd name="connsiteX27" fmla="*/ 891836 w 967846"/>
                <a:gd name="connsiteY27" fmla="*/ 104429 h 1185257"/>
                <a:gd name="connsiteX28" fmla="*/ 906133 w 967846"/>
                <a:gd name="connsiteY28" fmla="*/ 27522 h 1185257"/>
                <a:gd name="connsiteX29" fmla="*/ 967846 w 967846"/>
                <a:gd name="connsiteY29" fmla="*/ 0 h 1185257"/>
                <a:gd name="connsiteX0" fmla="*/ 59796 w 906922"/>
                <a:gd name="connsiteY0" fmla="*/ 1049785 h 1157735"/>
                <a:gd name="connsiteX1" fmla="*/ 2646 w 906922"/>
                <a:gd name="connsiteY1" fmla="*/ 1094235 h 1157735"/>
                <a:gd name="connsiteX2" fmla="*/ 43921 w 906922"/>
                <a:gd name="connsiteY2" fmla="*/ 1132335 h 1157735"/>
                <a:gd name="connsiteX3" fmla="*/ 104246 w 906922"/>
                <a:gd name="connsiteY3" fmla="*/ 1154560 h 1157735"/>
                <a:gd name="connsiteX4" fmla="*/ 161396 w 906922"/>
                <a:gd name="connsiteY4" fmla="*/ 1151385 h 1157735"/>
                <a:gd name="connsiteX5" fmla="*/ 205846 w 906922"/>
                <a:gd name="connsiteY5" fmla="*/ 1119635 h 1157735"/>
                <a:gd name="connsiteX6" fmla="*/ 250296 w 906922"/>
                <a:gd name="connsiteY6" fmla="*/ 1094235 h 1157735"/>
                <a:gd name="connsiteX7" fmla="*/ 332846 w 906922"/>
                <a:gd name="connsiteY7" fmla="*/ 1087885 h 1157735"/>
                <a:gd name="connsiteX8" fmla="*/ 377296 w 906922"/>
                <a:gd name="connsiteY8" fmla="*/ 1097410 h 1157735"/>
                <a:gd name="connsiteX9" fmla="*/ 440796 w 906922"/>
                <a:gd name="connsiteY9" fmla="*/ 1091060 h 1157735"/>
                <a:gd name="connsiteX10" fmla="*/ 491596 w 906922"/>
                <a:gd name="connsiteY10" fmla="*/ 1091060 h 1157735"/>
                <a:gd name="connsiteX11" fmla="*/ 567796 w 906922"/>
                <a:gd name="connsiteY11" fmla="*/ 1081535 h 1157735"/>
                <a:gd name="connsiteX12" fmla="*/ 596371 w 906922"/>
                <a:gd name="connsiteY12" fmla="*/ 1040260 h 1157735"/>
                <a:gd name="connsiteX13" fmla="*/ 656696 w 906922"/>
                <a:gd name="connsiteY13" fmla="*/ 973585 h 1157735"/>
                <a:gd name="connsiteX14" fmla="*/ 666221 w 906922"/>
                <a:gd name="connsiteY14" fmla="*/ 916435 h 1157735"/>
                <a:gd name="connsiteX15" fmla="*/ 720196 w 906922"/>
                <a:gd name="connsiteY15" fmla="*/ 856110 h 1157735"/>
                <a:gd name="connsiteX16" fmla="*/ 736071 w 906922"/>
                <a:gd name="connsiteY16" fmla="*/ 811660 h 1157735"/>
                <a:gd name="connsiteX17" fmla="*/ 764646 w 906922"/>
                <a:gd name="connsiteY17" fmla="*/ 770385 h 1157735"/>
                <a:gd name="connsiteX18" fmla="*/ 815446 w 906922"/>
                <a:gd name="connsiteY18" fmla="*/ 719585 h 1157735"/>
                <a:gd name="connsiteX19" fmla="*/ 783696 w 906922"/>
                <a:gd name="connsiteY19" fmla="*/ 652910 h 1157735"/>
                <a:gd name="connsiteX20" fmla="*/ 829230 w 906922"/>
                <a:gd name="connsiteY20" fmla="*/ 591567 h 1157735"/>
                <a:gd name="connsiteX21" fmla="*/ 865638 w 906922"/>
                <a:gd name="connsiteY21" fmla="*/ 529137 h 1157735"/>
                <a:gd name="connsiteX22" fmla="*/ 881019 w 906922"/>
                <a:gd name="connsiteY22" fmla="*/ 447623 h 1157735"/>
                <a:gd name="connsiteX23" fmla="*/ 896094 w 906922"/>
                <a:gd name="connsiteY23" fmla="*/ 370335 h 1157735"/>
                <a:gd name="connsiteX24" fmla="*/ 905221 w 906922"/>
                <a:gd name="connsiteY24" fmla="*/ 247545 h 1157735"/>
                <a:gd name="connsiteX25" fmla="*/ 885886 w 906922"/>
                <a:gd name="connsiteY25" fmla="*/ 204043 h 1157735"/>
                <a:gd name="connsiteX26" fmla="*/ 898967 w 906922"/>
                <a:gd name="connsiteY26" fmla="*/ 137507 h 1157735"/>
                <a:gd name="connsiteX27" fmla="*/ 891836 w 906922"/>
                <a:gd name="connsiteY27" fmla="*/ 76907 h 1157735"/>
                <a:gd name="connsiteX28" fmla="*/ 906133 w 906922"/>
                <a:gd name="connsiteY28" fmla="*/ 0 h 1157735"/>
                <a:gd name="connsiteX0" fmla="*/ 59796 w 906922"/>
                <a:gd name="connsiteY0" fmla="*/ 972878 h 1080828"/>
                <a:gd name="connsiteX1" fmla="*/ 2646 w 906922"/>
                <a:gd name="connsiteY1" fmla="*/ 1017328 h 1080828"/>
                <a:gd name="connsiteX2" fmla="*/ 43921 w 906922"/>
                <a:gd name="connsiteY2" fmla="*/ 1055428 h 1080828"/>
                <a:gd name="connsiteX3" fmla="*/ 104246 w 906922"/>
                <a:gd name="connsiteY3" fmla="*/ 1077653 h 1080828"/>
                <a:gd name="connsiteX4" fmla="*/ 161396 w 906922"/>
                <a:gd name="connsiteY4" fmla="*/ 1074478 h 1080828"/>
                <a:gd name="connsiteX5" fmla="*/ 205846 w 906922"/>
                <a:gd name="connsiteY5" fmla="*/ 1042728 h 1080828"/>
                <a:gd name="connsiteX6" fmla="*/ 250296 w 906922"/>
                <a:gd name="connsiteY6" fmla="*/ 1017328 h 1080828"/>
                <a:gd name="connsiteX7" fmla="*/ 332846 w 906922"/>
                <a:gd name="connsiteY7" fmla="*/ 1010978 h 1080828"/>
                <a:gd name="connsiteX8" fmla="*/ 377296 w 906922"/>
                <a:gd name="connsiteY8" fmla="*/ 1020503 h 1080828"/>
                <a:gd name="connsiteX9" fmla="*/ 440796 w 906922"/>
                <a:gd name="connsiteY9" fmla="*/ 1014153 h 1080828"/>
                <a:gd name="connsiteX10" fmla="*/ 491596 w 906922"/>
                <a:gd name="connsiteY10" fmla="*/ 1014153 h 1080828"/>
                <a:gd name="connsiteX11" fmla="*/ 567796 w 906922"/>
                <a:gd name="connsiteY11" fmla="*/ 1004628 h 1080828"/>
                <a:gd name="connsiteX12" fmla="*/ 596371 w 906922"/>
                <a:gd name="connsiteY12" fmla="*/ 963353 h 1080828"/>
                <a:gd name="connsiteX13" fmla="*/ 656696 w 906922"/>
                <a:gd name="connsiteY13" fmla="*/ 896678 h 1080828"/>
                <a:gd name="connsiteX14" fmla="*/ 666221 w 906922"/>
                <a:gd name="connsiteY14" fmla="*/ 839528 h 1080828"/>
                <a:gd name="connsiteX15" fmla="*/ 720196 w 906922"/>
                <a:gd name="connsiteY15" fmla="*/ 779203 h 1080828"/>
                <a:gd name="connsiteX16" fmla="*/ 736071 w 906922"/>
                <a:gd name="connsiteY16" fmla="*/ 734753 h 1080828"/>
                <a:gd name="connsiteX17" fmla="*/ 764646 w 906922"/>
                <a:gd name="connsiteY17" fmla="*/ 693478 h 1080828"/>
                <a:gd name="connsiteX18" fmla="*/ 815446 w 906922"/>
                <a:gd name="connsiteY18" fmla="*/ 642678 h 1080828"/>
                <a:gd name="connsiteX19" fmla="*/ 783696 w 906922"/>
                <a:gd name="connsiteY19" fmla="*/ 576003 h 1080828"/>
                <a:gd name="connsiteX20" fmla="*/ 829230 w 906922"/>
                <a:gd name="connsiteY20" fmla="*/ 514660 h 1080828"/>
                <a:gd name="connsiteX21" fmla="*/ 865638 w 906922"/>
                <a:gd name="connsiteY21" fmla="*/ 452230 h 1080828"/>
                <a:gd name="connsiteX22" fmla="*/ 881019 w 906922"/>
                <a:gd name="connsiteY22" fmla="*/ 370716 h 1080828"/>
                <a:gd name="connsiteX23" fmla="*/ 896094 w 906922"/>
                <a:gd name="connsiteY23" fmla="*/ 293428 h 1080828"/>
                <a:gd name="connsiteX24" fmla="*/ 905221 w 906922"/>
                <a:gd name="connsiteY24" fmla="*/ 170638 h 1080828"/>
                <a:gd name="connsiteX25" fmla="*/ 885886 w 906922"/>
                <a:gd name="connsiteY25" fmla="*/ 127136 h 1080828"/>
                <a:gd name="connsiteX26" fmla="*/ 898967 w 906922"/>
                <a:gd name="connsiteY26" fmla="*/ 60600 h 1080828"/>
                <a:gd name="connsiteX27" fmla="*/ 891836 w 906922"/>
                <a:gd name="connsiteY27" fmla="*/ 0 h 1080828"/>
                <a:gd name="connsiteX0" fmla="*/ 59796 w 906922"/>
                <a:gd name="connsiteY0" fmla="*/ 912279 h 1020229"/>
                <a:gd name="connsiteX1" fmla="*/ 2646 w 906922"/>
                <a:gd name="connsiteY1" fmla="*/ 956729 h 1020229"/>
                <a:gd name="connsiteX2" fmla="*/ 43921 w 906922"/>
                <a:gd name="connsiteY2" fmla="*/ 994829 h 1020229"/>
                <a:gd name="connsiteX3" fmla="*/ 104246 w 906922"/>
                <a:gd name="connsiteY3" fmla="*/ 1017054 h 1020229"/>
                <a:gd name="connsiteX4" fmla="*/ 161396 w 906922"/>
                <a:gd name="connsiteY4" fmla="*/ 1013879 h 1020229"/>
                <a:gd name="connsiteX5" fmla="*/ 205846 w 906922"/>
                <a:gd name="connsiteY5" fmla="*/ 982129 h 1020229"/>
                <a:gd name="connsiteX6" fmla="*/ 250296 w 906922"/>
                <a:gd name="connsiteY6" fmla="*/ 956729 h 1020229"/>
                <a:gd name="connsiteX7" fmla="*/ 332846 w 906922"/>
                <a:gd name="connsiteY7" fmla="*/ 950379 h 1020229"/>
                <a:gd name="connsiteX8" fmla="*/ 377296 w 906922"/>
                <a:gd name="connsiteY8" fmla="*/ 959904 h 1020229"/>
                <a:gd name="connsiteX9" fmla="*/ 440796 w 906922"/>
                <a:gd name="connsiteY9" fmla="*/ 953554 h 1020229"/>
                <a:gd name="connsiteX10" fmla="*/ 491596 w 906922"/>
                <a:gd name="connsiteY10" fmla="*/ 953554 h 1020229"/>
                <a:gd name="connsiteX11" fmla="*/ 567796 w 906922"/>
                <a:gd name="connsiteY11" fmla="*/ 944029 h 1020229"/>
                <a:gd name="connsiteX12" fmla="*/ 596371 w 906922"/>
                <a:gd name="connsiteY12" fmla="*/ 902754 h 1020229"/>
                <a:gd name="connsiteX13" fmla="*/ 656696 w 906922"/>
                <a:gd name="connsiteY13" fmla="*/ 836079 h 1020229"/>
                <a:gd name="connsiteX14" fmla="*/ 666221 w 906922"/>
                <a:gd name="connsiteY14" fmla="*/ 778929 h 1020229"/>
                <a:gd name="connsiteX15" fmla="*/ 720196 w 906922"/>
                <a:gd name="connsiteY15" fmla="*/ 718604 h 1020229"/>
                <a:gd name="connsiteX16" fmla="*/ 736071 w 906922"/>
                <a:gd name="connsiteY16" fmla="*/ 674154 h 1020229"/>
                <a:gd name="connsiteX17" fmla="*/ 764646 w 906922"/>
                <a:gd name="connsiteY17" fmla="*/ 632879 h 1020229"/>
                <a:gd name="connsiteX18" fmla="*/ 815446 w 906922"/>
                <a:gd name="connsiteY18" fmla="*/ 582079 h 1020229"/>
                <a:gd name="connsiteX19" fmla="*/ 783696 w 906922"/>
                <a:gd name="connsiteY19" fmla="*/ 515404 h 1020229"/>
                <a:gd name="connsiteX20" fmla="*/ 829230 w 906922"/>
                <a:gd name="connsiteY20" fmla="*/ 454061 h 1020229"/>
                <a:gd name="connsiteX21" fmla="*/ 865638 w 906922"/>
                <a:gd name="connsiteY21" fmla="*/ 391631 h 1020229"/>
                <a:gd name="connsiteX22" fmla="*/ 881019 w 906922"/>
                <a:gd name="connsiteY22" fmla="*/ 310117 h 1020229"/>
                <a:gd name="connsiteX23" fmla="*/ 896094 w 906922"/>
                <a:gd name="connsiteY23" fmla="*/ 232829 h 1020229"/>
                <a:gd name="connsiteX24" fmla="*/ 905221 w 906922"/>
                <a:gd name="connsiteY24" fmla="*/ 110039 h 1020229"/>
                <a:gd name="connsiteX25" fmla="*/ 885886 w 906922"/>
                <a:gd name="connsiteY25" fmla="*/ 66537 h 1020229"/>
                <a:gd name="connsiteX26" fmla="*/ 898967 w 906922"/>
                <a:gd name="connsiteY26" fmla="*/ 1 h 1020229"/>
                <a:gd name="connsiteX0" fmla="*/ 59796 w 906922"/>
                <a:gd name="connsiteY0" fmla="*/ 845742 h 953692"/>
                <a:gd name="connsiteX1" fmla="*/ 2646 w 906922"/>
                <a:gd name="connsiteY1" fmla="*/ 890192 h 953692"/>
                <a:gd name="connsiteX2" fmla="*/ 43921 w 906922"/>
                <a:gd name="connsiteY2" fmla="*/ 928292 h 953692"/>
                <a:gd name="connsiteX3" fmla="*/ 104246 w 906922"/>
                <a:gd name="connsiteY3" fmla="*/ 950517 h 953692"/>
                <a:gd name="connsiteX4" fmla="*/ 161396 w 906922"/>
                <a:gd name="connsiteY4" fmla="*/ 947342 h 953692"/>
                <a:gd name="connsiteX5" fmla="*/ 205846 w 906922"/>
                <a:gd name="connsiteY5" fmla="*/ 915592 h 953692"/>
                <a:gd name="connsiteX6" fmla="*/ 250296 w 906922"/>
                <a:gd name="connsiteY6" fmla="*/ 890192 h 953692"/>
                <a:gd name="connsiteX7" fmla="*/ 332846 w 906922"/>
                <a:gd name="connsiteY7" fmla="*/ 883842 h 953692"/>
                <a:gd name="connsiteX8" fmla="*/ 377296 w 906922"/>
                <a:gd name="connsiteY8" fmla="*/ 893367 h 953692"/>
                <a:gd name="connsiteX9" fmla="*/ 440796 w 906922"/>
                <a:gd name="connsiteY9" fmla="*/ 887017 h 953692"/>
                <a:gd name="connsiteX10" fmla="*/ 491596 w 906922"/>
                <a:gd name="connsiteY10" fmla="*/ 887017 h 953692"/>
                <a:gd name="connsiteX11" fmla="*/ 567796 w 906922"/>
                <a:gd name="connsiteY11" fmla="*/ 877492 h 953692"/>
                <a:gd name="connsiteX12" fmla="*/ 596371 w 906922"/>
                <a:gd name="connsiteY12" fmla="*/ 836217 h 953692"/>
                <a:gd name="connsiteX13" fmla="*/ 656696 w 906922"/>
                <a:gd name="connsiteY13" fmla="*/ 769542 h 953692"/>
                <a:gd name="connsiteX14" fmla="*/ 666221 w 906922"/>
                <a:gd name="connsiteY14" fmla="*/ 712392 h 953692"/>
                <a:gd name="connsiteX15" fmla="*/ 720196 w 906922"/>
                <a:gd name="connsiteY15" fmla="*/ 652067 h 953692"/>
                <a:gd name="connsiteX16" fmla="*/ 736071 w 906922"/>
                <a:gd name="connsiteY16" fmla="*/ 607617 h 953692"/>
                <a:gd name="connsiteX17" fmla="*/ 764646 w 906922"/>
                <a:gd name="connsiteY17" fmla="*/ 566342 h 953692"/>
                <a:gd name="connsiteX18" fmla="*/ 815446 w 906922"/>
                <a:gd name="connsiteY18" fmla="*/ 515542 h 953692"/>
                <a:gd name="connsiteX19" fmla="*/ 783696 w 906922"/>
                <a:gd name="connsiteY19" fmla="*/ 448867 h 953692"/>
                <a:gd name="connsiteX20" fmla="*/ 829230 w 906922"/>
                <a:gd name="connsiteY20" fmla="*/ 387524 h 953692"/>
                <a:gd name="connsiteX21" fmla="*/ 865638 w 906922"/>
                <a:gd name="connsiteY21" fmla="*/ 325094 h 953692"/>
                <a:gd name="connsiteX22" fmla="*/ 881019 w 906922"/>
                <a:gd name="connsiteY22" fmla="*/ 243580 h 953692"/>
                <a:gd name="connsiteX23" fmla="*/ 896094 w 906922"/>
                <a:gd name="connsiteY23" fmla="*/ 166292 h 953692"/>
                <a:gd name="connsiteX24" fmla="*/ 905221 w 906922"/>
                <a:gd name="connsiteY24" fmla="*/ 43502 h 953692"/>
                <a:gd name="connsiteX25" fmla="*/ 885886 w 906922"/>
                <a:gd name="connsiteY25" fmla="*/ 0 h 953692"/>
                <a:gd name="connsiteX0" fmla="*/ 59796 w 906922"/>
                <a:gd name="connsiteY0" fmla="*/ 802240 h 910190"/>
                <a:gd name="connsiteX1" fmla="*/ 2646 w 906922"/>
                <a:gd name="connsiteY1" fmla="*/ 846690 h 910190"/>
                <a:gd name="connsiteX2" fmla="*/ 43921 w 906922"/>
                <a:gd name="connsiteY2" fmla="*/ 884790 h 910190"/>
                <a:gd name="connsiteX3" fmla="*/ 104246 w 906922"/>
                <a:gd name="connsiteY3" fmla="*/ 907015 h 910190"/>
                <a:gd name="connsiteX4" fmla="*/ 161396 w 906922"/>
                <a:gd name="connsiteY4" fmla="*/ 903840 h 910190"/>
                <a:gd name="connsiteX5" fmla="*/ 205846 w 906922"/>
                <a:gd name="connsiteY5" fmla="*/ 872090 h 910190"/>
                <a:gd name="connsiteX6" fmla="*/ 250296 w 906922"/>
                <a:gd name="connsiteY6" fmla="*/ 846690 h 910190"/>
                <a:gd name="connsiteX7" fmla="*/ 332846 w 906922"/>
                <a:gd name="connsiteY7" fmla="*/ 840340 h 910190"/>
                <a:gd name="connsiteX8" fmla="*/ 377296 w 906922"/>
                <a:gd name="connsiteY8" fmla="*/ 849865 h 910190"/>
                <a:gd name="connsiteX9" fmla="*/ 440796 w 906922"/>
                <a:gd name="connsiteY9" fmla="*/ 843515 h 910190"/>
                <a:gd name="connsiteX10" fmla="*/ 491596 w 906922"/>
                <a:gd name="connsiteY10" fmla="*/ 843515 h 910190"/>
                <a:gd name="connsiteX11" fmla="*/ 567796 w 906922"/>
                <a:gd name="connsiteY11" fmla="*/ 833990 h 910190"/>
                <a:gd name="connsiteX12" fmla="*/ 596371 w 906922"/>
                <a:gd name="connsiteY12" fmla="*/ 792715 h 910190"/>
                <a:gd name="connsiteX13" fmla="*/ 656696 w 906922"/>
                <a:gd name="connsiteY13" fmla="*/ 726040 h 910190"/>
                <a:gd name="connsiteX14" fmla="*/ 666221 w 906922"/>
                <a:gd name="connsiteY14" fmla="*/ 668890 h 910190"/>
                <a:gd name="connsiteX15" fmla="*/ 720196 w 906922"/>
                <a:gd name="connsiteY15" fmla="*/ 608565 h 910190"/>
                <a:gd name="connsiteX16" fmla="*/ 736071 w 906922"/>
                <a:gd name="connsiteY16" fmla="*/ 564115 h 910190"/>
                <a:gd name="connsiteX17" fmla="*/ 764646 w 906922"/>
                <a:gd name="connsiteY17" fmla="*/ 522840 h 910190"/>
                <a:gd name="connsiteX18" fmla="*/ 815446 w 906922"/>
                <a:gd name="connsiteY18" fmla="*/ 472040 h 910190"/>
                <a:gd name="connsiteX19" fmla="*/ 783696 w 906922"/>
                <a:gd name="connsiteY19" fmla="*/ 405365 h 910190"/>
                <a:gd name="connsiteX20" fmla="*/ 829230 w 906922"/>
                <a:gd name="connsiteY20" fmla="*/ 344022 h 910190"/>
                <a:gd name="connsiteX21" fmla="*/ 865638 w 906922"/>
                <a:gd name="connsiteY21" fmla="*/ 281592 h 910190"/>
                <a:gd name="connsiteX22" fmla="*/ 881019 w 906922"/>
                <a:gd name="connsiteY22" fmla="*/ 200078 h 910190"/>
                <a:gd name="connsiteX23" fmla="*/ 896094 w 906922"/>
                <a:gd name="connsiteY23" fmla="*/ 122790 h 910190"/>
                <a:gd name="connsiteX24" fmla="*/ 905221 w 906922"/>
                <a:gd name="connsiteY24" fmla="*/ 0 h 910190"/>
                <a:gd name="connsiteX0" fmla="*/ 59796 w 896095"/>
                <a:gd name="connsiteY0" fmla="*/ 679450 h 787400"/>
                <a:gd name="connsiteX1" fmla="*/ 2646 w 896095"/>
                <a:gd name="connsiteY1" fmla="*/ 723900 h 787400"/>
                <a:gd name="connsiteX2" fmla="*/ 43921 w 896095"/>
                <a:gd name="connsiteY2" fmla="*/ 762000 h 787400"/>
                <a:gd name="connsiteX3" fmla="*/ 104246 w 896095"/>
                <a:gd name="connsiteY3" fmla="*/ 784225 h 787400"/>
                <a:gd name="connsiteX4" fmla="*/ 161396 w 896095"/>
                <a:gd name="connsiteY4" fmla="*/ 781050 h 787400"/>
                <a:gd name="connsiteX5" fmla="*/ 205846 w 896095"/>
                <a:gd name="connsiteY5" fmla="*/ 749300 h 787400"/>
                <a:gd name="connsiteX6" fmla="*/ 250296 w 896095"/>
                <a:gd name="connsiteY6" fmla="*/ 723900 h 787400"/>
                <a:gd name="connsiteX7" fmla="*/ 332846 w 896095"/>
                <a:gd name="connsiteY7" fmla="*/ 717550 h 787400"/>
                <a:gd name="connsiteX8" fmla="*/ 377296 w 896095"/>
                <a:gd name="connsiteY8" fmla="*/ 727075 h 787400"/>
                <a:gd name="connsiteX9" fmla="*/ 440796 w 896095"/>
                <a:gd name="connsiteY9" fmla="*/ 720725 h 787400"/>
                <a:gd name="connsiteX10" fmla="*/ 491596 w 896095"/>
                <a:gd name="connsiteY10" fmla="*/ 720725 h 787400"/>
                <a:gd name="connsiteX11" fmla="*/ 567796 w 896095"/>
                <a:gd name="connsiteY11" fmla="*/ 711200 h 787400"/>
                <a:gd name="connsiteX12" fmla="*/ 596371 w 896095"/>
                <a:gd name="connsiteY12" fmla="*/ 669925 h 787400"/>
                <a:gd name="connsiteX13" fmla="*/ 656696 w 896095"/>
                <a:gd name="connsiteY13" fmla="*/ 603250 h 787400"/>
                <a:gd name="connsiteX14" fmla="*/ 666221 w 896095"/>
                <a:gd name="connsiteY14" fmla="*/ 546100 h 787400"/>
                <a:gd name="connsiteX15" fmla="*/ 720196 w 896095"/>
                <a:gd name="connsiteY15" fmla="*/ 485775 h 787400"/>
                <a:gd name="connsiteX16" fmla="*/ 736071 w 896095"/>
                <a:gd name="connsiteY16" fmla="*/ 441325 h 787400"/>
                <a:gd name="connsiteX17" fmla="*/ 764646 w 896095"/>
                <a:gd name="connsiteY17" fmla="*/ 400050 h 787400"/>
                <a:gd name="connsiteX18" fmla="*/ 815446 w 896095"/>
                <a:gd name="connsiteY18" fmla="*/ 349250 h 787400"/>
                <a:gd name="connsiteX19" fmla="*/ 783696 w 896095"/>
                <a:gd name="connsiteY19" fmla="*/ 282575 h 787400"/>
                <a:gd name="connsiteX20" fmla="*/ 829230 w 896095"/>
                <a:gd name="connsiteY20" fmla="*/ 221232 h 787400"/>
                <a:gd name="connsiteX21" fmla="*/ 865638 w 896095"/>
                <a:gd name="connsiteY21" fmla="*/ 158802 h 787400"/>
                <a:gd name="connsiteX22" fmla="*/ 881019 w 896095"/>
                <a:gd name="connsiteY22" fmla="*/ 77288 h 787400"/>
                <a:gd name="connsiteX23" fmla="*/ 896094 w 896095"/>
                <a:gd name="connsiteY23" fmla="*/ 0 h 787400"/>
                <a:gd name="connsiteX0" fmla="*/ 59796 w 881019"/>
                <a:gd name="connsiteY0" fmla="*/ 602161 h 710111"/>
                <a:gd name="connsiteX1" fmla="*/ 2646 w 881019"/>
                <a:gd name="connsiteY1" fmla="*/ 646611 h 710111"/>
                <a:gd name="connsiteX2" fmla="*/ 43921 w 881019"/>
                <a:gd name="connsiteY2" fmla="*/ 684711 h 710111"/>
                <a:gd name="connsiteX3" fmla="*/ 104246 w 881019"/>
                <a:gd name="connsiteY3" fmla="*/ 706936 h 710111"/>
                <a:gd name="connsiteX4" fmla="*/ 161396 w 881019"/>
                <a:gd name="connsiteY4" fmla="*/ 703761 h 710111"/>
                <a:gd name="connsiteX5" fmla="*/ 205846 w 881019"/>
                <a:gd name="connsiteY5" fmla="*/ 672011 h 710111"/>
                <a:gd name="connsiteX6" fmla="*/ 250296 w 881019"/>
                <a:gd name="connsiteY6" fmla="*/ 646611 h 710111"/>
                <a:gd name="connsiteX7" fmla="*/ 332846 w 881019"/>
                <a:gd name="connsiteY7" fmla="*/ 640261 h 710111"/>
                <a:gd name="connsiteX8" fmla="*/ 377296 w 881019"/>
                <a:gd name="connsiteY8" fmla="*/ 649786 h 710111"/>
                <a:gd name="connsiteX9" fmla="*/ 440796 w 881019"/>
                <a:gd name="connsiteY9" fmla="*/ 643436 h 710111"/>
                <a:gd name="connsiteX10" fmla="*/ 491596 w 881019"/>
                <a:gd name="connsiteY10" fmla="*/ 643436 h 710111"/>
                <a:gd name="connsiteX11" fmla="*/ 567796 w 881019"/>
                <a:gd name="connsiteY11" fmla="*/ 633911 h 710111"/>
                <a:gd name="connsiteX12" fmla="*/ 596371 w 881019"/>
                <a:gd name="connsiteY12" fmla="*/ 592636 h 710111"/>
                <a:gd name="connsiteX13" fmla="*/ 656696 w 881019"/>
                <a:gd name="connsiteY13" fmla="*/ 525961 h 710111"/>
                <a:gd name="connsiteX14" fmla="*/ 666221 w 881019"/>
                <a:gd name="connsiteY14" fmla="*/ 468811 h 710111"/>
                <a:gd name="connsiteX15" fmla="*/ 720196 w 881019"/>
                <a:gd name="connsiteY15" fmla="*/ 408486 h 710111"/>
                <a:gd name="connsiteX16" fmla="*/ 736071 w 881019"/>
                <a:gd name="connsiteY16" fmla="*/ 364036 h 710111"/>
                <a:gd name="connsiteX17" fmla="*/ 764646 w 881019"/>
                <a:gd name="connsiteY17" fmla="*/ 322761 h 710111"/>
                <a:gd name="connsiteX18" fmla="*/ 815446 w 881019"/>
                <a:gd name="connsiteY18" fmla="*/ 271961 h 710111"/>
                <a:gd name="connsiteX19" fmla="*/ 783696 w 881019"/>
                <a:gd name="connsiteY19" fmla="*/ 205286 h 710111"/>
                <a:gd name="connsiteX20" fmla="*/ 829230 w 881019"/>
                <a:gd name="connsiteY20" fmla="*/ 143943 h 710111"/>
                <a:gd name="connsiteX21" fmla="*/ 865638 w 881019"/>
                <a:gd name="connsiteY21" fmla="*/ 81513 h 710111"/>
                <a:gd name="connsiteX22" fmla="*/ 881019 w 881019"/>
                <a:gd name="connsiteY22" fmla="*/ -1 h 710111"/>
                <a:gd name="connsiteX0" fmla="*/ 59796 w 865638"/>
                <a:gd name="connsiteY0" fmla="*/ 520648 h 628598"/>
                <a:gd name="connsiteX1" fmla="*/ 2646 w 865638"/>
                <a:gd name="connsiteY1" fmla="*/ 565098 h 628598"/>
                <a:gd name="connsiteX2" fmla="*/ 43921 w 865638"/>
                <a:gd name="connsiteY2" fmla="*/ 603198 h 628598"/>
                <a:gd name="connsiteX3" fmla="*/ 104246 w 865638"/>
                <a:gd name="connsiteY3" fmla="*/ 625423 h 628598"/>
                <a:gd name="connsiteX4" fmla="*/ 161396 w 865638"/>
                <a:gd name="connsiteY4" fmla="*/ 622248 h 628598"/>
                <a:gd name="connsiteX5" fmla="*/ 205846 w 865638"/>
                <a:gd name="connsiteY5" fmla="*/ 590498 h 628598"/>
                <a:gd name="connsiteX6" fmla="*/ 250296 w 865638"/>
                <a:gd name="connsiteY6" fmla="*/ 565098 h 628598"/>
                <a:gd name="connsiteX7" fmla="*/ 332846 w 865638"/>
                <a:gd name="connsiteY7" fmla="*/ 558748 h 628598"/>
                <a:gd name="connsiteX8" fmla="*/ 377296 w 865638"/>
                <a:gd name="connsiteY8" fmla="*/ 568273 h 628598"/>
                <a:gd name="connsiteX9" fmla="*/ 440796 w 865638"/>
                <a:gd name="connsiteY9" fmla="*/ 561923 h 628598"/>
                <a:gd name="connsiteX10" fmla="*/ 491596 w 865638"/>
                <a:gd name="connsiteY10" fmla="*/ 561923 h 628598"/>
                <a:gd name="connsiteX11" fmla="*/ 567796 w 865638"/>
                <a:gd name="connsiteY11" fmla="*/ 552398 h 628598"/>
                <a:gd name="connsiteX12" fmla="*/ 596371 w 865638"/>
                <a:gd name="connsiteY12" fmla="*/ 511123 h 628598"/>
                <a:gd name="connsiteX13" fmla="*/ 656696 w 865638"/>
                <a:gd name="connsiteY13" fmla="*/ 444448 h 628598"/>
                <a:gd name="connsiteX14" fmla="*/ 666221 w 865638"/>
                <a:gd name="connsiteY14" fmla="*/ 387298 h 628598"/>
                <a:gd name="connsiteX15" fmla="*/ 720196 w 865638"/>
                <a:gd name="connsiteY15" fmla="*/ 326973 h 628598"/>
                <a:gd name="connsiteX16" fmla="*/ 736071 w 865638"/>
                <a:gd name="connsiteY16" fmla="*/ 282523 h 628598"/>
                <a:gd name="connsiteX17" fmla="*/ 764646 w 865638"/>
                <a:gd name="connsiteY17" fmla="*/ 241248 h 628598"/>
                <a:gd name="connsiteX18" fmla="*/ 815446 w 865638"/>
                <a:gd name="connsiteY18" fmla="*/ 190448 h 628598"/>
                <a:gd name="connsiteX19" fmla="*/ 783696 w 865638"/>
                <a:gd name="connsiteY19" fmla="*/ 123773 h 628598"/>
                <a:gd name="connsiteX20" fmla="*/ 829230 w 865638"/>
                <a:gd name="connsiteY20" fmla="*/ 62430 h 628598"/>
                <a:gd name="connsiteX21" fmla="*/ 865638 w 865638"/>
                <a:gd name="connsiteY21" fmla="*/ 0 h 628598"/>
                <a:gd name="connsiteX0" fmla="*/ 59796 w 829230"/>
                <a:gd name="connsiteY0" fmla="*/ 458218 h 566168"/>
                <a:gd name="connsiteX1" fmla="*/ 2646 w 829230"/>
                <a:gd name="connsiteY1" fmla="*/ 502668 h 566168"/>
                <a:gd name="connsiteX2" fmla="*/ 43921 w 829230"/>
                <a:gd name="connsiteY2" fmla="*/ 540768 h 566168"/>
                <a:gd name="connsiteX3" fmla="*/ 104246 w 829230"/>
                <a:gd name="connsiteY3" fmla="*/ 562993 h 566168"/>
                <a:gd name="connsiteX4" fmla="*/ 161396 w 829230"/>
                <a:gd name="connsiteY4" fmla="*/ 559818 h 566168"/>
                <a:gd name="connsiteX5" fmla="*/ 205846 w 829230"/>
                <a:gd name="connsiteY5" fmla="*/ 528068 h 566168"/>
                <a:gd name="connsiteX6" fmla="*/ 250296 w 829230"/>
                <a:gd name="connsiteY6" fmla="*/ 502668 h 566168"/>
                <a:gd name="connsiteX7" fmla="*/ 332846 w 829230"/>
                <a:gd name="connsiteY7" fmla="*/ 496318 h 566168"/>
                <a:gd name="connsiteX8" fmla="*/ 377296 w 829230"/>
                <a:gd name="connsiteY8" fmla="*/ 505843 h 566168"/>
                <a:gd name="connsiteX9" fmla="*/ 440796 w 829230"/>
                <a:gd name="connsiteY9" fmla="*/ 499493 h 566168"/>
                <a:gd name="connsiteX10" fmla="*/ 491596 w 829230"/>
                <a:gd name="connsiteY10" fmla="*/ 499493 h 566168"/>
                <a:gd name="connsiteX11" fmla="*/ 567796 w 829230"/>
                <a:gd name="connsiteY11" fmla="*/ 489968 h 566168"/>
                <a:gd name="connsiteX12" fmla="*/ 596371 w 829230"/>
                <a:gd name="connsiteY12" fmla="*/ 448693 h 566168"/>
                <a:gd name="connsiteX13" fmla="*/ 656696 w 829230"/>
                <a:gd name="connsiteY13" fmla="*/ 382018 h 566168"/>
                <a:gd name="connsiteX14" fmla="*/ 666221 w 829230"/>
                <a:gd name="connsiteY14" fmla="*/ 324868 h 566168"/>
                <a:gd name="connsiteX15" fmla="*/ 720196 w 829230"/>
                <a:gd name="connsiteY15" fmla="*/ 264543 h 566168"/>
                <a:gd name="connsiteX16" fmla="*/ 736071 w 829230"/>
                <a:gd name="connsiteY16" fmla="*/ 220093 h 566168"/>
                <a:gd name="connsiteX17" fmla="*/ 764646 w 829230"/>
                <a:gd name="connsiteY17" fmla="*/ 178818 h 566168"/>
                <a:gd name="connsiteX18" fmla="*/ 815446 w 829230"/>
                <a:gd name="connsiteY18" fmla="*/ 128018 h 566168"/>
                <a:gd name="connsiteX19" fmla="*/ 783696 w 829230"/>
                <a:gd name="connsiteY19" fmla="*/ 61343 h 566168"/>
                <a:gd name="connsiteX20" fmla="*/ 829230 w 829230"/>
                <a:gd name="connsiteY20" fmla="*/ 0 h 566168"/>
                <a:gd name="connsiteX0" fmla="*/ 59796 w 818620"/>
                <a:gd name="connsiteY0" fmla="*/ 396876 h 504826"/>
                <a:gd name="connsiteX1" fmla="*/ 2646 w 818620"/>
                <a:gd name="connsiteY1" fmla="*/ 441326 h 504826"/>
                <a:gd name="connsiteX2" fmla="*/ 43921 w 818620"/>
                <a:gd name="connsiteY2" fmla="*/ 479426 h 504826"/>
                <a:gd name="connsiteX3" fmla="*/ 104246 w 818620"/>
                <a:gd name="connsiteY3" fmla="*/ 501651 h 504826"/>
                <a:gd name="connsiteX4" fmla="*/ 161396 w 818620"/>
                <a:gd name="connsiteY4" fmla="*/ 498476 h 504826"/>
                <a:gd name="connsiteX5" fmla="*/ 205846 w 818620"/>
                <a:gd name="connsiteY5" fmla="*/ 466726 h 504826"/>
                <a:gd name="connsiteX6" fmla="*/ 250296 w 818620"/>
                <a:gd name="connsiteY6" fmla="*/ 441326 h 504826"/>
                <a:gd name="connsiteX7" fmla="*/ 332846 w 818620"/>
                <a:gd name="connsiteY7" fmla="*/ 434976 h 504826"/>
                <a:gd name="connsiteX8" fmla="*/ 377296 w 818620"/>
                <a:gd name="connsiteY8" fmla="*/ 444501 h 504826"/>
                <a:gd name="connsiteX9" fmla="*/ 440796 w 818620"/>
                <a:gd name="connsiteY9" fmla="*/ 438151 h 504826"/>
                <a:gd name="connsiteX10" fmla="*/ 491596 w 818620"/>
                <a:gd name="connsiteY10" fmla="*/ 438151 h 504826"/>
                <a:gd name="connsiteX11" fmla="*/ 567796 w 818620"/>
                <a:gd name="connsiteY11" fmla="*/ 428626 h 504826"/>
                <a:gd name="connsiteX12" fmla="*/ 596371 w 818620"/>
                <a:gd name="connsiteY12" fmla="*/ 387351 h 504826"/>
                <a:gd name="connsiteX13" fmla="*/ 656696 w 818620"/>
                <a:gd name="connsiteY13" fmla="*/ 320676 h 504826"/>
                <a:gd name="connsiteX14" fmla="*/ 666221 w 818620"/>
                <a:gd name="connsiteY14" fmla="*/ 263526 h 504826"/>
                <a:gd name="connsiteX15" fmla="*/ 720196 w 818620"/>
                <a:gd name="connsiteY15" fmla="*/ 203201 h 504826"/>
                <a:gd name="connsiteX16" fmla="*/ 736071 w 818620"/>
                <a:gd name="connsiteY16" fmla="*/ 158751 h 504826"/>
                <a:gd name="connsiteX17" fmla="*/ 764646 w 818620"/>
                <a:gd name="connsiteY17" fmla="*/ 117476 h 504826"/>
                <a:gd name="connsiteX18" fmla="*/ 815446 w 818620"/>
                <a:gd name="connsiteY18" fmla="*/ 66676 h 504826"/>
                <a:gd name="connsiteX19" fmla="*/ 783696 w 818620"/>
                <a:gd name="connsiteY19" fmla="*/ 1 h 504826"/>
                <a:gd name="connsiteX0" fmla="*/ 59796 w 815445"/>
                <a:gd name="connsiteY0" fmla="*/ 330199 h 438149"/>
                <a:gd name="connsiteX1" fmla="*/ 2646 w 815445"/>
                <a:gd name="connsiteY1" fmla="*/ 374649 h 438149"/>
                <a:gd name="connsiteX2" fmla="*/ 43921 w 815445"/>
                <a:gd name="connsiteY2" fmla="*/ 412749 h 438149"/>
                <a:gd name="connsiteX3" fmla="*/ 104246 w 815445"/>
                <a:gd name="connsiteY3" fmla="*/ 434974 h 438149"/>
                <a:gd name="connsiteX4" fmla="*/ 161396 w 815445"/>
                <a:gd name="connsiteY4" fmla="*/ 431799 h 438149"/>
                <a:gd name="connsiteX5" fmla="*/ 205846 w 815445"/>
                <a:gd name="connsiteY5" fmla="*/ 400049 h 438149"/>
                <a:gd name="connsiteX6" fmla="*/ 250296 w 815445"/>
                <a:gd name="connsiteY6" fmla="*/ 374649 h 438149"/>
                <a:gd name="connsiteX7" fmla="*/ 332846 w 815445"/>
                <a:gd name="connsiteY7" fmla="*/ 368299 h 438149"/>
                <a:gd name="connsiteX8" fmla="*/ 377296 w 815445"/>
                <a:gd name="connsiteY8" fmla="*/ 377824 h 438149"/>
                <a:gd name="connsiteX9" fmla="*/ 440796 w 815445"/>
                <a:gd name="connsiteY9" fmla="*/ 371474 h 438149"/>
                <a:gd name="connsiteX10" fmla="*/ 491596 w 815445"/>
                <a:gd name="connsiteY10" fmla="*/ 371474 h 438149"/>
                <a:gd name="connsiteX11" fmla="*/ 567796 w 815445"/>
                <a:gd name="connsiteY11" fmla="*/ 361949 h 438149"/>
                <a:gd name="connsiteX12" fmla="*/ 596371 w 815445"/>
                <a:gd name="connsiteY12" fmla="*/ 320674 h 438149"/>
                <a:gd name="connsiteX13" fmla="*/ 656696 w 815445"/>
                <a:gd name="connsiteY13" fmla="*/ 253999 h 438149"/>
                <a:gd name="connsiteX14" fmla="*/ 666221 w 815445"/>
                <a:gd name="connsiteY14" fmla="*/ 196849 h 438149"/>
                <a:gd name="connsiteX15" fmla="*/ 720196 w 815445"/>
                <a:gd name="connsiteY15" fmla="*/ 136524 h 438149"/>
                <a:gd name="connsiteX16" fmla="*/ 736071 w 815445"/>
                <a:gd name="connsiteY16" fmla="*/ 92074 h 438149"/>
                <a:gd name="connsiteX17" fmla="*/ 764646 w 815445"/>
                <a:gd name="connsiteY17" fmla="*/ 50799 h 438149"/>
                <a:gd name="connsiteX18" fmla="*/ 815446 w 815445"/>
                <a:gd name="connsiteY18" fmla="*/ -1 h 438149"/>
                <a:gd name="connsiteX0" fmla="*/ 59796 w 764646"/>
                <a:gd name="connsiteY0" fmla="*/ 279399 h 387349"/>
                <a:gd name="connsiteX1" fmla="*/ 2646 w 764646"/>
                <a:gd name="connsiteY1" fmla="*/ 323849 h 387349"/>
                <a:gd name="connsiteX2" fmla="*/ 43921 w 764646"/>
                <a:gd name="connsiteY2" fmla="*/ 361949 h 387349"/>
                <a:gd name="connsiteX3" fmla="*/ 104246 w 764646"/>
                <a:gd name="connsiteY3" fmla="*/ 384174 h 387349"/>
                <a:gd name="connsiteX4" fmla="*/ 161396 w 764646"/>
                <a:gd name="connsiteY4" fmla="*/ 380999 h 387349"/>
                <a:gd name="connsiteX5" fmla="*/ 205846 w 764646"/>
                <a:gd name="connsiteY5" fmla="*/ 349249 h 387349"/>
                <a:gd name="connsiteX6" fmla="*/ 250296 w 764646"/>
                <a:gd name="connsiteY6" fmla="*/ 323849 h 387349"/>
                <a:gd name="connsiteX7" fmla="*/ 332846 w 764646"/>
                <a:gd name="connsiteY7" fmla="*/ 317499 h 387349"/>
                <a:gd name="connsiteX8" fmla="*/ 377296 w 764646"/>
                <a:gd name="connsiteY8" fmla="*/ 327024 h 387349"/>
                <a:gd name="connsiteX9" fmla="*/ 440796 w 764646"/>
                <a:gd name="connsiteY9" fmla="*/ 320674 h 387349"/>
                <a:gd name="connsiteX10" fmla="*/ 491596 w 764646"/>
                <a:gd name="connsiteY10" fmla="*/ 320674 h 387349"/>
                <a:gd name="connsiteX11" fmla="*/ 567796 w 764646"/>
                <a:gd name="connsiteY11" fmla="*/ 311149 h 387349"/>
                <a:gd name="connsiteX12" fmla="*/ 596371 w 764646"/>
                <a:gd name="connsiteY12" fmla="*/ 269874 h 387349"/>
                <a:gd name="connsiteX13" fmla="*/ 656696 w 764646"/>
                <a:gd name="connsiteY13" fmla="*/ 203199 h 387349"/>
                <a:gd name="connsiteX14" fmla="*/ 666221 w 764646"/>
                <a:gd name="connsiteY14" fmla="*/ 146049 h 387349"/>
                <a:gd name="connsiteX15" fmla="*/ 720196 w 764646"/>
                <a:gd name="connsiteY15" fmla="*/ 85724 h 387349"/>
                <a:gd name="connsiteX16" fmla="*/ 736071 w 764646"/>
                <a:gd name="connsiteY16" fmla="*/ 41274 h 387349"/>
                <a:gd name="connsiteX17" fmla="*/ 764646 w 764646"/>
                <a:gd name="connsiteY17" fmla="*/ -1 h 387349"/>
                <a:gd name="connsiteX0" fmla="*/ 59796 w 736072"/>
                <a:gd name="connsiteY0" fmla="*/ 238126 h 346076"/>
                <a:gd name="connsiteX1" fmla="*/ 2646 w 736072"/>
                <a:gd name="connsiteY1" fmla="*/ 282576 h 346076"/>
                <a:gd name="connsiteX2" fmla="*/ 43921 w 736072"/>
                <a:gd name="connsiteY2" fmla="*/ 320676 h 346076"/>
                <a:gd name="connsiteX3" fmla="*/ 104246 w 736072"/>
                <a:gd name="connsiteY3" fmla="*/ 342901 h 346076"/>
                <a:gd name="connsiteX4" fmla="*/ 161396 w 736072"/>
                <a:gd name="connsiteY4" fmla="*/ 339726 h 346076"/>
                <a:gd name="connsiteX5" fmla="*/ 205846 w 736072"/>
                <a:gd name="connsiteY5" fmla="*/ 307976 h 346076"/>
                <a:gd name="connsiteX6" fmla="*/ 250296 w 736072"/>
                <a:gd name="connsiteY6" fmla="*/ 282576 h 346076"/>
                <a:gd name="connsiteX7" fmla="*/ 332846 w 736072"/>
                <a:gd name="connsiteY7" fmla="*/ 276226 h 346076"/>
                <a:gd name="connsiteX8" fmla="*/ 377296 w 736072"/>
                <a:gd name="connsiteY8" fmla="*/ 285751 h 346076"/>
                <a:gd name="connsiteX9" fmla="*/ 440796 w 736072"/>
                <a:gd name="connsiteY9" fmla="*/ 279401 h 346076"/>
                <a:gd name="connsiteX10" fmla="*/ 491596 w 736072"/>
                <a:gd name="connsiteY10" fmla="*/ 279401 h 346076"/>
                <a:gd name="connsiteX11" fmla="*/ 567796 w 736072"/>
                <a:gd name="connsiteY11" fmla="*/ 269876 h 346076"/>
                <a:gd name="connsiteX12" fmla="*/ 596371 w 736072"/>
                <a:gd name="connsiteY12" fmla="*/ 228601 h 346076"/>
                <a:gd name="connsiteX13" fmla="*/ 656696 w 736072"/>
                <a:gd name="connsiteY13" fmla="*/ 161926 h 346076"/>
                <a:gd name="connsiteX14" fmla="*/ 666221 w 736072"/>
                <a:gd name="connsiteY14" fmla="*/ 104776 h 346076"/>
                <a:gd name="connsiteX15" fmla="*/ 720196 w 736072"/>
                <a:gd name="connsiteY15" fmla="*/ 44451 h 346076"/>
                <a:gd name="connsiteX16" fmla="*/ 736071 w 736072"/>
                <a:gd name="connsiteY16" fmla="*/ 1 h 346076"/>
                <a:gd name="connsiteX0" fmla="*/ 59796 w 720195"/>
                <a:gd name="connsiteY0" fmla="*/ 193675 h 301625"/>
                <a:gd name="connsiteX1" fmla="*/ 2646 w 720195"/>
                <a:gd name="connsiteY1" fmla="*/ 238125 h 301625"/>
                <a:gd name="connsiteX2" fmla="*/ 43921 w 720195"/>
                <a:gd name="connsiteY2" fmla="*/ 276225 h 301625"/>
                <a:gd name="connsiteX3" fmla="*/ 104246 w 720195"/>
                <a:gd name="connsiteY3" fmla="*/ 298450 h 301625"/>
                <a:gd name="connsiteX4" fmla="*/ 161396 w 720195"/>
                <a:gd name="connsiteY4" fmla="*/ 295275 h 301625"/>
                <a:gd name="connsiteX5" fmla="*/ 205846 w 720195"/>
                <a:gd name="connsiteY5" fmla="*/ 263525 h 301625"/>
                <a:gd name="connsiteX6" fmla="*/ 250296 w 720195"/>
                <a:gd name="connsiteY6" fmla="*/ 238125 h 301625"/>
                <a:gd name="connsiteX7" fmla="*/ 332846 w 720195"/>
                <a:gd name="connsiteY7" fmla="*/ 231775 h 301625"/>
                <a:gd name="connsiteX8" fmla="*/ 377296 w 720195"/>
                <a:gd name="connsiteY8" fmla="*/ 241300 h 301625"/>
                <a:gd name="connsiteX9" fmla="*/ 440796 w 720195"/>
                <a:gd name="connsiteY9" fmla="*/ 234950 h 301625"/>
                <a:gd name="connsiteX10" fmla="*/ 491596 w 720195"/>
                <a:gd name="connsiteY10" fmla="*/ 234950 h 301625"/>
                <a:gd name="connsiteX11" fmla="*/ 567796 w 720195"/>
                <a:gd name="connsiteY11" fmla="*/ 225425 h 301625"/>
                <a:gd name="connsiteX12" fmla="*/ 596371 w 720195"/>
                <a:gd name="connsiteY12" fmla="*/ 184150 h 301625"/>
                <a:gd name="connsiteX13" fmla="*/ 656696 w 720195"/>
                <a:gd name="connsiteY13" fmla="*/ 117475 h 301625"/>
                <a:gd name="connsiteX14" fmla="*/ 666221 w 720195"/>
                <a:gd name="connsiteY14" fmla="*/ 60325 h 301625"/>
                <a:gd name="connsiteX15" fmla="*/ 720196 w 720195"/>
                <a:gd name="connsiteY15" fmla="*/ 0 h 301625"/>
                <a:gd name="connsiteX0" fmla="*/ 59796 w 668338"/>
                <a:gd name="connsiteY0" fmla="*/ 133349 h 241299"/>
                <a:gd name="connsiteX1" fmla="*/ 2646 w 668338"/>
                <a:gd name="connsiteY1" fmla="*/ 177799 h 241299"/>
                <a:gd name="connsiteX2" fmla="*/ 43921 w 668338"/>
                <a:gd name="connsiteY2" fmla="*/ 215899 h 241299"/>
                <a:gd name="connsiteX3" fmla="*/ 104246 w 668338"/>
                <a:gd name="connsiteY3" fmla="*/ 238124 h 241299"/>
                <a:gd name="connsiteX4" fmla="*/ 161396 w 668338"/>
                <a:gd name="connsiteY4" fmla="*/ 234949 h 241299"/>
                <a:gd name="connsiteX5" fmla="*/ 205846 w 668338"/>
                <a:gd name="connsiteY5" fmla="*/ 203199 h 241299"/>
                <a:gd name="connsiteX6" fmla="*/ 250296 w 668338"/>
                <a:gd name="connsiteY6" fmla="*/ 177799 h 241299"/>
                <a:gd name="connsiteX7" fmla="*/ 332846 w 668338"/>
                <a:gd name="connsiteY7" fmla="*/ 171449 h 241299"/>
                <a:gd name="connsiteX8" fmla="*/ 377296 w 668338"/>
                <a:gd name="connsiteY8" fmla="*/ 180974 h 241299"/>
                <a:gd name="connsiteX9" fmla="*/ 440796 w 668338"/>
                <a:gd name="connsiteY9" fmla="*/ 174624 h 241299"/>
                <a:gd name="connsiteX10" fmla="*/ 491596 w 668338"/>
                <a:gd name="connsiteY10" fmla="*/ 174624 h 241299"/>
                <a:gd name="connsiteX11" fmla="*/ 567796 w 668338"/>
                <a:gd name="connsiteY11" fmla="*/ 165099 h 241299"/>
                <a:gd name="connsiteX12" fmla="*/ 596371 w 668338"/>
                <a:gd name="connsiteY12" fmla="*/ 123824 h 241299"/>
                <a:gd name="connsiteX13" fmla="*/ 656696 w 668338"/>
                <a:gd name="connsiteY13" fmla="*/ 57149 h 241299"/>
                <a:gd name="connsiteX14" fmla="*/ 666221 w 668338"/>
                <a:gd name="connsiteY14" fmla="*/ -1 h 241299"/>
                <a:gd name="connsiteX0" fmla="*/ 59796 w 668338"/>
                <a:gd name="connsiteY0" fmla="*/ 133350 h 238318"/>
                <a:gd name="connsiteX1" fmla="*/ 2646 w 668338"/>
                <a:gd name="connsiteY1" fmla="*/ 177800 h 238318"/>
                <a:gd name="connsiteX2" fmla="*/ 43921 w 668338"/>
                <a:gd name="connsiteY2" fmla="*/ 215900 h 238318"/>
                <a:gd name="connsiteX3" fmla="*/ 104246 w 668338"/>
                <a:gd name="connsiteY3" fmla="*/ 238125 h 238318"/>
                <a:gd name="connsiteX4" fmla="*/ 155900 w 668338"/>
                <a:gd name="connsiteY4" fmla="*/ 217055 h 238318"/>
                <a:gd name="connsiteX5" fmla="*/ 205846 w 668338"/>
                <a:gd name="connsiteY5" fmla="*/ 203200 h 238318"/>
                <a:gd name="connsiteX6" fmla="*/ 250296 w 668338"/>
                <a:gd name="connsiteY6" fmla="*/ 177800 h 238318"/>
                <a:gd name="connsiteX7" fmla="*/ 332846 w 668338"/>
                <a:gd name="connsiteY7" fmla="*/ 171450 h 238318"/>
                <a:gd name="connsiteX8" fmla="*/ 377296 w 668338"/>
                <a:gd name="connsiteY8" fmla="*/ 180975 h 238318"/>
                <a:gd name="connsiteX9" fmla="*/ 440796 w 668338"/>
                <a:gd name="connsiteY9" fmla="*/ 174625 h 238318"/>
                <a:gd name="connsiteX10" fmla="*/ 491596 w 668338"/>
                <a:gd name="connsiteY10" fmla="*/ 174625 h 238318"/>
                <a:gd name="connsiteX11" fmla="*/ 567796 w 668338"/>
                <a:gd name="connsiteY11" fmla="*/ 165100 h 238318"/>
                <a:gd name="connsiteX12" fmla="*/ 596371 w 668338"/>
                <a:gd name="connsiteY12" fmla="*/ 123825 h 238318"/>
                <a:gd name="connsiteX13" fmla="*/ 656696 w 668338"/>
                <a:gd name="connsiteY13" fmla="*/ 57150 h 238318"/>
                <a:gd name="connsiteX14" fmla="*/ 666221 w 668338"/>
                <a:gd name="connsiteY14" fmla="*/ 0 h 238318"/>
                <a:gd name="connsiteX0" fmla="*/ 59796 w 668338"/>
                <a:gd name="connsiteY0" fmla="*/ 133350 h 238317"/>
                <a:gd name="connsiteX1" fmla="*/ 2646 w 668338"/>
                <a:gd name="connsiteY1" fmla="*/ 177800 h 238317"/>
                <a:gd name="connsiteX2" fmla="*/ 43921 w 668338"/>
                <a:gd name="connsiteY2" fmla="*/ 215900 h 238317"/>
                <a:gd name="connsiteX3" fmla="*/ 104246 w 668338"/>
                <a:gd name="connsiteY3" fmla="*/ 238125 h 238317"/>
                <a:gd name="connsiteX4" fmla="*/ 155900 w 668338"/>
                <a:gd name="connsiteY4" fmla="*/ 217055 h 238317"/>
                <a:gd name="connsiteX5" fmla="*/ 200349 w 668338"/>
                <a:gd name="connsiteY5" fmla="*/ 187860 h 238317"/>
                <a:gd name="connsiteX6" fmla="*/ 250296 w 668338"/>
                <a:gd name="connsiteY6" fmla="*/ 177800 h 238317"/>
                <a:gd name="connsiteX7" fmla="*/ 332846 w 668338"/>
                <a:gd name="connsiteY7" fmla="*/ 171450 h 238317"/>
                <a:gd name="connsiteX8" fmla="*/ 377296 w 668338"/>
                <a:gd name="connsiteY8" fmla="*/ 180975 h 238317"/>
                <a:gd name="connsiteX9" fmla="*/ 440796 w 668338"/>
                <a:gd name="connsiteY9" fmla="*/ 174625 h 238317"/>
                <a:gd name="connsiteX10" fmla="*/ 491596 w 668338"/>
                <a:gd name="connsiteY10" fmla="*/ 174625 h 238317"/>
                <a:gd name="connsiteX11" fmla="*/ 567796 w 668338"/>
                <a:gd name="connsiteY11" fmla="*/ 165100 h 238317"/>
                <a:gd name="connsiteX12" fmla="*/ 596371 w 668338"/>
                <a:gd name="connsiteY12" fmla="*/ 123825 h 238317"/>
                <a:gd name="connsiteX13" fmla="*/ 656696 w 668338"/>
                <a:gd name="connsiteY13" fmla="*/ 57150 h 238317"/>
                <a:gd name="connsiteX14" fmla="*/ 666221 w 668338"/>
                <a:gd name="connsiteY14" fmla="*/ 0 h 238317"/>
                <a:gd name="connsiteX0" fmla="*/ 59796 w 668338"/>
                <a:gd name="connsiteY0" fmla="*/ 133350 h 238317"/>
                <a:gd name="connsiteX1" fmla="*/ 2646 w 668338"/>
                <a:gd name="connsiteY1" fmla="*/ 177800 h 238317"/>
                <a:gd name="connsiteX2" fmla="*/ 43921 w 668338"/>
                <a:gd name="connsiteY2" fmla="*/ 215900 h 238317"/>
                <a:gd name="connsiteX3" fmla="*/ 104246 w 668338"/>
                <a:gd name="connsiteY3" fmla="*/ 238125 h 238317"/>
                <a:gd name="connsiteX4" fmla="*/ 155900 w 668338"/>
                <a:gd name="connsiteY4" fmla="*/ 217055 h 238317"/>
                <a:gd name="connsiteX5" fmla="*/ 200349 w 668338"/>
                <a:gd name="connsiteY5" fmla="*/ 187860 h 238317"/>
                <a:gd name="connsiteX6" fmla="*/ 247547 w 668338"/>
                <a:gd name="connsiteY6" fmla="*/ 170131 h 238317"/>
                <a:gd name="connsiteX7" fmla="*/ 332846 w 668338"/>
                <a:gd name="connsiteY7" fmla="*/ 171450 h 238317"/>
                <a:gd name="connsiteX8" fmla="*/ 377296 w 668338"/>
                <a:gd name="connsiteY8" fmla="*/ 180975 h 238317"/>
                <a:gd name="connsiteX9" fmla="*/ 440796 w 668338"/>
                <a:gd name="connsiteY9" fmla="*/ 174625 h 238317"/>
                <a:gd name="connsiteX10" fmla="*/ 491596 w 668338"/>
                <a:gd name="connsiteY10" fmla="*/ 174625 h 238317"/>
                <a:gd name="connsiteX11" fmla="*/ 567796 w 668338"/>
                <a:gd name="connsiteY11" fmla="*/ 165100 h 238317"/>
                <a:gd name="connsiteX12" fmla="*/ 596371 w 668338"/>
                <a:gd name="connsiteY12" fmla="*/ 123825 h 238317"/>
                <a:gd name="connsiteX13" fmla="*/ 656696 w 668338"/>
                <a:gd name="connsiteY13" fmla="*/ 57150 h 238317"/>
                <a:gd name="connsiteX14" fmla="*/ 666221 w 668338"/>
                <a:gd name="connsiteY14" fmla="*/ 0 h 238317"/>
                <a:gd name="connsiteX0" fmla="*/ 59796 w 668338"/>
                <a:gd name="connsiteY0" fmla="*/ 133350 h 239636"/>
                <a:gd name="connsiteX1" fmla="*/ 2646 w 668338"/>
                <a:gd name="connsiteY1" fmla="*/ 177800 h 239636"/>
                <a:gd name="connsiteX2" fmla="*/ 43921 w 668338"/>
                <a:gd name="connsiteY2" fmla="*/ 215900 h 239636"/>
                <a:gd name="connsiteX3" fmla="*/ 104246 w 668338"/>
                <a:gd name="connsiteY3" fmla="*/ 238125 h 239636"/>
                <a:gd name="connsiteX4" fmla="*/ 155900 w 668338"/>
                <a:gd name="connsiteY4" fmla="*/ 206829 h 239636"/>
                <a:gd name="connsiteX5" fmla="*/ 200349 w 668338"/>
                <a:gd name="connsiteY5" fmla="*/ 187860 h 239636"/>
                <a:gd name="connsiteX6" fmla="*/ 247547 w 668338"/>
                <a:gd name="connsiteY6" fmla="*/ 170131 h 239636"/>
                <a:gd name="connsiteX7" fmla="*/ 332846 w 668338"/>
                <a:gd name="connsiteY7" fmla="*/ 171450 h 239636"/>
                <a:gd name="connsiteX8" fmla="*/ 377296 w 668338"/>
                <a:gd name="connsiteY8" fmla="*/ 180975 h 239636"/>
                <a:gd name="connsiteX9" fmla="*/ 440796 w 668338"/>
                <a:gd name="connsiteY9" fmla="*/ 174625 h 239636"/>
                <a:gd name="connsiteX10" fmla="*/ 491596 w 668338"/>
                <a:gd name="connsiteY10" fmla="*/ 174625 h 239636"/>
                <a:gd name="connsiteX11" fmla="*/ 567796 w 668338"/>
                <a:gd name="connsiteY11" fmla="*/ 165100 h 239636"/>
                <a:gd name="connsiteX12" fmla="*/ 596371 w 668338"/>
                <a:gd name="connsiteY12" fmla="*/ 123825 h 239636"/>
                <a:gd name="connsiteX13" fmla="*/ 656696 w 668338"/>
                <a:gd name="connsiteY13" fmla="*/ 57150 h 239636"/>
                <a:gd name="connsiteX14" fmla="*/ 666221 w 668338"/>
                <a:gd name="connsiteY14" fmla="*/ 0 h 23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8338" h="239636">
                  <a:moveTo>
                    <a:pt x="59796" y="133350"/>
                  </a:moveTo>
                  <a:cubicBezTo>
                    <a:pt x="32544" y="148696"/>
                    <a:pt x="5292" y="164042"/>
                    <a:pt x="2646" y="177800"/>
                  </a:cubicBezTo>
                  <a:cubicBezTo>
                    <a:pt x="0" y="191558"/>
                    <a:pt x="26988" y="205846"/>
                    <a:pt x="43921" y="215900"/>
                  </a:cubicBezTo>
                  <a:cubicBezTo>
                    <a:pt x="60854" y="225954"/>
                    <a:pt x="85583" y="239637"/>
                    <a:pt x="104246" y="238125"/>
                  </a:cubicBezTo>
                  <a:cubicBezTo>
                    <a:pt x="122909" y="236613"/>
                    <a:pt x="139883" y="215206"/>
                    <a:pt x="155900" y="206829"/>
                  </a:cubicBezTo>
                  <a:cubicBezTo>
                    <a:pt x="171917" y="198452"/>
                    <a:pt x="185075" y="193976"/>
                    <a:pt x="200349" y="187860"/>
                  </a:cubicBezTo>
                  <a:cubicBezTo>
                    <a:pt x="215623" y="181744"/>
                    <a:pt x="225464" y="172866"/>
                    <a:pt x="247547" y="170131"/>
                  </a:cubicBezTo>
                  <a:cubicBezTo>
                    <a:pt x="269630" y="167396"/>
                    <a:pt x="311221" y="169643"/>
                    <a:pt x="332846" y="171450"/>
                  </a:cubicBezTo>
                  <a:cubicBezTo>
                    <a:pt x="354471" y="173257"/>
                    <a:pt x="359304" y="180446"/>
                    <a:pt x="377296" y="180975"/>
                  </a:cubicBezTo>
                  <a:cubicBezTo>
                    <a:pt x="395288" y="181504"/>
                    <a:pt x="421746" y="175683"/>
                    <a:pt x="440796" y="174625"/>
                  </a:cubicBezTo>
                  <a:cubicBezTo>
                    <a:pt x="459846" y="173567"/>
                    <a:pt x="470429" y="176212"/>
                    <a:pt x="491596" y="174625"/>
                  </a:cubicBezTo>
                  <a:cubicBezTo>
                    <a:pt x="512763" y="173038"/>
                    <a:pt x="550334" y="173567"/>
                    <a:pt x="567796" y="165100"/>
                  </a:cubicBezTo>
                  <a:cubicBezTo>
                    <a:pt x="585258" y="156633"/>
                    <a:pt x="581554" y="141817"/>
                    <a:pt x="596371" y="123825"/>
                  </a:cubicBezTo>
                  <a:cubicBezTo>
                    <a:pt x="611188" y="105833"/>
                    <a:pt x="645054" y="77787"/>
                    <a:pt x="656696" y="57150"/>
                  </a:cubicBezTo>
                  <a:cubicBezTo>
                    <a:pt x="668338" y="36513"/>
                    <a:pt x="655638" y="19579"/>
                    <a:pt x="666221" y="0"/>
                  </a:cubicBezTo>
                </a:path>
              </a:pathLst>
            </a:custGeom>
            <a:noFill/>
            <a:ln w="2857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0787" tIns="36810" rIns="70787" bIns="36810" numCol="1" rtlCol="0" anchor="ctr" anchorCtr="0" compatLnSpc="1">
              <a:prstTxWarp prst="textNoShape">
                <a:avLst/>
              </a:prstTxWarp>
            </a:bodyPr>
            <a:lstStyle/>
            <a:p>
              <a:pPr defTabSz="719255"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944" kern="0" dirty="0">
                <a:solidFill>
                  <a:srgbClr val="292929"/>
                </a:solidFill>
              </a:endParaRPr>
            </a:p>
          </p:txBody>
        </p:sp>
        <p:sp>
          <p:nvSpPr>
            <p:cNvPr id="141" name="Freeform 73"/>
            <p:cNvSpPr/>
            <p:nvPr/>
          </p:nvSpPr>
          <p:spPr bwMode="auto">
            <a:xfrm>
              <a:off x="3730713" y="4644004"/>
              <a:ext cx="62361" cy="115335"/>
            </a:xfrm>
            <a:custGeom>
              <a:avLst/>
              <a:gdLst>
                <a:gd name="connsiteX0" fmla="*/ 59796 w 1282171"/>
                <a:gd name="connsiteY0" fmla="*/ 1498600 h 1606550"/>
                <a:gd name="connsiteX1" fmla="*/ 2646 w 1282171"/>
                <a:gd name="connsiteY1" fmla="*/ 1543050 h 1606550"/>
                <a:gd name="connsiteX2" fmla="*/ 43921 w 1282171"/>
                <a:gd name="connsiteY2" fmla="*/ 1581150 h 1606550"/>
                <a:gd name="connsiteX3" fmla="*/ 104246 w 1282171"/>
                <a:gd name="connsiteY3" fmla="*/ 1603375 h 1606550"/>
                <a:gd name="connsiteX4" fmla="*/ 161396 w 1282171"/>
                <a:gd name="connsiteY4" fmla="*/ 1600200 h 1606550"/>
                <a:gd name="connsiteX5" fmla="*/ 205846 w 1282171"/>
                <a:gd name="connsiteY5" fmla="*/ 1568450 h 1606550"/>
                <a:gd name="connsiteX6" fmla="*/ 250296 w 1282171"/>
                <a:gd name="connsiteY6" fmla="*/ 1543050 h 1606550"/>
                <a:gd name="connsiteX7" fmla="*/ 332846 w 1282171"/>
                <a:gd name="connsiteY7" fmla="*/ 1536700 h 1606550"/>
                <a:gd name="connsiteX8" fmla="*/ 377296 w 1282171"/>
                <a:gd name="connsiteY8" fmla="*/ 1546225 h 1606550"/>
                <a:gd name="connsiteX9" fmla="*/ 440796 w 1282171"/>
                <a:gd name="connsiteY9" fmla="*/ 1539875 h 1606550"/>
                <a:gd name="connsiteX10" fmla="*/ 491596 w 1282171"/>
                <a:gd name="connsiteY10" fmla="*/ 1539875 h 1606550"/>
                <a:gd name="connsiteX11" fmla="*/ 567796 w 1282171"/>
                <a:gd name="connsiteY11" fmla="*/ 1530350 h 1606550"/>
                <a:gd name="connsiteX12" fmla="*/ 596371 w 1282171"/>
                <a:gd name="connsiteY12" fmla="*/ 1489075 h 1606550"/>
                <a:gd name="connsiteX13" fmla="*/ 656696 w 1282171"/>
                <a:gd name="connsiteY13" fmla="*/ 1422400 h 1606550"/>
                <a:gd name="connsiteX14" fmla="*/ 666221 w 1282171"/>
                <a:gd name="connsiteY14" fmla="*/ 1365250 h 1606550"/>
                <a:gd name="connsiteX15" fmla="*/ 720196 w 1282171"/>
                <a:gd name="connsiteY15" fmla="*/ 1304925 h 1606550"/>
                <a:gd name="connsiteX16" fmla="*/ 736071 w 1282171"/>
                <a:gd name="connsiteY16" fmla="*/ 1260475 h 1606550"/>
                <a:gd name="connsiteX17" fmla="*/ 764646 w 1282171"/>
                <a:gd name="connsiteY17" fmla="*/ 1219200 h 1606550"/>
                <a:gd name="connsiteX18" fmla="*/ 815446 w 1282171"/>
                <a:gd name="connsiteY18" fmla="*/ 1168400 h 1606550"/>
                <a:gd name="connsiteX19" fmla="*/ 783696 w 1282171"/>
                <a:gd name="connsiteY19" fmla="*/ 1101725 h 1606550"/>
                <a:gd name="connsiteX20" fmla="*/ 799571 w 1282171"/>
                <a:gd name="connsiteY20" fmla="*/ 1025525 h 1606550"/>
                <a:gd name="connsiteX21" fmla="*/ 815446 w 1282171"/>
                <a:gd name="connsiteY21" fmla="*/ 958850 h 1606550"/>
                <a:gd name="connsiteX22" fmla="*/ 837671 w 1282171"/>
                <a:gd name="connsiteY22" fmla="*/ 885825 h 1606550"/>
                <a:gd name="connsiteX23" fmla="*/ 834496 w 1282171"/>
                <a:gd name="connsiteY23" fmla="*/ 819150 h 1606550"/>
                <a:gd name="connsiteX24" fmla="*/ 834496 w 1282171"/>
                <a:gd name="connsiteY24" fmla="*/ 704850 h 1606550"/>
                <a:gd name="connsiteX25" fmla="*/ 863071 w 1282171"/>
                <a:gd name="connsiteY25" fmla="*/ 666750 h 1606550"/>
                <a:gd name="connsiteX26" fmla="*/ 812271 w 1282171"/>
                <a:gd name="connsiteY26" fmla="*/ 584200 h 1606550"/>
                <a:gd name="connsiteX27" fmla="*/ 859896 w 1282171"/>
                <a:gd name="connsiteY27" fmla="*/ 495300 h 1606550"/>
                <a:gd name="connsiteX28" fmla="*/ 910696 w 1282171"/>
                <a:gd name="connsiteY28" fmla="*/ 419100 h 1606550"/>
                <a:gd name="connsiteX29" fmla="*/ 967846 w 1282171"/>
                <a:gd name="connsiteY29" fmla="*/ 393700 h 1606550"/>
                <a:gd name="connsiteX30" fmla="*/ 1018646 w 1282171"/>
                <a:gd name="connsiteY30" fmla="*/ 346075 h 1606550"/>
                <a:gd name="connsiteX31" fmla="*/ 1078971 w 1282171"/>
                <a:gd name="connsiteY31" fmla="*/ 254000 h 1606550"/>
                <a:gd name="connsiteX32" fmla="*/ 1101196 w 1282171"/>
                <a:gd name="connsiteY32" fmla="*/ 193675 h 1606550"/>
                <a:gd name="connsiteX33" fmla="*/ 1158346 w 1282171"/>
                <a:gd name="connsiteY33" fmla="*/ 161925 h 1606550"/>
                <a:gd name="connsiteX34" fmla="*/ 1212321 w 1282171"/>
                <a:gd name="connsiteY34" fmla="*/ 95250 h 1606550"/>
                <a:gd name="connsiteX35" fmla="*/ 1282171 w 128217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01196 w 1407651"/>
                <a:gd name="connsiteY32" fmla="*/ 193675 h 1606550"/>
                <a:gd name="connsiteX33" fmla="*/ 1158346 w 1407651"/>
                <a:gd name="connsiteY33" fmla="*/ 161925 h 1606550"/>
                <a:gd name="connsiteX34" fmla="*/ 1212321 w 1407651"/>
                <a:gd name="connsiteY34" fmla="*/ 95250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01196 w 1407651"/>
                <a:gd name="connsiteY32" fmla="*/ 193675 h 1606550"/>
                <a:gd name="connsiteX33" fmla="*/ 1158346 w 1407651"/>
                <a:gd name="connsiteY33" fmla="*/ 161925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01196 w 1407651"/>
                <a:gd name="connsiteY32" fmla="*/ 193675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81019 w 1407651"/>
                <a:gd name="connsiteY22" fmla="*/ 896438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65638 w 1407651"/>
                <a:gd name="connsiteY21" fmla="*/ 977952 h 1606550"/>
                <a:gd name="connsiteX22" fmla="*/ 881019 w 1407651"/>
                <a:gd name="connsiteY22" fmla="*/ 896438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829230 w 1407651"/>
                <a:gd name="connsiteY20" fmla="*/ 1040382 h 1606550"/>
                <a:gd name="connsiteX21" fmla="*/ 865638 w 1407651"/>
                <a:gd name="connsiteY21" fmla="*/ 977952 h 1606550"/>
                <a:gd name="connsiteX22" fmla="*/ 881019 w 1407651"/>
                <a:gd name="connsiteY22" fmla="*/ 896438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280765"/>
                <a:gd name="connsiteY0" fmla="*/ 1348165 h 1456115"/>
                <a:gd name="connsiteX1" fmla="*/ 2646 w 1280765"/>
                <a:gd name="connsiteY1" fmla="*/ 1392615 h 1456115"/>
                <a:gd name="connsiteX2" fmla="*/ 43921 w 1280765"/>
                <a:gd name="connsiteY2" fmla="*/ 1430715 h 1456115"/>
                <a:gd name="connsiteX3" fmla="*/ 104246 w 1280765"/>
                <a:gd name="connsiteY3" fmla="*/ 1452940 h 1456115"/>
                <a:gd name="connsiteX4" fmla="*/ 161396 w 1280765"/>
                <a:gd name="connsiteY4" fmla="*/ 1449765 h 1456115"/>
                <a:gd name="connsiteX5" fmla="*/ 205846 w 1280765"/>
                <a:gd name="connsiteY5" fmla="*/ 1418015 h 1456115"/>
                <a:gd name="connsiteX6" fmla="*/ 250296 w 1280765"/>
                <a:gd name="connsiteY6" fmla="*/ 1392615 h 1456115"/>
                <a:gd name="connsiteX7" fmla="*/ 332846 w 1280765"/>
                <a:gd name="connsiteY7" fmla="*/ 1386265 h 1456115"/>
                <a:gd name="connsiteX8" fmla="*/ 377296 w 1280765"/>
                <a:gd name="connsiteY8" fmla="*/ 1395790 h 1456115"/>
                <a:gd name="connsiteX9" fmla="*/ 440796 w 1280765"/>
                <a:gd name="connsiteY9" fmla="*/ 1389440 h 1456115"/>
                <a:gd name="connsiteX10" fmla="*/ 491596 w 1280765"/>
                <a:gd name="connsiteY10" fmla="*/ 1389440 h 1456115"/>
                <a:gd name="connsiteX11" fmla="*/ 567796 w 1280765"/>
                <a:gd name="connsiteY11" fmla="*/ 1379915 h 1456115"/>
                <a:gd name="connsiteX12" fmla="*/ 596371 w 1280765"/>
                <a:gd name="connsiteY12" fmla="*/ 1338640 h 1456115"/>
                <a:gd name="connsiteX13" fmla="*/ 656696 w 1280765"/>
                <a:gd name="connsiteY13" fmla="*/ 1271965 h 1456115"/>
                <a:gd name="connsiteX14" fmla="*/ 666221 w 1280765"/>
                <a:gd name="connsiteY14" fmla="*/ 1214815 h 1456115"/>
                <a:gd name="connsiteX15" fmla="*/ 720196 w 1280765"/>
                <a:gd name="connsiteY15" fmla="*/ 1154490 h 1456115"/>
                <a:gd name="connsiteX16" fmla="*/ 736071 w 1280765"/>
                <a:gd name="connsiteY16" fmla="*/ 1110040 h 1456115"/>
                <a:gd name="connsiteX17" fmla="*/ 764646 w 1280765"/>
                <a:gd name="connsiteY17" fmla="*/ 1068765 h 1456115"/>
                <a:gd name="connsiteX18" fmla="*/ 815446 w 1280765"/>
                <a:gd name="connsiteY18" fmla="*/ 1017965 h 1456115"/>
                <a:gd name="connsiteX19" fmla="*/ 783696 w 1280765"/>
                <a:gd name="connsiteY19" fmla="*/ 951290 h 1456115"/>
                <a:gd name="connsiteX20" fmla="*/ 829230 w 1280765"/>
                <a:gd name="connsiteY20" fmla="*/ 889947 h 1456115"/>
                <a:gd name="connsiteX21" fmla="*/ 865638 w 1280765"/>
                <a:gd name="connsiteY21" fmla="*/ 827517 h 1456115"/>
                <a:gd name="connsiteX22" fmla="*/ 881019 w 1280765"/>
                <a:gd name="connsiteY22" fmla="*/ 746003 h 1456115"/>
                <a:gd name="connsiteX23" fmla="*/ 896094 w 1280765"/>
                <a:gd name="connsiteY23" fmla="*/ 668715 h 1456115"/>
                <a:gd name="connsiteX24" fmla="*/ 905221 w 1280765"/>
                <a:gd name="connsiteY24" fmla="*/ 545925 h 1456115"/>
                <a:gd name="connsiteX25" fmla="*/ 885886 w 1280765"/>
                <a:gd name="connsiteY25" fmla="*/ 502423 h 1456115"/>
                <a:gd name="connsiteX26" fmla="*/ 898967 w 1280765"/>
                <a:gd name="connsiteY26" fmla="*/ 435887 h 1456115"/>
                <a:gd name="connsiteX27" fmla="*/ 891836 w 1280765"/>
                <a:gd name="connsiteY27" fmla="*/ 375287 h 1456115"/>
                <a:gd name="connsiteX28" fmla="*/ 906133 w 1280765"/>
                <a:gd name="connsiteY28" fmla="*/ 298380 h 1456115"/>
                <a:gd name="connsiteX29" fmla="*/ 967846 w 1280765"/>
                <a:gd name="connsiteY29" fmla="*/ 270858 h 1456115"/>
                <a:gd name="connsiteX30" fmla="*/ 1045661 w 1280765"/>
                <a:gd name="connsiteY30" fmla="*/ 246579 h 1456115"/>
                <a:gd name="connsiteX31" fmla="*/ 1115474 w 1280765"/>
                <a:gd name="connsiteY31" fmla="*/ 182096 h 1456115"/>
                <a:gd name="connsiteX32" fmla="*/ 1146825 w 1280765"/>
                <a:gd name="connsiteY32" fmla="*/ 128139 h 1456115"/>
                <a:gd name="connsiteX33" fmla="*/ 1183443 w 1280765"/>
                <a:gd name="connsiteY33" fmla="*/ 85776 h 1456115"/>
                <a:gd name="connsiteX34" fmla="*/ 1280764 w 1280765"/>
                <a:gd name="connsiteY34" fmla="*/ 0 h 1456115"/>
                <a:gd name="connsiteX0" fmla="*/ 59796 w 1183443"/>
                <a:gd name="connsiteY0" fmla="*/ 1262390 h 1370340"/>
                <a:gd name="connsiteX1" fmla="*/ 2646 w 1183443"/>
                <a:gd name="connsiteY1" fmla="*/ 1306840 h 1370340"/>
                <a:gd name="connsiteX2" fmla="*/ 43921 w 1183443"/>
                <a:gd name="connsiteY2" fmla="*/ 1344940 h 1370340"/>
                <a:gd name="connsiteX3" fmla="*/ 104246 w 1183443"/>
                <a:gd name="connsiteY3" fmla="*/ 1367165 h 1370340"/>
                <a:gd name="connsiteX4" fmla="*/ 161396 w 1183443"/>
                <a:gd name="connsiteY4" fmla="*/ 1363990 h 1370340"/>
                <a:gd name="connsiteX5" fmla="*/ 205846 w 1183443"/>
                <a:gd name="connsiteY5" fmla="*/ 1332240 h 1370340"/>
                <a:gd name="connsiteX6" fmla="*/ 250296 w 1183443"/>
                <a:gd name="connsiteY6" fmla="*/ 1306840 h 1370340"/>
                <a:gd name="connsiteX7" fmla="*/ 332846 w 1183443"/>
                <a:gd name="connsiteY7" fmla="*/ 1300490 h 1370340"/>
                <a:gd name="connsiteX8" fmla="*/ 377296 w 1183443"/>
                <a:gd name="connsiteY8" fmla="*/ 1310015 h 1370340"/>
                <a:gd name="connsiteX9" fmla="*/ 440796 w 1183443"/>
                <a:gd name="connsiteY9" fmla="*/ 1303665 h 1370340"/>
                <a:gd name="connsiteX10" fmla="*/ 491596 w 1183443"/>
                <a:gd name="connsiteY10" fmla="*/ 1303665 h 1370340"/>
                <a:gd name="connsiteX11" fmla="*/ 567796 w 1183443"/>
                <a:gd name="connsiteY11" fmla="*/ 1294140 h 1370340"/>
                <a:gd name="connsiteX12" fmla="*/ 596371 w 1183443"/>
                <a:gd name="connsiteY12" fmla="*/ 1252865 h 1370340"/>
                <a:gd name="connsiteX13" fmla="*/ 656696 w 1183443"/>
                <a:gd name="connsiteY13" fmla="*/ 1186190 h 1370340"/>
                <a:gd name="connsiteX14" fmla="*/ 666221 w 1183443"/>
                <a:gd name="connsiteY14" fmla="*/ 1129040 h 1370340"/>
                <a:gd name="connsiteX15" fmla="*/ 720196 w 1183443"/>
                <a:gd name="connsiteY15" fmla="*/ 1068715 h 1370340"/>
                <a:gd name="connsiteX16" fmla="*/ 736071 w 1183443"/>
                <a:gd name="connsiteY16" fmla="*/ 1024265 h 1370340"/>
                <a:gd name="connsiteX17" fmla="*/ 764646 w 1183443"/>
                <a:gd name="connsiteY17" fmla="*/ 982990 h 1370340"/>
                <a:gd name="connsiteX18" fmla="*/ 815446 w 1183443"/>
                <a:gd name="connsiteY18" fmla="*/ 932190 h 1370340"/>
                <a:gd name="connsiteX19" fmla="*/ 783696 w 1183443"/>
                <a:gd name="connsiteY19" fmla="*/ 865515 h 1370340"/>
                <a:gd name="connsiteX20" fmla="*/ 829230 w 1183443"/>
                <a:gd name="connsiteY20" fmla="*/ 804172 h 1370340"/>
                <a:gd name="connsiteX21" fmla="*/ 865638 w 1183443"/>
                <a:gd name="connsiteY21" fmla="*/ 741742 h 1370340"/>
                <a:gd name="connsiteX22" fmla="*/ 881019 w 1183443"/>
                <a:gd name="connsiteY22" fmla="*/ 660228 h 1370340"/>
                <a:gd name="connsiteX23" fmla="*/ 896094 w 1183443"/>
                <a:gd name="connsiteY23" fmla="*/ 582940 h 1370340"/>
                <a:gd name="connsiteX24" fmla="*/ 905221 w 1183443"/>
                <a:gd name="connsiteY24" fmla="*/ 460150 h 1370340"/>
                <a:gd name="connsiteX25" fmla="*/ 885886 w 1183443"/>
                <a:gd name="connsiteY25" fmla="*/ 416648 h 1370340"/>
                <a:gd name="connsiteX26" fmla="*/ 898967 w 1183443"/>
                <a:gd name="connsiteY26" fmla="*/ 350112 h 1370340"/>
                <a:gd name="connsiteX27" fmla="*/ 891836 w 1183443"/>
                <a:gd name="connsiteY27" fmla="*/ 289512 h 1370340"/>
                <a:gd name="connsiteX28" fmla="*/ 906133 w 1183443"/>
                <a:gd name="connsiteY28" fmla="*/ 212605 h 1370340"/>
                <a:gd name="connsiteX29" fmla="*/ 967846 w 1183443"/>
                <a:gd name="connsiteY29" fmla="*/ 185083 h 1370340"/>
                <a:gd name="connsiteX30" fmla="*/ 1045661 w 1183443"/>
                <a:gd name="connsiteY30" fmla="*/ 160804 h 1370340"/>
                <a:gd name="connsiteX31" fmla="*/ 1115474 w 1183443"/>
                <a:gd name="connsiteY31" fmla="*/ 96321 h 1370340"/>
                <a:gd name="connsiteX32" fmla="*/ 1146825 w 1183443"/>
                <a:gd name="connsiteY32" fmla="*/ 42364 h 1370340"/>
                <a:gd name="connsiteX33" fmla="*/ 1183443 w 1183443"/>
                <a:gd name="connsiteY33" fmla="*/ 1 h 1370340"/>
                <a:gd name="connsiteX0" fmla="*/ 59796 w 1146826"/>
                <a:gd name="connsiteY0" fmla="*/ 1220026 h 1327976"/>
                <a:gd name="connsiteX1" fmla="*/ 2646 w 1146826"/>
                <a:gd name="connsiteY1" fmla="*/ 1264476 h 1327976"/>
                <a:gd name="connsiteX2" fmla="*/ 43921 w 1146826"/>
                <a:gd name="connsiteY2" fmla="*/ 1302576 h 1327976"/>
                <a:gd name="connsiteX3" fmla="*/ 104246 w 1146826"/>
                <a:gd name="connsiteY3" fmla="*/ 1324801 h 1327976"/>
                <a:gd name="connsiteX4" fmla="*/ 161396 w 1146826"/>
                <a:gd name="connsiteY4" fmla="*/ 1321626 h 1327976"/>
                <a:gd name="connsiteX5" fmla="*/ 205846 w 1146826"/>
                <a:gd name="connsiteY5" fmla="*/ 1289876 h 1327976"/>
                <a:gd name="connsiteX6" fmla="*/ 250296 w 1146826"/>
                <a:gd name="connsiteY6" fmla="*/ 1264476 h 1327976"/>
                <a:gd name="connsiteX7" fmla="*/ 332846 w 1146826"/>
                <a:gd name="connsiteY7" fmla="*/ 1258126 h 1327976"/>
                <a:gd name="connsiteX8" fmla="*/ 377296 w 1146826"/>
                <a:gd name="connsiteY8" fmla="*/ 1267651 h 1327976"/>
                <a:gd name="connsiteX9" fmla="*/ 440796 w 1146826"/>
                <a:gd name="connsiteY9" fmla="*/ 1261301 h 1327976"/>
                <a:gd name="connsiteX10" fmla="*/ 491596 w 1146826"/>
                <a:gd name="connsiteY10" fmla="*/ 1261301 h 1327976"/>
                <a:gd name="connsiteX11" fmla="*/ 567796 w 1146826"/>
                <a:gd name="connsiteY11" fmla="*/ 1251776 h 1327976"/>
                <a:gd name="connsiteX12" fmla="*/ 596371 w 1146826"/>
                <a:gd name="connsiteY12" fmla="*/ 1210501 h 1327976"/>
                <a:gd name="connsiteX13" fmla="*/ 656696 w 1146826"/>
                <a:gd name="connsiteY13" fmla="*/ 1143826 h 1327976"/>
                <a:gd name="connsiteX14" fmla="*/ 666221 w 1146826"/>
                <a:gd name="connsiteY14" fmla="*/ 1086676 h 1327976"/>
                <a:gd name="connsiteX15" fmla="*/ 720196 w 1146826"/>
                <a:gd name="connsiteY15" fmla="*/ 1026351 h 1327976"/>
                <a:gd name="connsiteX16" fmla="*/ 736071 w 1146826"/>
                <a:gd name="connsiteY16" fmla="*/ 981901 h 1327976"/>
                <a:gd name="connsiteX17" fmla="*/ 764646 w 1146826"/>
                <a:gd name="connsiteY17" fmla="*/ 940626 h 1327976"/>
                <a:gd name="connsiteX18" fmla="*/ 815446 w 1146826"/>
                <a:gd name="connsiteY18" fmla="*/ 889826 h 1327976"/>
                <a:gd name="connsiteX19" fmla="*/ 783696 w 1146826"/>
                <a:gd name="connsiteY19" fmla="*/ 823151 h 1327976"/>
                <a:gd name="connsiteX20" fmla="*/ 829230 w 1146826"/>
                <a:gd name="connsiteY20" fmla="*/ 761808 h 1327976"/>
                <a:gd name="connsiteX21" fmla="*/ 865638 w 1146826"/>
                <a:gd name="connsiteY21" fmla="*/ 699378 h 1327976"/>
                <a:gd name="connsiteX22" fmla="*/ 881019 w 1146826"/>
                <a:gd name="connsiteY22" fmla="*/ 617864 h 1327976"/>
                <a:gd name="connsiteX23" fmla="*/ 896094 w 1146826"/>
                <a:gd name="connsiteY23" fmla="*/ 540576 h 1327976"/>
                <a:gd name="connsiteX24" fmla="*/ 905221 w 1146826"/>
                <a:gd name="connsiteY24" fmla="*/ 417786 h 1327976"/>
                <a:gd name="connsiteX25" fmla="*/ 885886 w 1146826"/>
                <a:gd name="connsiteY25" fmla="*/ 374284 h 1327976"/>
                <a:gd name="connsiteX26" fmla="*/ 898967 w 1146826"/>
                <a:gd name="connsiteY26" fmla="*/ 307748 h 1327976"/>
                <a:gd name="connsiteX27" fmla="*/ 891836 w 1146826"/>
                <a:gd name="connsiteY27" fmla="*/ 247148 h 1327976"/>
                <a:gd name="connsiteX28" fmla="*/ 906133 w 1146826"/>
                <a:gd name="connsiteY28" fmla="*/ 170241 h 1327976"/>
                <a:gd name="connsiteX29" fmla="*/ 967846 w 1146826"/>
                <a:gd name="connsiteY29" fmla="*/ 142719 h 1327976"/>
                <a:gd name="connsiteX30" fmla="*/ 1045661 w 1146826"/>
                <a:gd name="connsiteY30" fmla="*/ 118440 h 1327976"/>
                <a:gd name="connsiteX31" fmla="*/ 1115474 w 1146826"/>
                <a:gd name="connsiteY31" fmla="*/ 53957 h 1327976"/>
                <a:gd name="connsiteX32" fmla="*/ 1146825 w 1146826"/>
                <a:gd name="connsiteY32" fmla="*/ 0 h 1327976"/>
                <a:gd name="connsiteX0" fmla="*/ 59796 w 1115473"/>
                <a:gd name="connsiteY0" fmla="*/ 1166069 h 1274019"/>
                <a:gd name="connsiteX1" fmla="*/ 2646 w 1115473"/>
                <a:gd name="connsiteY1" fmla="*/ 1210519 h 1274019"/>
                <a:gd name="connsiteX2" fmla="*/ 43921 w 1115473"/>
                <a:gd name="connsiteY2" fmla="*/ 1248619 h 1274019"/>
                <a:gd name="connsiteX3" fmla="*/ 104246 w 1115473"/>
                <a:gd name="connsiteY3" fmla="*/ 1270844 h 1274019"/>
                <a:gd name="connsiteX4" fmla="*/ 161396 w 1115473"/>
                <a:gd name="connsiteY4" fmla="*/ 1267669 h 1274019"/>
                <a:gd name="connsiteX5" fmla="*/ 205846 w 1115473"/>
                <a:gd name="connsiteY5" fmla="*/ 1235919 h 1274019"/>
                <a:gd name="connsiteX6" fmla="*/ 250296 w 1115473"/>
                <a:gd name="connsiteY6" fmla="*/ 1210519 h 1274019"/>
                <a:gd name="connsiteX7" fmla="*/ 332846 w 1115473"/>
                <a:gd name="connsiteY7" fmla="*/ 1204169 h 1274019"/>
                <a:gd name="connsiteX8" fmla="*/ 377296 w 1115473"/>
                <a:gd name="connsiteY8" fmla="*/ 1213694 h 1274019"/>
                <a:gd name="connsiteX9" fmla="*/ 440796 w 1115473"/>
                <a:gd name="connsiteY9" fmla="*/ 1207344 h 1274019"/>
                <a:gd name="connsiteX10" fmla="*/ 491596 w 1115473"/>
                <a:gd name="connsiteY10" fmla="*/ 1207344 h 1274019"/>
                <a:gd name="connsiteX11" fmla="*/ 567796 w 1115473"/>
                <a:gd name="connsiteY11" fmla="*/ 1197819 h 1274019"/>
                <a:gd name="connsiteX12" fmla="*/ 596371 w 1115473"/>
                <a:gd name="connsiteY12" fmla="*/ 1156544 h 1274019"/>
                <a:gd name="connsiteX13" fmla="*/ 656696 w 1115473"/>
                <a:gd name="connsiteY13" fmla="*/ 1089869 h 1274019"/>
                <a:gd name="connsiteX14" fmla="*/ 666221 w 1115473"/>
                <a:gd name="connsiteY14" fmla="*/ 1032719 h 1274019"/>
                <a:gd name="connsiteX15" fmla="*/ 720196 w 1115473"/>
                <a:gd name="connsiteY15" fmla="*/ 972394 h 1274019"/>
                <a:gd name="connsiteX16" fmla="*/ 736071 w 1115473"/>
                <a:gd name="connsiteY16" fmla="*/ 927944 h 1274019"/>
                <a:gd name="connsiteX17" fmla="*/ 764646 w 1115473"/>
                <a:gd name="connsiteY17" fmla="*/ 886669 h 1274019"/>
                <a:gd name="connsiteX18" fmla="*/ 815446 w 1115473"/>
                <a:gd name="connsiteY18" fmla="*/ 835869 h 1274019"/>
                <a:gd name="connsiteX19" fmla="*/ 783696 w 1115473"/>
                <a:gd name="connsiteY19" fmla="*/ 769194 h 1274019"/>
                <a:gd name="connsiteX20" fmla="*/ 829230 w 1115473"/>
                <a:gd name="connsiteY20" fmla="*/ 707851 h 1274019"/>
                <a:gd name="connsiteX21" fmla="*/ 865638 w 1115473"/>
                <a:gd name="connsiteY21" fmla="*/ 645421 h 1274019"/>
                <a:gd name="connsiteX22" fmla="*/ 881019 w 1115473"/>
                <a:gd name="connsiteY22" fmla="*/ 563907 h 1274019"/>
                <a:gd name="connsiteX23" fmla="*/ 896094 w 1115473"/>
                <a:gd name="connsiteY23" fmla="*/ 486619 h 1274019"/>
                <a:gd name="connsiteX24" fmla="*/ 905221 w 1115473"/>
                <a:gd name="connsiteY24" fmla="*/ 363829 h 1274019"/>
                <a:gd name="connsiteX25" fmla="*/ 885886 w 1115473"/>
                <a:gd name="connsiteY25" fmla="*/ 320327 h 1274019"/>
                <a:gd name="connsiteX26" fmla="*/ 898967 w 1115473"/>
                <a:gd name="connsiteY26" fmla="*/ 253791 h 1274019"/>
                <a:gd name="connsiteX27" fmla="*/ 891836 w 1115473"/>
                <a:gd name="connsiteY27" fmla="*/ 193191 h 1274019"/>
                <a:gd name="connsiteX28" fmla="*/ 906133 w 1115473"/>
                <a:gd name="connsiteY28" fmla="*/ 116284 h 1274019"/>
                <a:gd name="connsiteX29" fmla="*/ 967846 w 1115473"/>
                <a:gd name="connsiteY29" fmla="*/ 88762 h 1274019"/>
                <a:gd name="connsiteX30" fmla="*/ 1045661 w 1115473"/>
                <a:gd name="connsiteY30" fmla="*/ 64483 h 1274019"/>
                <a:gd name="connsiteX31" fmla="*/ 1115474 w 1115473"/>
                <a:gd name="connsiteY31" fmla="*/ 0 h 1274019"/>
                <a:gd name="connsiteX0" fmla="*/ 59796 w 1045661"/>
                <a:gd name="connsiteY0" fmla="*/ 1101587 h 1209537"/>
                <a:gd name="connsiteX1" fmla="*/ 2646 w 1045661"/>
                <a:gd name="connsiteY1" fmla="*/ 1146037 h 1209537"/>
                <a:gd name="connsiteX2" fmla="*/ 43921 w 1045661"/>
                <a:gd name="connsiteY2" fmla="*/ 1184137 h 1209537"/>
                <a:gd name="connsiteX3" fmla="*/ 104246 w 1045661"/>
                <a:gd name="connsiteY3" fmla="*/ 1206362 h 1209537"/>
                <a:gd name="connsiteX4" fmla="*/ 161396 w 1045661"/>
                <a:gd name="connsiteY4" fmla="*/ 1203187 h 1209537"/>
                <a:gd name="connsiteX5" fmla="*/ 205846 w 1045661"/>
                <a:gd name="connsiteY5" fmla="*/ 1171437 h 1209537"/>
                <a:gd name="connsiteX6" fmla="*/ 250296 w 1045661"/>
                <a:gd name="connsiteY6" fmla="*/ 1146037 h 1209537"/>
                <a:gd name="connsiteX7" fmla="*/ 332846 w 1045661"/>
                <a:gd name="connsiteY7" fmla="*/ 1139687 h 1209537"/>
                <a:gd name="connsiteX8" fmla="*/ 377296 w 1045661"/>
                <a:gd name="connsiteY8" fmla="*/ 1149212 h 1209537"/>
                <a:gd name="connsiteX9" fmla="*/ 440796 w 1045661"/>
                <a:gd name="connsiteY9" fmla="*/ 1142862 h 1209537"/>
                <a:gd name="connsiteX10" fmla="*/ 491596 w 1045661"/>
                <a:gd name="connsiteY10" fmla="*/ 1142862 h 1209537"/>
                <a:gd name="connsiteX11" fmla="*/ 567796 w 1045661"/>
                <a:gd name="connsiteY11" fmla="*/ 1133337 h 1209537"/>
                <a:gd name="connsiteX12" fmla="*/ 596371 w 1045661"/>
                <a:gd name="connsiteY12" fmla="*/ 1092062 h 1209537"/>
                <a:gd name="connsiteX13" fmla="*/ 656696 w 1045661"/>
                <a:gd name="connsiteY13" fmla="*/ 1025387 h 1209537"/>
                <a:gd name="connsiteX14" fmla="*/ 666221 w 1045661"/>
                <a:gd name="connsiteY14" fmla="*/ 968237 h 1209537"/>
                <a:gd name="connsiteX15" fmla="*/ 720196 w 1045661"/>
                <a:gd name="connsiteY15" fmla="*/ 907912 h 1209537"/>
                <a:gd name="connsiteX16" fmla="*/ 736071 w 1045661"/>
                <a:gd name="connsiteY16" fmla="*/ 863462 h 1209537"/>
                <a:gd name="connsiteX17" fmla="*/ 764646 w 1045661"/>
                <a:gd name="connsiteY17" fmla="*/ 822187 h 1209537"/>
                <a:gd name="connsiteX18" fmla="*/ 815446 w 1045661"/>
                <a:gd name="connsiteY18" fmla="*/ 771387 h 1209537"/>
                <a:gd name="connsiteX19" fmla="*/ 783696 w 1045661"/>
                <a:gd name="connsiteY19" fmla="*/ 704712 h 1209537"/>
                <a:gd name="connsiteX20" fmla="*/ 829230 w 1045661"/>
                <a:gd name="connsiteY20" fmla="*/ 643369 h 1209537"/>
                <a:gd name="connsiteX21" fmla="*/ 865638 w 1045661"/>
                <a:gd name="connsiteY21" fmla="*/ 580939 h 1209537"/>
                <a:gd name="connsiteX22" fmla="*/ 881019 w 1045661"/>
                <a:gd name="connsiteY22" fmla="*/ 499425 h 1209537"/>
                <a:gd name="connsiteX23" fmla="*/ 896094 w 1045661"/>
                <a:gd name="connsiteY23" fmla="*/ 422137 h 1209537"/>
                <a:gd name="connsiteX24" fmla="*/ 905221 w 1045661"/>
                <a:gd name="connsiteY24" fmla="*/ 299347 h 1209537"/>
                <a:gd name="connsiteX25" fmla="*/ 885886 w 1045661"/>
                <a:gd name="connsiteY25" fmla="*/ 255845 h 1209537"/>
                <a:gd name="connsiteX26" fmla="*/ 898967 w 1045661"/>
                <a:gd name="connsiteY26" fmla="*/ 189309 h 1209537"/>
                <a:gd name="connsiteX27" fmla="*/ 891836 w 1045661"/>
                <a:gd name="connsiteY27" fmla="*/ 128709 h 1209537"/>
                <a:gd name="connsiteX28" fmla="*/ 906133 w 1045661"/>
                <a:gd name="connsiteY28" fmla="*/ 51802 h 1209537"/>
                <a:gd name="connsiteX29" fmla="*/ 967846 w 1045661"/>
                <a:gd name="connsiteY29" fmla="*/ 24280 h 1209537"/>
                <a:gd name="connsiteX30" fmla="*/ 1045661 w 1045661"/>
                <a:gd name="connsiteY30" fmla="*/ 1 h 1209537"/>
                <a:gd name="connsiteX0" fmla="*/ 59796 w 967846"/>
                <a:gd name="connsiteY0" fmla="*/ 1077307 h 1185257"/>
                <a:gd name="connsiteX1" fmla="*/ 2646 w 967846"/>
                <a:gd name="connsiteY1" fmla="*/ 1121757 h 1185257"/>
                <a:gd name="connsiteX2" fmla="*/ 43921 w 967846"/>
                <a:gd name="connsiteY2" fmla="*/ 1159857 h 1185257"/>
                <a:gd name="connsiteX3" fmla="*/ 104246 w 967846"/>
                <a:gd name="connsiteY3" fmla="*/ 1182082 h 1185257"/>
                <a:gd name="connsiteX4" fmla="*/ 161396 w 967846"/>
                <a:gd name="connsiteY4" fmla="*/ 1178907 h 1185257"/>
                <a:gd name="connsiteX5" fmla="*/ 205846 w 967846"/>
                <a:gd name="connsiteY5" fmla="*/ 1147157 h 1185257"/>
                <a:gd name="connsiteX6" fmla="*/ 250296 w 967846"/>
                <a:gd name="connsiteY6" fmla="*/ 1121757 h 1185257"/>
                <a:gd name="connsiteX7" fmla="*/ 332846 w 967846"/>
                <a:gd name="connsiteY7" fmla="*/ 1115407 h 1185257"/>
                <a:gd name="connsiteX8" fmla="*/ 377296 w 967846"/>
                <a:gd name="connsiteY8" fmla="*/ 1124932 h 1185257"/>
                <a:gd name="connsiteX9" fmla="*/ 440796 w 967846"/>
                <a:gd name="connsiteY9" fmla="*/ 1118582 h 1185257"/>
                <a:gd name="connsiteX10" fmla="*/ 491596 w 967846"/>
                <a:gd name="connsiteY10" fmla="*/ 1118582 h 1185257"/>
                <a:gd name="connsiteX11" fmla="*/ 567796 w 967846"/>
                <a:gd name="connsiteY11" fmla="*/ 1109057 h 1185257"/>
                <a:gd name="connsiteX12" fmla="*/ 596371 w 967846"/>
                <a:gd name="connsiteY12" fmla="*/ 1067782 h 1185257"/>
                <a:gd name="connsiteX13" fmla="*/ 656696 w 967846"/>
                <a:gd name="connsiteY13" fmla="*/ 1001107 h 1185257"/>
                <a:gd name="connsiteX14" fmla="*/ 666221 w 967846"/>
                <a:gd name="connsiteY14" fmla="*/ 943957 h 1185257"/>
                <a:gd name="connsiteX15" fmla="*/ 720196 w 967846"/>
                <a:gd name="connsiteY15" fmla="*/ 883632 h 1185257"/>
                <a:gd name="connsiteX16" fmla="*/ 736071 w 967846"/>
                <a:gd name="connsiteY16" fmla="*/ 839182 h 1185257"/>
                <a:gd name="connsiteX17" fmla="*/ 764646 w 967846"/>
                <a:gd name="connsiteY17" fmla="*/ 797907 h 1185257"/>
                <a:gd name="connsiteX18" fmla="*/ 815446 w 967846"/>
                <a:gd name="connsiteY18" fmla="*/ 747107 h 1185257"/>
                <a:gd name="connsiteX19" fmla="*/ 783696 w 967846"/>
                <a:gd name="connsiteY19" fmla="*/ 680432 h 1185257"/>
                <a:gd name="connsiteX20" fmla="*/ 829230 w 967846"/>
                <a:gd name="connsiteY20" fmla="*/ 619089 h 1185257"/>
                <a:gd name="connsiteX21" fmla="*/ 865638 w 967846"/>
                <a:gd name="connsiteY21" fmla="*/ 556659 h 1185257"/>
                <a:gd name="connsiteX22" fmla="*/ 881019 w 967846"/>
                <a:gd name="connsiteY22" fmla="*/ 475145 h 1185257"/>
                <a:gd name="connsiteX23" fmla="*/ 896094 w 967846"/>
                <a:gd name="connsiteY23" fmla="*/ 397857 h 1185257"/>
                <a:gd name="connsiteX24" fmla="*/ 905221 w 967846"/>
                <a:gd name="connsiteY24" fmla="*/ 275067 h 1185257"/>
                <a:gd name="connsiteX25" fmla="*/ 885886 w 967846"/>
                <a:gd name="connsiteY25" fmla="*/ 231565 h 1185257"/>
                <a:gd name="connsiteX26" fmla="*/ 898967 w 967846"/>
                <a:gd name="connsiteY26" fmla="*/ 165029 h 1185257"/>
                <a:gd name="connsiteX27" fmla="*/ 891836 w 967846"/>
                <a:gd name="connsiteY27" fmla="*/ 104429 h 1185257"/>
                <a:gd name="connsiteX28" fmla="*/ 906133 w 967846"/>
                <a:gd name="connsiteY28" fmla="*/ 27522 h 1185257"/>
                <a:gd name="connsiteX29" fmla="*/ 967846 w 967846"/>
                <a:gd name="connsiteY29" fmla="*/ 0 h 1185257"/>
                <a:gd name="connsiteX0" fmla="*/ 59796 w 906922"/>
                <a:gd name="connsiteY0" fmla="*/ 1049785 h 1157735"/>
                <a:gd name="connsiteX1" fmla="*/ 2646 w 906922"/>
                <a:gd name="connsiteY1" fmla="*/ 1094235 h 1157735"/>
                <a:gd name="connsiteX2" fmla="*/ 43921 w 906922"/>
                <a:gd name="connsiteY2" fmla="*/ 1132335 h 1157735"/>
                <a:gd name="connsiteX3" fmla="*/ 104246 w 906922"/>
                <a:gd name="connsiteY3" fmla="*/ 1154560 h 1157735"/>
                <a:gd name="connsiteX4" fmla="*/ 161396 w 906922"/>
                <a:gd name="connsiteY4" fmla="*/ 1151385 h 1157735"/>
                <a:gd name="connsiteX5" fmla="*/ 205846 w 906922"/>
                <a:gd name="connsiteY5" fmla="*/ 1119635 h 1157735"/>
                <a:gd name="connsiteX6" fmla="*/ 250296 w 906922"/>
                <a:gd name="connsiteY6" fmla="*/ 1094235 h 1157735"/>
                <a:gd name="connsiteX7" fmla="*/ 332846 w 906922"/>
                <a:gd name="connsiteY7" fmla="*/ 1087885 h 1157735"/>
                <a:gd name="connsiteX8" fmla="*/ 377296 w 906922"/>
                <a:gd name="connsiteY8" fmla="*/ 1097410 h 1157735"/>
                <a:gd name="connsiteX9" fmla="*/ 440796 w 906922"/>
                <a:gd name="connsiteY9" fmla="*/ 1091060 h 1157735"/>
                <a:gd name="connsiteX10" fmla="*/ 491596 w 906922"/>
                <a:gd name="connsiteY10" fmla="*/ 1091060 h 1157735"/>
                <a:gd name="connsiteX11" fmla="*/ 567796 w 906922"/>
                <a:gd name="connsiteY11" fmla="*/ 1081535 h 1157735"/>
                <a:gd name="connsiteX12" fmla="*/ 596371 w 906922"/>
                <a:gd name="connsiteY12" fmla="*/ 1040260 h 1157735"/>
                <a:gd name="connsiteX13" fmla="*/ 656696 w 906922"/>
                <a:gd name="connsiteY13" fmla="*/ 973585 h 1157735"/>
                <a:gd name="connsiteX14" fmla="*/ 666221 w 906922"/>
                <a:gd name="connsiteY14" fmla="*/ 916435 h 1157735"/>
                <a:gd name="connsiteX15" fmla="*/ 720196 w 906922"/>
                <a:gd name="connsiteY15" fmla="*/ 856110 h 1157735"/>
                <a:gd name="connsiteX16" fmla="*/ 736071 w 906922"/>
                <a:gd name="connsiteY16" fmla="*/ 811660 h 1157735"/>
                <a:gd name="connsiteX17" fmla="*/ 764646 w 906922"/>
                <a:gd name="connsiteY17" fmla="*/ 770385 h 1157735"/>
                <a:gd name="connsiteX18" fmla="*/ 815446 w 906922"/>
                <a:gd name="connsiteY18" fmla="*/ 719585 h 1157735"/>
                <a:gd name="connsiteX19" fmla="*/ 783696 w 906922"/>
                <a:gd name="connsiteY19" fmla="*/ 652910 h 1157735"/>
                <a:gd name="connsiteX20" fmla="*/ 829230 w 906922"/>
                <a:gd name="connsiteY20" fmla="*/ 591567 h 1157735"/>
                <a:gd name="connsiteX21" fmla="*/ 865638 w 906922"/>
                <a:gd name="connsiteY21" fmla="*/ 529137 h 1157735"/>
                <a:gd name="connsiteX22" fmla="*/ 881019 w 906922"/>
                <a:gd name="connsiteY22" fmla="*/ 447623 h 1157735"/>
                <a:gd name="connsiteX23" fmla="*/ 896094 w 906922"/>
                <a:gd name="connsiteY23" fmla="*/ 370335 h 1157735"/>
                <a:gd name="connsiteX24" fmla="*/ 905221 w 906922"/>
                <a:gd name="connsiteY24" fmla="*/ 247545 h 1157735"/>
                <a:gd name="connsiteX25" fmla="*/ 885886 w 906922"/>
                <a:gd name="connsiteY25" fmla="*/ 204043 h 1157735"/>
                <a:gd name="connsiteX26" fmla="*/ 898967 w 906922"/>
                <a:gd name="connsiteY26" fmla="*/ 137507 h 1157735"/>
                <a:gd name="connsiteX27" fmla="*/ 891836 w 906922"/>
                <a:gd name="connsiteY27" fmla="*/ 76907 h 1157735"/>
                <a:gd name="connsiteX28" fmla="*/ 906133 w 906922"/>
                <a:gd name="connsiteY28" fmla="*/ 0 h 1157735"/>
                <a:gd name="connsiteX0" fmla="*/ 59796 w 906922"/>
                <a:gd name="connsiteY0" fmla="*/ 972878 h 1080828"/>
                <a:gd name="connsiteX1" fmla="*/ 2646 w 906922"/>
                <a:gd name="connsiteY1" fmla="*/ 1017328 h 1080828"/>
                <a:gd name="connsiteX2" fmla="*/ 43921 w 906922"/>
                <a:gd name="connsiteY2" fmla="*/ 1055428 h 1080828"/>
                <a:gd name="connsiteX3" fmla="*/ 104246 w 906922"/>
                <a:gd name="connsiteY3" fmla="*/ 1077653 h 1080828"/>
                <a:gd name="connsiteX4" fmla="*/ 161396 w 906922"/>
                <a:gd name="connsiteY4" fmla="*/ 1074478 h 1080828"/>
                <a:gd name="connsiteX5" fmla="*/ 205846 w 906922"/>
                <a:gd name="connsiteY5" fmla="*/ 1042728 h 1080828"/>
                <a:gd name="connsiteX6" fmla="*/ 250296 w 906922"/>
                <a:gd name="connsiteY6" fmla="*/ 1017328 h 1080828"/>
                <a:gd name="connsiteX7" fmla="*/ 332846 w 906922"/>
                <a:gd name="connsiteY7" fmla="*/ 1010978 h 1080828"/>
                <a:gd name="connsiteX8" fmla="*/ 377296 w 906922"/>
                <a:gd name="connsiteY8" fmla="*/ 1020503 h 1080828"/>
                <a:gd name="connsiteX9" fmla="*/ 440796 w 906922"/>
                <a:gd name="connsiteY9" fmla="*/ 1014153 h 1080828"/>
                <a:gd name="connsiteX10" fmla="*/ 491596 w 906922"/>
                <a:gd name="connsiteY10" fmla="*/ 1014153 h 1080828"/>
                <a:gd name="connsiteX11" fmla="*/ 567796 w 906922"/>
                <a:gd name="connsiteY11" fmla="*/ 1004628 h 1080828"/>
                <a:gd name="connsiteX12" fmla="*/ 596371 w 906922"/>
                <a:gd name="connsiteY12" fmla="*/ 963353 h 1080828"/>
                <a:gd name="connsiteX13" fmla="*/ 656696 w 906922"/>
                <a:gd name="connsiteY13" fmla="*/ 896678 h 1080828"/>
                <a:gd name="connsiteX14" fmla="*/ 666221 w 906922"/>
                <a:gd name="connsiteY14" fmla="*/ 839528 h 1080828"/>
                <a:gd name="connsiteX15" fmla="*/ 720196 w 906922"/>
                <a:gd name="connsiteY15" fmla="*/ 779203 h 1080828"/>
                <a:gd name="connsiteX16" fmla="*/ 736071 w 906922"/>
                <a:gd name="connsiteY16" fmla="*/ 734753 h 1080828"/>
                <a:gd name="connsiteX17" fmla="*/ 764646 w 906922"/>
                <a:gd name="connsiteY17" fmla="*/ 693478 h 1080828"/>
                <a:gd name="connsiteX18" fmla="*/ 815446 w 906922"/>
                <a:gd name="connsiteY18" fmla="*/ 642678 h 1080828"/>
                <a:gd name="connsiteX19" fmla="*/ 783696 w 906922"/>
                <a:gd name="connsiteY19" fmla="*/ 576003 h 1080828"/>
                <a:gd name="connsiteX20" fmla="*/ 829230 w 906922"/>
                <a:gd name="connsiteY20" fmla="*/ 514660 h 1080828"/>
                <a:gd name="connsiteX21" fmla="*/ 865638 w 906922"/>
                <a:gd name="connsiteY21" fmla="*/ 452230 h 1080828"/>
                <a:gd name="connsiteX22" fmla="*/ 881019 w 906922"/>
                <a:gd name="connsiteY22" fmla="*/ 370716 h 1080828"/>
                <a:gd name="connsiteX23" fmla="*/ 896094 w 906922"/>
                <a:gd name="connsiteY23" fmla="*/ 293428 h 1080828"/>
                <a:gd name="connsiteX24" fmla="*/ 905221 w 906922"/>
                <a:gd name="connsiteY24" fmla="*/ 170638 h 1080828"/>
                <a:gd name="connsiteX25" fmla="*/ 885886 w 906922"/>
                <a:gd name="connsiteY25" fmla="*/ 127136 h 1080828"/>
                <a:gd name="connsiteX26" fmla="*/ 898967 w 906922"/>
                <a:gd name="connsiteY26" fmla="*/ 60600 h 1080828"/>
                <a:gd name="connsiteX27" fmla="*/ 891836 w 906922"/>
                <a:gd name="connsiteY27" fmla="*/ 0 h 1080828"/>
                <a:gd name="connsiteX0" fmla="*/ 59796 w 906922"/>
                <a:gd name="connsiteY0" fmla="*/ 912279 h 1020229"/>
                <a:gd name="connsiteX1" fmla="*/ 2646 w 906922"/>
                <a:gd name="connsiteY1" fmla="*/ 956729 h 1020229"/>
                <a:gd name="connsiteX2" fmla="*/ 43921 w 906922"/>
                <a:gd name="connsiteY2" fmla="*/ 994829 h 1020229"/>
                <a:gd name="connsiteX3" fmla="*/ 104246 w 906922"/>
                <a:gd name="connsiteY3" fmla="*/ 1017054 h 1020229"/>
                <a:gd name="connsiteX4" fmla="*/ 161396 w 906922"/>
                <a:gd name="connsiteY4" fmla="*/ 1013879 h 1020229"/>
                <a:gd name="connsiteX5" fmla="*/ 205846 w 906922"/>
                <a:gd name="connsiteY5" fmla="*/ 982129 h 1020229"/>
                <a:gd name="connsiteX6" fmla="*/ 250296 w 906922"/>
                <a:gd name="connsiteY6" fmla="*/ 956729 h 1020229"/>
                <a:gd name="connsiteX7" fmla="*/ 332846 w 906922"/>
                <a:gd name="connsiteY7" fmla="*/ 950379 h 1020229"/>
                <a:gd name="connsiteX8" fmla="*/ 377296 w 906922"/>
                <a:gd name="connsiteY8" fmla="*/ 959904 h 1020229"/>
                <a:gd name="connsiteX9" fmla="*/ 440796 w 906922"/>
                <a:gd name="connsiteY9" fmla="*/ 953554 h 1020229"/>
                <a:gd name="connsiteX10" fmla="*/ 491596 w 906922"/>
                <a:gd name="connsiteY10" fmla="*/ 953554 h 1020229"/>
                <a:gd name="connsiteX11" fmla="*/ 567796 w 906922"/>
                <a:gd name="connsiteY11" fmla="*/ 944029 h 1020229"/>
                <a:gd name="connsiteX12" fmla="*/ 596371 w 906922"/>
                <a:gd name="connsiteY12" fmla="*/ 902754 h 1020229"/>
                <a:gd name="connsiteX13" fmla="*/ 656696 w 906922"/>
                <a:gd name="connsiteY13" fmla="*/ 836079 h 1020229"/>
                <a:gd name="connsiteX14" fmla="*/ 666221 w 906922"/>
                <a:gd name="connsiteY14" fmla="*/ 778929 h 1020229"/>
                <a:gd name="connsiteX15" fmla="*/ 720196 w 906922"/>
                <a:gd name="connsiteY15" fmla="*/ 718604 h 1020229"/>
                <a:gd name="connsiteX16" fmla="*/ 736071 w 906922"/>
                <a:gd name="connsiteY16" fmla="*/ 674154 h 1020229"/>
                <a:gd name="connsiteX17" fmla="*/ 764646 w 906922"/>
                <a:gd name="connsiteY17" fmla="*/ 632879 h 1020229"/>
                <a:gd name="connsiteX18" fmla="*/ 815446 w 906922"/>
                <a:gd name="connsiteY18" fmla="*/ 582079 h 1020229"/>
                <a:gd name="connsiteX19" fmla="*/ 783696 w 906922"/>
                <a:gd name="connsiteY19" fmla="*/ 515404 h 1020229"/>
                <a:gd name="connsiteX20" fmla="*/ 829230 w 906922"/>
                <a:gd name="connsiteY20" fmla="*/ 454061 h 1020229"/>
                <a:gd name="connsiteX21" fmla="*/ 865638 w 906922"/>
                <a:gd name="connsiteY21" fmla="*/ 391631 h 1020229"/>
                <a:gd name="connsiteX22" fmla="*/ 881019 w 906922"/>
                <a:gd name="connsiteY22" fmla="*/ 310117 h 1020229"/>
                <a:gd name="connsiteX23" fmla="*/ 896094 w 906922"/>
                <a:gd name="connsiteY23" fmla="*/ 232829 h 1020229"/>
                <a:gd name="connsiteX24" fmla="*/ 905221 w 906922"/>
                <a:gd name="connsiteY24" fmla="*/ 110039 h 1020229"/>
                <a:gd name="connsiteX25" fmla="*/ 885886 w 906922"/>
                <a:gd name="connsiteY25" fmla="*/ 66537 h 1020229"/>
                <a:gd name="connsiteX26" fmla="*/ 898967 w 906922"/>
                <a:gd name="connsiteY26" fmla="*/ 1 h 1020229"/>
                <a:gd name="connsiteX0" fmla="*/ 59796 w 906922"/>
                <a:gd name="connsiteY0" fmla="*/ 845742 h 953692"/>
                <a:gd name="connsiteX1" fmla="*/ 2646 w 906922"/>
                <a:gd name="connsiteY1" fmla="*/ 890192 h 953692"/>
                <a:gd name="connsiteX2" fmla="*/ 43921 w 906922"/>
                <a:gd name="connsiteY2" fmla="*/ 928292 h 953692"/>
                <a:gd name="connsiteX3" fmla="*/ 104246 w 906922"/>
                <a:gd name="connsiteY3" fmla="*/ 950517 h 953692"/>
                <a:gd name="connsiteX4" fmla="*/ 161396 w 906922"/>
                <a:gd name="connsiteY4" fmla="*/ 947342 h 953692"/>
                <a:gd name="connsiteX5" fmla="*/ 205846 w 906922"/>
                <a:gd name="connsiteY5" fmla="*/ 915592 h 953692"/>
                <a:gd name="connsiteX6" fmla="*/ 250296 w 906922"/>
                <a:gd name="connsiteY6" fmla="*/ 890192 h 953692"/>
                <a:gd name="connsiteX7" fmla="*/ 332846 w 906922"/>
                <a:gd name="connsiteY7" fmla="*/ 883842 h 953692"/>
                <a:gd name="connsiteX8" fmla="*/ 377296 w 906922"/>
                <a:gd name="connsiteY8" fmla="*/ 893367 h 953692"/>
                <a:gd name="connsiteX9" fmla="*/ 440796 w 906922"/>
                <a:gd name="connsiteY9" fmla="*/ 887017 h 953692"/>
                <a:gd name="connsiteX10" fmla="*/ 491596 w 906922"/>
                <a:gd name="connsiteY10" fmla="*/ 887017 h 953692"/>
                <a:gd name="connsiteX11" fmla="*/ 567796 w 906922"/>
                <a:gd name="connsiteY11" fmla="*/ 877492 h 953692"/>
                <a:gd name="connsiteX12" fmla="*/ 596371 w 906922"/>
                <a:gd name="connsiteY12" fmla="*/ 836217 h 953692"/>
                <a:gd name="connsiteX13" fmla="*/ 656696 w 906922"/>
                <a:gd name="connsiteY13" fmla="*/ 769542 h 953692"/>
                <a:gd name="connsiteX14" fmla="*/ 666221 w 906922"/>
                <a:gd name="connsiteY14" fmla="*/ 712392 h 953692"/>
                <a:gd name="connsiteX15" fmla="*/ 720196 w 906922"/>
                <a:gd name="connsiteY15" fmla="*/ 652067 h 953692"/>
                <a:gd name="connsiteX16" fmla="*/ 736071 w 906922"/>
                <a:gd name="connsiteY16" fmla="*/ 607617 h 953692"/>
                <a:gd name="connsiteX17" fmla="*/ 764646 w 906922"/>
                <a:gd name="connsiteY17" fmla="*/ 566342 h 953692"/>
                <a:gd name="connsiteX18" fmla="*/ 815446 w 906922"/>
                <a:gd name="connsiteY18" fmla="*/ 515542 h 953692"/>
                <a:gd name="connsiteX19" fmla="*/ 783696 w 906922"/>
                <a:gd name="connsiteY19" fmla="*/ 448867 h 953692"/>
                <a:gd name="connsiteX20" fmla="*/ 829230 w 906922"/>
                <a:gd name="connsiteY20" fmla="*/ 387524 h 953692"/>
                <a:gd name="connsiteX21" fmla="*/ 865638 w 906922"/>
                <a:gd name="connsiteY21" fmla="*/ 325094 h 953692"/>
                <a:gd name="connsiteX22" fmla="*/ 881019 w 906922"/>
                <a:gd name="connsiteY22" fmla="*/ 243580 h 953692"/>
                <a:gd name="connsiteX23" fmla="*/ 896094 w 906922"/>
                <a:gd name="connsiteY23" fmla="*/ 166292 h 953692"/>
                <a:gd name="connsiteX24" fmla="*/ 905221 w 906922"/>
                <a:gd name="connsiteY24" fmla="*/ 43502 h 953692"/>
                <a:gd name="connsiteX25" fmla="*/ 885886 w 906922"/>
                <a:gd name="connsiteY25" fmla="*/ 0 h 953692"/>
                <a:gd name="connsiteX0" fmla="*/ 59796 w 906922"/>
                <a:gd name="connsiteY0" fmla="*/ 802240 h 910190"/>
                <a:gd name="connsiteX1" fmla="*/ 2646 w 906922"/>
                <a:gd name="connsiteY1" fmla="*/ 846690 h 910190"/>
                <a:gd name="connsiteX2" fmla="*/ 43921 w 906922"/>
                <a:gd name="connsiteY2" fmla="*/ 884790 h 910190"/>
                <a:gd name="connsiteX3" fmla="*/ 104246 w 906922"/>
                <a:gd name="connsiteY3" fmla="*/ 907015 h 910190"/>
                <a:gd name="connsiteX4" fmla="*/ 161396 w 906922"/>
                <a:gd name="connsiteY4" fmla="*/ 903840 h 910190"/>
                <a:gd name="connsiteX5" fmla="*/ 205846 w 906922"/>
                <a:gd name="connsiteY5" fmla="*/ 872090 h 910190"/>
                <a:gd name="connsiteX6" fmla="*/ 250296 w 906922"/>
                <a:gd name="connsiteY6" fmla="*/ 846690 h 910190"/>
                <a:gd name="connsiteX7" fmla="*/ 332846 w 906922"/>
                <a:gd name="connsiteY7" fmla="*/ 840340 h 910190"/>
                <a:gd name="connsiteX8" fmla="*/ 377296 w 906922"/>
                <a:gd name="connsiteY8" fmla="*/ 849865 h 910190"/>
                <a:gd name="connsiteX9" fmla="*/ 440796 w 906922"/>
                <a:gd name="connsiteY9" fmla="*/ 843515 h 910190"/>
                <a:gd name="connsiteX10" fmla="*/ 491596 w 906922"/>
                <a:gd name="connsiteY10" fmla="*/ 843515 h 910190"/>
                <a:gd name="connsiteX11" fmla="*/ 567796 w 906922"/>
                <a:gd name="connsiteY11" fmla="*/ 833990 h 910190"/>
                <a:gd name="connsiteX12" fmla="*/ 596371 w 906922"/>
                <a:gd name="connsiteY12" fmla="*/ 792715 h 910190"/>
                <a:gd name="connsiteX13" fmla="*/ 656696 w 906922"/>
                <a:gd name="connsiteY13" fmla="*/ 726040 h 910190"/>
                <a:gd name="connsiteX14" fmla="*/ 666221 w 906922"/>
                <a:gd name="connsiteY14" fmla="*/ 668890 h 910190"/>
                <a:gd name="connsiteX15" fmla="*/ 720196 w 906922"/>
                <a:gd name="connsiteY15" fmla="*/ 608565 h 910190"/>
                <a:gd name="connsiteX16" fmla="*/ 736071 w 906922"/>
                <a:gd name="connsiteY16" fmla="*/ 564115 h 910190"/>
                <a:gd name="connsiteX17" fmla="*/ 764646 w 906922"/>
                <a:gd name="connsiteY17" fmla="*/ 522840 h 910190"/>
                <a:gd name="connsiteX18" fmla="*/ 815446 w 906922"/>
                <a:gd name="connsiteY18" fmla="*/ 472040 h 910190"/>
                <a:gd name="connsiteX19" fmla="*/ 783696 w 906922"/>
                <a:gd name="connsiteY19" fmla="*/ 405365 h 910190"/>
                <a:gd name="connsiteX20" fmla="*/ 829230 w 906922"/>
                <a:gd name="connsiteY20" fmla="*/ 344022 h 910190"/>
                <a:gd name="connsiteX21" fmla="*/ 865638 w 906922"/>
                <a:gd name="connsiteY21" fmla="*/ 281592 h 910190"/>
                <a:gd name="connsiteX22" fmla="*/ 881019 w 906922"/>
                <a:gd name="connsiteY22" fmla="*/ 200078 h 910190"/>
                <a:gd name="connsiteX23" fmla="*/ 896094 w 906922"/>
                <a:gd name="connsiteY23" fmla="*/ 122790 h 910190"/>
                <a:gd name="connsiteX24" fmla="*/ 905221 w 906922"/>
                <a:gd name="connsiteY24" fmla="*/ 0 h 910190"/>
                <a:gd name="connsiteX0" fmla="*/ 59796 w 896095"/>
                <a:gd name="connsiteY0" fmla="*/ 679450 h 787400"/>
                <a:gd name="connsiteX1" fmla="*/ 2646 w 896095"/>
                <a:gd name="connsiteY1" fmla="*/ 723900 h 787400"/>
                <a:gd name="connsiteX2" fmla="*/ 43921 w 896095"/>
                <a:gd name="connsiteY2" fmla="*/ 762000 h 787400"/>
                <a:gd name="connsiteX3" fmla="*/ 104246 w 896095"/>
                <a:gd name="connsiteY3" fmla="*/ 784225 h 787400"/>
                <a:gd name="connsiteX4" fmla="*/ 161396 w 896095"/>
                <a:gd name="connsiteY4" fmla="*/ 781050 h 787400"/>
                <a:gd name="connsiteX5" fmla="*/ 205846 w 896095"/>
                <a:gd name="connsiteY5" fmla="*/ 749300 h 787400"/>
                <a:gd name="connsiteX6" fmla="*/ 250296 w 896095"/>
                <a:gd name="connsiteY6" fmla="*/ 723900 h 787400"/>
                <a:gd name="connsiteX7" fmla="*/ 332846 w 896095"/>
                <a:gd name="connsiteY7" fmla="*/ 717550 h 787400"/>
                <a:gd name="connsiteX8" fmla="*/ 377296 w 896095"/>
                <a:gd name="connsiteY8" fmla="*/ 727075 h 787400"/>
                <a:gd name="connsiteX9" fmla="*/ 440796 w 896095"/>
                <a:gd name="connsiteY9" fmla="*/ 720725 h 787400"/>
                <a:gd name="connsiteX10" fmla="*/ 491596 w 896095"/>
                <a:gd name="connsiteY10" fmla="*/ 720725 h 787400"/>
                <a:gd name="connsiteX11" fmla="*/ 567796 w 896095"/>
                <a:gd name="connsiteY11" fmla="*/ 711200 h 787400"/>
                <a:gd name="connsiteX12" fmla="*/ 596371 w 896095"/>
                <a:gd name="connsiteY12" fmla="*/ 669925 h 787400"/>
                <a:gd name="connsiteX13" fmla="*/ 656696 w 896095"/>
                <a:gd name="connsiteY13" fmla="*/ 603250 h 787400"/>
                <a:gd name="connsiteX14" fmla="*/ 666221 w 896095"/>
                <a:gd name="connsiteY14" fmla="*/ 546100 h 787400"/>
                <a:gd name="connsiteX15" fmla="*/ 720196 w 896095"/>
                <a:gd name="connsiteY15" fmla="*/ 485775 h 787400"/>
                <a:gd name="connsiteX16" fmla="*/ 736071 w 896095"/>
                <a:gd name="connsiteY16" fmla="*/ 441325 h 787400"/>
                <a:gd name="connsiteX17" fmla="*/ 764646 w 896095"/>
                <a:gd name="connsiteY17" fmla="*/ 400050 h 787400"/>
                <a:gd name="connsiteX18" fmla="*/ 815446 w 896095"/>
                <a:gd name="connsiteY18" fmla="*/ 349250 h 787400"/>
                <a:gd name="connsiteX19" fmla="*/ 783696 w 896095"/>
                <a:gd name="connsiteY19" fmla="*/ 282575 h 787400"/>
                <a:gd name="connsiteX20" fmla="*/ 829230 w 896095"/>
                <a:gd name="connsiteY20" fmla="*/ 221232 h 787400"/>
                <a:gd name="connsiteX21" fmla="*/ 865638 w 896095"/>
                <a:gd name="connsiteY21" fmla="*/ 158802 h 787400"/>
                <a:gd name="connsiteX22" fmla="*/ 881019 w 896095"/>
                <a:gd name="connsiteY22" fmla="*/ 77288 h 787400"/>
                <a:gd name="connsiteX23" fmla="*/ 896094 w 896095"/>
                <a:gd name="connsiteY23" fmla="*/ 0 h 787400"/>
                <a:gd name="connsiteX0" fmla="*/ 59796 w 881019"/>
                <a:gd name="connsiteY0" fmla="*/ 602161 h 710111"/>
                <a:gd name="connsiteX1" fmla="*/ 2646 w 881019"/>
                <a:gd name="connsiteY1" fmla="*/ 646611 h 710111"/>
                <a:gd name="connsiteX2" fmla="*/ 43921 w 881019"/>
                <a:gd name="connsiteY2" fmla="*/ 684711 h 710111"/>
                <a:gd name="connsiteX3" fmla="*/ 104246 w 881019"/>
                <a:gd name="connsiteY3" fmla="*/ 706936 h 710111"/>
                <a:gd name="connsiteX4" fmla="*/ 161396 w 881019"/>
                <a:gd name="connsiteY4" fmla="*/ 703761 h 710111"/>
                <a:gd name="connsiteX5" fmla="*/ 205846 w 881019"/>
                <a:gd name="connsiteY5" fmla="*/ 672011 h 710111"/>
                <a:gd name="connsiteX6" fmla="*/ 250296 w 881019"/>
                <a:gd name="connsiteY6" fmla="*/ 646611 h 710111"/>
                <a:gd name="connsiteX7" fmla="*/ 332846 w 881019"/>
                <a:gd name="connsiteY7" fmla="*/ 640261 h 710111"/>
                <a:gd name="connsiteX8" fmla="*/ 377296 w 881019"/>
                <a:gd name="connsiteY8" fmla="*/ 649786 h 710111"/>
                <a:gd name="connsiteX9" fmla="*/ 440796 w 881019"/>
                <a:gd name="connsiteY9" fmla="*/ 643436 h 710111"/>
                <a:gd name="connsiteX10" fmla="*/ 491596 w 881019"/>
                <a:gd name="connsiteY10" fmla="*/ 643436 h 710111"/>
                <a:gd name="connsiteX11" fmla="*/ 567796 w 881019"/>
                <a:gd name="connsiteY11" fmla="*/ 633911 h 710111"/>
                <a:gd name="connsiteX12" fmla="*/ 596371 w 881019"/>
                <a:gd name="connsiteY12" fmla="*/ 592636 h 710111"/>
                <a:gd name="connsiteX13" fmla="*/ 656696 w 881019"/>
                <a:gd name="connsiteY13" fmla="*/ 525961 h 710111"/>
                <a:gd name="connsiteX14" fmla="*/ 666221 w 881019"/>
                <a:gd name="connsiteY14" fmla="*/ 468811 h 710111"/>
                <a:gd name="connsiteX15" fmla="*/ 720196 w 881019"/>
                <a:gd name="connsiteY15" fmla="*/ 408486 h 710111"/>
                <a:gd name="connsiteX16" fmla="*/ 736071 w 881019"/>
                <a:gd name="connsiteY16" fmla="*/ 364036 h 710111"/>
                <a:gd name="connsiteX17" fmla="*/ 764646 w 881019"/>
                <a:gd name="connsiteY17" fmla="*/ 322761 h 710111"/>
                <a:gd name="connsiteX18" fmla="*/ 815446 w 881019"/>
                <a:gd name="connsiteY18" fmla="*/ 271961 h 710111"/>
                <a:gd name="connsiteX19" fmla="*/ 783696 w 881019"/>
                <a:gd name="connsiteY19" fmla="*/ 205286 h 710111"/>
                <a:gd name="connsiteX20" fmla="*/ 829230 w 881019"/>
                <a:gd name="connsiteY20" fmla="*/ 143943 h 710111"/>
                <a:gd name="connsiteX21" fmla="*/ 865638 w 881019"/>
                <a:gd name="connsiteY21" fmla="*/ 81513 h 710111"/>
                <a:gd name="connsiteX22" fmla="*/ 881019 w 881019"/>
                <a:gd name="connsiteY22" fmla="*/ -1 h 710111"/>
                <a:gd name="connsiteX0" fmla="*/ 59796 w 865638"/>
                <a:gd name="connsiteY0" fmla="*/ 520648 h 628598"/>
                <a:gd name="connsiteX1" fmla="*/ 2646 w 865638"/>
                <a:gd name="connsiteY1" fmla="*/ 565098 h 628598"/>
                <a:gd name="connsiteX2" fmla="*/ 43921 w 865638"/>
                <a:gd name="connsiteY2" fmla="*/ 603198 h 628598"/>
                <a:gd name="connsiteX3" fmla="*/ 104246 w 865638"/>
                <a:gd name="connsiteY3" fmla="*/ 625423 h 628598"/>
                <a:gd name="connsiteX4" fmla="*/ 161396 w 865638"/>
                <a:gd name="connsiteY4" fmla="*/ 622248 h 628598"/>
                <a:gd name="connsiteX5" fmla="*/ 205846 w 865638"/>
                <a:gd name="connsiteY5" fmla="*/ 590498 h 628598"/>
                <a:gd name="connsiteX6" fmla="*/ 250296 w 865638"/>
                <a:gd name="connsiteY6" fmla="*/ 565098 h 628598"/>
                <a:gd name="connsiteX7" fmla="*/ 332846 w 865638"/>
                <a:gd name="connsiteY7" fmla="*/ 558748 h 628598"/>
                <a:gd name="connsiteX8" fmla="*/ 377296 w 865638"/>
                <a:gd name="connsiteY8" fmla="*/ 568273 h 628598"/>
                <a:gd name="connsiteX9" fmla="*/ 440796 w 865638"/>
                <a:gd name="connsiteY9" fmla="*/ 561923 h 628598"/>
                <a:gd name="connsiteX10" fmla="*/ 491596 w 865638"/>
                <a:gd name="connsiteY10" fmla="*/ 561923 h 628598"/>
                <a:gd name="connsiteX11" fmla="*/ 567796 w 865638"/>
                <a:gd name="connsiteY11" fmla="*/ 552398 h 628598"/>
                <a:gd name="connsiteX12" fmla="*/ 596371 w 865638"/>
                <a:gd name="connsiteY12" fmla="*/ 511123 h 628598"/>
                <a:gd name="connsiteX13" fmla="*/ 656696 w 865638"/>
                <a:gd name="connsiteY13" fmla="*/ 444448 h 628598"/>
                <a:gd name="connsiteX14" fmla="*/ 666221 w 865638"/>
                <a:gd name="connsiteY14" fmla="*/ 387298 h 628598"/>
                <a:gd name="connsiteX15" fmla="*/ 720196 w 865638"/>
                <a:gd name="connsiteY15" fmla="*/ 326973 h 628598"/>
                <a:gd name="connsiteX16" fmla="*/ 736071 w 865638"/>
                <a:gd name="connsiteY16" fmla="*/ 282523 h 628598"/>
                <a:gd name="connsiteX17" fmla="*/ 764646 w 865638"/>
                <a:gd name="connsiteY17" fmla="*/ 241248 h 628598"/>
                <a:gd name="connsiteX18" fmla="*/ 815446 w 865638"/>
                <a:gd name="connsiteY18" fmla="*/ 190448 h 628598"/>
                <a:gd name="connsiteX19" fmla="*/ 783696 w 865638"/>
                <a:gd name="connsiteY19" fmla="*/ 123773 h 628598"/>
                <a:gd name="connsiteX20" fmla="*/ 829230 w 865638"/>
                <a:gd name="connsiteY20" fmla="*/ 62430 h 628598"/>
                <a:gd name="connsiteX21" fmla="*/ 865638 w 865638"/>
                <a:gd name="connsiteY21" fmla="*/ 0 h 628598"/>
                <a:gd name="connsiteX0" fmla="*/ 59796 w 829230"/>
                <a:gd name="connsiteY0" fmla="*/ 458218 h 566168"/>
                <a:gd name="connsiteX1" fmla="*/ 2646 w 829230"/>
                <a:gd name="connsiteY1" fmla="*/ 502668 h 566168"/>
                <a:gd name="connsiteX2" fmla="*/ 43921 w 829230"/>
                <a:gd name="connsiteY2" fmla="*/ 540768 h 566168"/>
                <a:gd name="connsiteX3" fmla="*/ 104246 w 829230"/>
                <a:gd name="connsiteY3" fmla="*/ 562993 h 566168"/>
                <a:gd name="connsiteX4" fmla="*/ 161396 w 829230"/>
                <a:gd name="connsiteY4" fmla="*/ 559818 h 566168"/>
                <a:gd name="connsiteX5" fmla="*/ 205846 w 829230"/>
                <a:gd name="connsiteY5" fmla="*/ 528068 h 566168"/>
                <a:gd name="connsiteX6" fmla="*/ 250296 w 829230"/>
                <a:gd name="connsiteY6" fmla="*/ 502668 h 566168"/>
                <a:gd name="connsiteX7" fmla="*/ 332846 w 829230"/>
                <a:gd name="connsiteY7" fmla="*/ 496318 h 566168"/>
                <a:gd name="connsiteX8" fmla="*/ 377296 w 829230"/>
                <a:gd name="connsiteY8" fmla="*/ 505843 h 566168"/>
                <a:gd name="connsiteX9" fmla="*/ 440796 w 829230"/>
                <a:gd name="connsiteY9" fmla="*/ 499493 h 566168"/>
                <a:gd name="connsiteX10" fmla="*/ 491596 w 829230"/>
                <a:gd name="connsiteY10" fmla="*/ 499493 h 566168"/>
                <a:gd name="connsiteX11" fmla="*/ 567796 w 829230"/>
                <a:gd name="connsiteY11" fmla="*/ 489968 h 566168"/>
                <a:gd name="connsiteX12" fmla="*/ 596371 w 829230"/>
                <a:gd name="connsiteY12" fmla="*/ 448693 h 566168"/>
                <a:gd name="connsiteX13" fmla="*/ 656696 w 829230"/>
                <a:gd name="connsiteY13" fmla="*/ 382018 h 566168"/>
                <a:gd name="connsiteX14" fmla="*/ 666221 w 829230"/>
                <a:gd name="connsiteY14" fmla="*/ 324868 h 566168"/>
                <a:gd name="connsiteX15" fmla="*/ 720196 w 829230"/>
                <a:gd name="connsiteY15" fmla="*/ 264543 h 566168"/>
                <a:gd name="connsiteX16" fmla="*/ 736071 w 829230"/>
                <a:gd name="connsiteY16" fmla="*/ 220093 h 566168"/>
                <a:gd name="connsiteX17" fmla="*/ 764646 w 829230"/>
                <a:gd name="connsiteY17" fmla="*/ 178818 h 566168"/>
                <a:gd name="connsiteX18" fmla="*/ 815446 w 829230"/>
                <a:gd name="connsiteY18" fmla="*/ 128018 h 566168"/>
                <a:gd name="connsiteX19" fmla="*/ 783696 w 829230"/>
                <a:gd name="connsiteY19" fmla="*/ 61343 h 566168"/>
                <a:gd name="connsiteX20" fmla="*/ 829230 w 829230"/>
                <a:gd name="connsiteY20" fmla="*/ 0 h 566168"/>
                <a:gd name="connsiteX0" fmla="*/ 59796 w 818620"/>
                <a:gd name="connsiteY0" fmla="*/ 396876 h 504826"/>
                <a:gd name="connsiteX1" fmla="*/ 2646 w 818620"/>
                <a:gd name="connsiteY1" fmla="*/ 441326 h 504826"/>
                <a:gd name="connsiteX2" fmla="*/ 43921 w 818620"/>
                <a:gd name="connsiteY2" fmla="*/ 479426 h 504826"/>
                <a:gd name="connsiteX3" fmla="*/ 104246 w 818620"/>
                <a:gd name="connsiteY3" fmla="*/ 501651 h 504826"/>
                <a:gd name="connsiteX4" fmla="*/ 161396 w 818620"/>
                <a:gd name="connsiteY4" fmla="*/ 498476 h 504826"/>
                <a:gd name="connsiteX5" fmla="*/ 205846 w 818620"/>
                <a:gd name="connsiteY5" fmla="*/ 466726 h 504826"/>
                <a:gd name="connsiteX6" fmla="*/ 250296 w 818620"/>
                <a:gd name="connsiteY6" fmla="*/ 441326 h 504826"/>
                <a:gd name="connsiteX7" fmla="*/ 332846 w 818620"/>
                <a:gd name="connsiteY7" fmla="*/ 434976 h 504826"/>
                <a:gd name="connsiteX8" fmla="*/ 377296 w 818620"/>
                <a:gd name="connsiteY8" fmla="*/ 444501 h 504826"/>
                <a:gd name="connsiteX9" fmla="*/ 440796 w 818620"/>
                <a:gd name="connsiteY9" fmla="*/ 438151 h 504826"/>
                <a:gd name="connsiteX10" fmla="*/ 491596 w 818620"/>
                <a:gd name="connsiteY10" fmla="*/ 438151 h 504826"/>
                <a:gd name="connsiteX11" fmla="*/ 567796 w 818620"/>
                <a:gd name="connsiteY11" fmla="*/ 428626 h 504826"/>
                <a:gd name="connsiteX12" fmla="*/ 596371 w 818620"/>
                <a:gd name="connsiteY12" fmla="*/ 387351 h 504826"/>
                <a:gd name="connsiteX13" fmla="*/ 656696 w 818620"/>
                <a:gd name="connsiteY13" fmla="*/ 320676 h 504826"/>
                <a:gd name="connsiteX14" fmla="*/ 666221 w 818620"/>
                <a:gd name="connsiteY14" fmla="*/ 263526 h 504826"/>
                <a:gd name="connsiteX15" fmla="*/ 720196 w 818620"/>
                <a:gd name="connsiteY15" fmla="*/ 203201 h 504826"/>
                <a:gd name="connsiteX16" fmla="*/ 736071 w 818620"/>
                <a:gd name="connsiteY16" fmla="*/ 158751 h 504826"/>
                <a:gd name="connsiteX17" fmla="*/ 764646 w 818620"/>
                <a:gd name="connsiteY17" fmla="*/ 117476 h 504826"/>
                <a:gd name="connsiteX18" fmla="*/ 815446 w 818620"/>
                <a:gd name="connsiteY18" fmla="*/ 66676 h 504826"/>
                <a:gd name="connsiteX19" fmla="*/ 783696 w 818620"/>
                <a:gd name="connsiteY19" fmla="*/ 1 h 504826"/>
                <a:gd name="connsiteX0" fmla="*/ 59796 w 815445"/>
                <a:gd name="connsiteY0" fmla="*/ 330199 h 438149"/>
                <a:gd name="connsiteX1" fmla="*/ 2646 w 815445"/>
                <a:gd name="connsiteY1" fmla="*/ 374649 h 438149"/>
                <a:gd name="connsiteX2" fmla="*/ 43921 w 815445"/>
                <a:gd name="connsiteY2" fmla="*/ 412749 h 438149"/>
                <a:gd name="connsiteX3" fmla="*/ 104246 w 815445"/>
                <a:gd name="connsiteY3" fmla="*/ 434974 h 438149"/>
                <a:gd name="connsiteX4" fmla="*/ 161396 w 815445"/>
                <a:gd name="connsiteY4" fmla="*/ 431799 h 438149"/>
                <a:gd name="connsiteX5" fmla="*/ 205846 w 815445"/>
                <a:gd name="connsiteY5" fmla="*/ 400049 h 438149"/>
                <a:gd name="connsiteX6" fmla="*/ 250296 w 815445"/>
                <a:gd name="connsiteY6" fmla="*/ 374649 h 438149"/>
                <a:gd name="connsiteX7" fmla="*/ 332846 w 815445"/>
                <a:gd name="connsiteY7" fmla="*/ 368299 h 438149"/>
                <a:gd name="connsiteX8" fmla="*/ 377296 w 815445"/>
                <a:gd name="connsiteY8" fmla="*/ 377824 h 438149"/>
                <a:gd name="connsiteX9" fmla="*/ 440796 w 815445"/>
                <a:gd name="connsiteY9" fmla="*/ 371474 h 438149"/>
                <a:gd name="connsiteX10" fmla="*/ 491596 w 815445"/>
                <a:gd name="connsiteY10" fmla="*/ 371474 h 438149"/>
                <a:gd name="connsiteX11" fmla="*/ 567796 w 815445"/>
                <a:gd name="connsiteY11" fmla="*/ 361949 h 438149"/>
                <a:gd name="connsiteX12" fmla="*/ 596371 w 815445"/>
                <a:gd name="connsiteY12" fmla="*/ 320674 h 438149"/>
                <a:gd name="connsiteX13" fmla="*/ 656696 w 815445"/>
                <a:gd name="connsiteY13" fmla="*/ 253999 h 438149"/>
                <a:gd name="connsiteX14" fmla="*/ 666221 w 815445"/>
                <a:gd name="connsiteY14" fmla="*/ 196849 h 438149"/>
                <a:gd name="connsiteX15" fmla="*/ 720196 w 815445"/>
                <a:gd name="connsiteY15" fmla="*/ 136524 h 438149"/>
                <a:gd name="connsiteX16" fmla="*/ 736071 w 815445"/>
                <a:gd name="connsiteY16" fmla="*/ 92074 h 438149"/>
                <a:gd name="connsiteX17" fmla="*/ 764646 w 815445"/>
                <a:gd name="connsiteY17" fmla="*/ 50799 h 438149"/>
                <a:gd name="connsiteX18" fmla="*/ 815446 w 815445"/>
                <a:gd name="connsiteY18" fmla="*/ -1 h 438149"/>
                <a:gd name="connsiteX0" fmla="*/ 59796 w 764646"/>
                <a:gd name="connsiteY0" fmla="*/ 279399 h 387349"/>
                <a:gd name="connsiteX1" fmla="*/ 2646 w 764646"/>
                <a:gd name="connsiteY1" fmla="*/ 323849 h 387349"/>
                <a:gd name="connsiteX2" fmla="*/ 43921 w 764646"/>
                <a:gd name="connsiteY2" fmla="*/ 361949 h 387349"/>
                <a:gd name="connsiteX3" fmla="*/ 104246 w 764646"/>
                <a:gd name="connsiteY3" fmla="*/ 384174 h 387349"/>
                <a:gd name="connsiteX4" fmla="*/ 161396 w 764646"/>
                <a:gd name="connsiteY4" fmla="*/ 380999 h 387349"/>
                <a:gd name="connsiteX5" fmla="*/ 205846 w 764646"/>
                <a:gd name="connsiteY5" fmla="*/ 349249 h 387349"/>
                <a:gd name="connsiteX6" fmla="*/ 250296 w 764646"/>
                <a:gd name="connsiteY6" fmla="*/ 323849 h 387349"/>
                <a:gd name="connsiteX7" fmla="*/ 332846 w 764646"/>
                <a:gd name="connsiteY7" fmla="*/ 317499 h 387349"/>
                <a:gd name="connsiteX8" fmla="*/ 377296 w 764646"/>
                <a:gd name="connsiteY8" fmla="*/ 327024 h 387349"/>
                <a:gd name="connsiteX9" fmla="*/ 440796 w 764646"/>
                <a:gd name="connsiteY9" fmla="*/ 320674 h 387349"/>
                <a:gd name="connsiteX10" fmla="*/ 491596 w 764646"/>
                <a:gd name="connsiteY10" fmla="*/ 320674 h 387349"/>
                <a:gd name="connsiteX11" fmla="*/ 567796 w 764646"/>
                <a:gd name="connsiteY11" fmla="*/ 311149 h 387349"/>
                <a:gd name="connsiteX12" fmla="*/ 596371 w 764646"/>
                <a:gd name="connsiteY12" fmla="*/ 269874 h 387349"/>
                <a:gd name="connsiteX13" fmla="*/ 656696 w 764646"/>
                <a:gd name="connsiteY13" fmla="*/ 203199 h 387349"/>
                <a:gd name="connsiteX14" fmla="*/ 666221 w 764646"/>
                <a:gd name="connsiteY14" fmla="*/ 146049 h 387349"/>
                <a:gd name="connsiteX15" fmla="*/ 720196 w 764646"/>
                <a:gd name="connsiteY15" fmla="*/ 85724 h 387349"/>
                <a:gd name="connsiteX16" fmla="*/ 736071 w 764646"/>
                <a:gd name="connsiteY16" fmla="*/ 41274 h 387349"/>
                <a:gd name="connsiteX17" fmla="*/ 764646 w 764646"/>
                <a:gd name="connsiteY17" fmla="*/ -1 h 387349"/>
                <a:gd name="connsiteX0" fmla="*/ 59796 w 736072"/>
                <a:gd name="connsiteY0" fmla="*/ 238126 h 346076"/>
                <a:gd name="connsiteX1" fmla="*/ 2646 w 736072"/>
                <a:gd name="connsiteY1" fmla="*/ 282576 h 346076"/>
                <a:gd name="connsiteX2" fmla="*/ 43921 w 736072"/>
                <a:gd name="connsiteY2" fmla="*/ 320676 h 346076"/>
                <a:gd name="connsiteX3" fmla="*/ 104246 w 736072"/>
                <a:gd name="connsiteY3" fmla="*/ 342901 h 346076"/>
                <a:gd name="connsiteX4" fmla="*/ 161396 w 736072"/>
                <a:gd name="connsiteY4" fmla="*/ 339726 h 346076"/>
                <a:gd name="connsiteX5" fmla="*/ 205846 w 736072"/>
                <a:gd name="connsiteY5" fmla="*/ 307976 h 346076"/>
                <a:gd name="connsiteX6" fmla="*/ 250296 w 736072"/>
                <a:gd name="connsiteY6" fmla="*/ 282576 h 346076"/>
                <a:gd name="connsiteX7" fmla="*/ 332846 w 736072"/>
                <a:gd name="connsiteY7" fmla="*/ 276226 h 346076"/>
                <a:gd name="connsiteX8" fmla="*/ 377296 w 736072"/>
                <a:gd name="connsiteY8" fmla="*/ 285751 h 346076"/>
                <a:gd name="connsiteX9" fmla="*/ 440796 w 736072"/>
                <a:gd name="connsiteY9" fmla="*/ 279401 h 346076"/>
                <a:gd name="connsiteX10" fmla="*/ 491596 w 736072"/>
                <a:gd name="connsiteY10" fmla="*/ 279401 h 346076"/>
                <a:gd name="connsiteX11" fmla="*/ 567796 w 736072"/>
                <a:gd name="connsiteY11" fmla="*/ 269876 h 346076"/>
                <a:gd name="connsiteX12" fmla="*/ 596371 w 736072"/>
                <a:gd name="connsiteY12" fmla="*/ 228601 h 346076"/>
                <a:gd name="connsiteX13" fmla="*/ 656696 w 736072"/>
                <a:gd name="connsiteY13" fmla="*/ 161926 h 346076"/>
                <a:gd name="connsiteX14" fmla="*/ 666221 w 736072"/>
                <a:gd name="connsiteY14" fmla="*/ 104776 h 346076"/>
                <a:gd name="connsiteX15" fmla="*/ 720196 w 736072"/>
                <a:gd name="connsiteY15" fmla="*/ 44451 h 346076"/>
                <a:gd name="connsiteX16" fmla="*/ 736071 w 736072"/>
                <a:gd name="connsiteY16" fmla="*/ 1 h 346076"/>
                <a:gd name="connsiteX0" fmla="*/ 59796 w 720195"/>
                <a:gd name="connsiteY0" fmla="*/ 193675 h 301625"/>
                <a:gd name="connsiteX1" fmla="*/ 2646 w 720195"/>
                <a:gd name="connsiteY1" fmla="*/ 238125 h 301625"/>
                <a:gd name="connsiteX2" fmla="*/ 43921 w 720195"/>
                <a:gd name="connsiteY2" fmla="*/ 276225 h 301625"/>
                <a:gd name="connsiteX3" fmla="*/ 104246 w 720195"/>
                <a:gd name="connsiteY3" fmla="*/ 298450 h 301625"/>
                <a:gd name="connsiteX4" fmla="*/ 161396 w 720195"/>
                <a:gd name="connsiteY4" fmla="*/ 295275 h 301625"/>
                <a:gd name="connsiteX5" fmla="*/ 205846 w 720195"/>
                <a:gd name="connsiteY5" fmla="*/ 263525 h 301625"/>
                <a:gd name="connsiteX6" fmla="*/ 250296 w 720195"/>
                <a:gd name="connsiteY6" fmla="*/ 238125 h 301625"/>
                <a:gd name="connsiteX7" fmla="*/ 332846 w 720195"/>
                <a:gd name="connsiteY7" fmla="*/ 231775 h 301625"/>
                <a:gd name="connsiteX8" fmla="*/ 377296 w 720195"/>
                <a:gd name="connsiteY8" fmla="*/ 241300 h 301625"/>
                <a:gd name="connsiteX9" fmla="*/ 440796 w 720195"/>
                <a:gd name="connsiteY9" fmla="*/ 234950 h 301625"/>
                <a:gd name="connsiteX10" fmla="*/ 491596 w 720195"/>
                <a:gd name="connsiteY10" fmla="*/ 234950 h 301625"/>
                <a:gd name="connsiteX11" fmla="*/ 567796 w 720195"/>
                <a:gd name="connsiteY11" fmla="*/ 225425 h 301625"/>
                <a:gd name="connsiteX12" fmla="*/ 596371 w 720195"/>
                <a:gd name="connsiteY12" fmla="*/ 184150 h 301625"/>
                <a:gd name="connsiteX13" fmla="*/ 656696 w 720195"/>
                <a:gd name="connsiteY13" fmla="*/ 117475 h 301625"/>
                <a:gd name="connsiteX14" fmla="*/ 666221 w 720195"/>
                <a:gd name="connsiteY14" fmla="*/ 60325 h 301625"/>
                <a:gd name="connsiteX15" fmla="*/ 720196 w 720195"/>
                <a:gd name="connsiteY15" fmla="*/ 0 h 301625"/>
                <a:gd name="connsiteX0" fmla="*/ 59796 w 668338"/>
                <a:gd name="connsiteY0" fmla="*/ 133349 h 241299"/>
                <a:gd name="connsiteX1" fmla="*/ 2646 w 668338"/>
                <a:gd name="connsiteY1" fmla="*/ 177799 h 241299"/>
                <a:gd name="connsiteX2" fmla="*/ 43921 w 668338"/>
                <a:gd name="connsiteY2" fmla="*/ 215899 h 241299"/>
                <a:gd name="connsiteX3" fmla="*/ 104246 w 668338"/>
                <a:gd name="connsiteY3" fmla="*/ 238124 h 241299"/>
                <a:gd name="connsiteX4" fmla="*/ 161396 w 668338"/>
                <a:gd name="connsiteY4" fmla="*/ 234949 h 241299"/>
                <a:gd name="connsiteX5" fmla="*/ 205846 w 668338"/>
                <a:gd name="connsiteY5" fmla="*/ 203199 h 241299"/>
                <a:gd name="connsiteX6" fmla="*/ 250296 w 668338"/>
                <a:gd name="connsiteY6" fmla="*/ 177799 h 241299"/>
                <a:gd name="connsiteX7" fmla="*/ 332846 w 668338"/>
                <a:gd name="connsiteY7" fmla="*/ 171449 h 241299"/>
                <a:gd name="connsiteX8" fmla="*/ 377296 w 668338"/>
                <a:gd name="connsiteY8" fmla="*/ 180974 h 241299"/>
                <a:gd name="connsiteX9" fmla="*/ 440796 w 668338"/>
                <a:gd name="connsiteY9" fmla="*/ 174624 h 241299"/>
                <a:gd name="connsiteX10" fmla="*/ 491596 w 668338"/>
                <a:gd name="connsiteY10" fmla="*/ 174624 h 241299"/>
                <a:gd name="connsiteX11" fmla="*/ 567796 w 668338"/>
                <a:gd name="connsiteY11" fmla="*/ 165099 h 241299"/>
                <a:gd name="connsiteX12" fmla="*/ 596371 w 668338"/>
                <a:gd name="connsiteY12" fmla="*/ 123824 h 241299"/>
                <a:gd name="connsiteX13" fmla="*/ 656696 w 668338"/>
                <a:gd name="connsiteY13" fmla="*/ 57149 h 241299"/>
                <a:gd name="connsiteX14" fmla="*/ 666221 w 668338"/>
                <a:gd name="connsiteY14" fmla="*/ -1 h 241299"/>
                <a:gd name="connsiteX0" fmla="*/ 59796 w 668338"/>
                <a:gd name="connsiteY0" fmla="*/ 133350 h 238318"/>
                <a:gd name="connsiteX1" fmla="*/ 2646 w 668338"/>
                <a:gd name="connsiteY1" fmla="*/ 177800 h 238318"/>
                <a:gd name="connsiteX2" fmla="*/ 43921 w 668338"/>
                <a:gd name="connsiteY2" fmla="*/ 215900 h 238318"/>
                <a:gd name="connsiteX3" fmla="*/ 104246 w 668338"/>
                <a:gd name="connsiteY3" fmla="*/ 238125 h 238318"/>
                <a:gd name="connsiteX4" fmla="*/ 155900 w 668338"/>
                <a:gd name="connsiteY4" fmla="*/ 217055 h 238318"/>
                <a:gd name="connsiteX5" fmla="*/ 205846 w 668338"/>
                <a:gd name="connsiteY5" fmla="*/ 203200 h 238318"/>
                <a:gd name="connsiteX6" fmla="*/ 250296 w 668338"/>
                <a:gd name="connsiteY6" fmla="*/ 177800 h 238318"/>
                <a:gd name="connsiteX7" fmla="*/ 332846 w 668338"/>
                <a:gd name="connsiteY7" fmla="*/ 171450 h 238318"/>
                <a:gd name="connsiteX8" fmla="*/ 377296 w 668338"/>
                <a:gd name="connsiteY8" fmla="*/ 180975 h 238318"/>
                <a:gd name="connsiteX9" fmla="*/ 440796 w 668338"/>
                <a:gd name="connsiteY9" fmla="*/ 174625 h 238318"/>
                <a:gd name="connsiteX10" fmla="*/ 491596 w 668338"/>
                <a:gd name="connsiteY10" fmla="*/ 174625 h 238318"/>
                <a:gd name="connsiteX11" fmla="*/ 567796 w 668338"/>
                <a:gd name="connsiteY11" fmla="*/ 165100 h 238318"/>
                <a:gd name="connsiteX12" fmla="*/ 596371 w 668338"/>
                <a:gd name="connsiteY12" fmla="*/ 123825 h 238318"/>
                <a:gd name="connsiteX13" fmla="*/ 656696 w 668338"/>
                <a:gd name="connsiteY13" fmla="*/ 57150 h 238318"/>
                <a:gd name="connsiteX14" fmla="*/ 666221 w 668338"/>
                <a:gd name="connsiteY14" fmla="*/ 0 h 238318"/>
                <a:gd name="connsiteX0" fmla="*/ 59796 w 668338"/>
                <a:gd name="connsiteY0" fmla="*/ 133350 h 238317"/>
                <a:gd name="connsiteX1" fmla="*/ 2646 w 668338"/>
                <a:gd name="connsiteY1" fmla="*/ 177800 h 238317"/>
                <a:gd name="connsiteX2" fmla="*/ 43921 w 668338"/>
                <a:gd name="connsiteY2" fmla="*/ 215900 h 238317"/>
                <a:gd name="connsiteX3" fmla="*/ 104246 w 668338"/>
                <a:gd name="connsiteY3" fmla="*/ 238125 h 238317"/>
                <a:gd name="connsiteX4" fmla="*/ 155900 w 668338"/>
                <a:gd name="connsiteY4" fmla="*/ 217055 h 238317"/>
                <a:gd name="connsiteX5" fmla="*/ 200349 w 668338"/>
                <a:gd name="connsiteY5" fmla="*/ 187860 h 238317"/>
                <a:gd name="connsiteX6" fmla="*/ 250296 w 668338"/>
                <a:gd name="connsiteY6" fmla="*/ 177800 h 238317"/>
                <a:gd name="connsiteX7" fmla="*/ 332846 w 668338"/>
                <a:gd name="connsiteY7" fmla="*/ 171450 h 238317"/>
                <a:gd name="connsiteX8" fmla="*/ 377296 w 668338"/>
                <a:gd name="connsiteY8" fmla="*/ 180975 h 238317"/>
                <a:gd name="connsiteX9" fmla="*/ 440796 w 668338"/>
                <a:gd name="connsiteY9" fmla="*/ 174625 h 238317"/>
                <a:gd name="connsiteX10" fmla="*/ 491596 w 668338"/>
                <a:gd name="connsiteY10" fmla="*/ 174625 h 238317"/>
                <a:gd name="connsiteX11" fmla="*/ 567796 w 668338"/>
                <a:gd name="connsiteY11" fmla="*/ 165100 h 238317"/>
                <a:gd name="connsiteX12" fmla="*/ 596371 w 668338"/>
                <a:gd name="connsiteY12" fmla="*/ 123825 h 238317"/>
                <a:gd name="connsiteX13" fmla="*/ 656696 w 668338"/>
                <a:gd name="connsiteY13" fmla="*/ 57150 h 238317"/>
                <a:gd name="connsiteX14" fmla="*/ 666221 w 668338"/>
                <a:gd name="connsiteY14" fmla="*/ 0 h 238317"/>
                <a:gd name="connsiteX0" fmla="*/ 59796 w 668338"/>
                <a:gd name="connsiteY0" fmla="*/ 133350 h 238317"/>
                <a:gd name="connsiteX1" fmla="*/ 2646 w 668338"/>
                <a:gd name="connsiteY1" fmla="*/ 177800 h 238317"/>
                <a:gd name="connsiteX2" fmla="*/ 43921 w 668338"/>
                <a:gd name="connsiteY2" fmla="*/ 215900 h 238317"/>
                <a:gd name="connsiteX3" fmla="*/ 104246 w 668338"/>
                <a:gd name="connsiteY3" fmla="*/ 238125 h 238317"/>
                <a:gd name="connsiteX4" fmla="*/ 155900 w 668338"/>
                <a:gd name="connsiteY4" fmla="*/ 217055 h 238317"/>
                <a:gd name="connsiteX5" fmla="*/ 200349 w 668338"/>
                <a:gd name="connsiteY5" fmla="*/ 187860 h 238317"/>
                <a:gd name="connsiteX6" fmla="*/ 247547 w 668338"/>
                <a:gd name="connsiteY6" fmla="*/ 170131 h 238317"/>
                <a:gd name="connsiteX7" fmla="*/ 332846 w 668338"/>
                <a:gd name="connsiteY7" fmla="*/ 171450 h 238317"/>
                <a:gd name="connsiteX8" fmla="*/ 377296 w 668338"/>
                <a:gd name="connsiteY8" fmla="*/ 180975 h 238317"/>
                <a:gd name="connsiteX9" fmla="*/ 440796 w 668338"/>
                <a:gd name="connsiteY9" fmla="*/ 174625 h 238317"/>
                <a:gd name="connsiteX10" fmla="*/ 491596 w 668338"/>
                <a:gd name="connsiteY10" fmla="*/ 174625 h 238317"/>
                <a:gd name="connsiteX11" fmla="*/ 567796 w 668338"/>
                <a:gd name="connsiteY11" fmla="*/ 165100 h 238317"/>
                <a:gd name="connsiteX12" fmla="*/ 596371 w 668338"/>
                <a:gd name="connsiteY12" fmla="*/ 123825 h 238317"/>
                <a:gd name="connsiteX13" fmla="*/ 656696 w 668338"/>
                <a:gd name="connsiteY13" fmla="*/ 57150 h 238317"/>
                <a:gd name="connsiteX14" fmla="*/ 666221 w 668338"/>
                <a:gd name="connsiteY14" fmla="*/ 0 h 238317"/>
                <a:gd name="connsiteX0" fmla="*/ 59796 w 668338"/>
                <a:gd name="connsiteY0" fmla="*/ 133350 h 239636"/>
                <a:gd name="connsiteX1" fmla="*/ 2646 w 668338"/>
                <a:gd name="connsiteY1" fmla="*/ 177800 h 239636"/>
                <a:gd name="connsiteX2" fmla="*/ 43921 w 668338"/>
                <a:gd name="connsiteY2" fmla="*/ 215900 h 239636"/>
                <a:gd name="connsiteX3" fmla="*/ 104246 w 668338"/>
                <a:gd name="connsiteY3" fmla="*/ 238125 h 239636"/>
                <a:gd name="connsiteX4" fmla="*/ 155900 w 668338"/>
                <a:gd name="connsiteY4" fmla="*/ 206829 h 239636"/>
                <a:gd name="connsiteX5" fmla="*/ 200349 w 668338"/>
                <a:gd name="connsiteY5" fmla="*/ 187860 h 239636"/>
                <a:gd name="connsiteX6" fmla="*/ 247547 w 668338"/>
                <a:gd name="connsiteY6" fmla="*/ 170131 h 239636"/>
                <a:gd name="connsiteX7" fmla="*/ 332846 w 668338"/>
                <a:gd name="connsiteY7" fmla="*/ 171450 h 239636"/>
                <a:gd name="connsiteX8" fmla="*/ 377296 w 668338"/>
                <a:gd name="connsiteY8" fmla="*/ 180975 h 239636"/>
                <a:gd name="connsiteX9" fmla="*/ 440796 w 668338"/>
                <a:gd name="connsiteY9" fmla="*/ 174625 h 239636"/>
                <a:gd name="connsiteX10" fmla="*/ 491596 w 668338"/>
                <a:gd name="connsiteY10" fmla="*/ 174625 h 239636"/>
                <a:gd name="connsiteX11" fmla="*/ 567796 w 668338"/>
                <a:gd name="connsiteY11" fmla="*/ 165100 h 239636"/>
                <a:gd name="connsiteX12" fmla="*/ 596371 w 668338"/>
                <a:gd name="connsiteY12" fmla="*/ 123825 h 239636"/>
                <a:gd name="connsiteX13" fmla="*/ 656696 w 668338"/>
                <a:gd name="connsiteY13" fmla="*/ 57150 h 239636"/>
                <a:gd name="connsiteX14" fmla="*/ 666221 w 668338"/>
                <a:gd name="connsiteY14" fmla="*/ 0 h 239636"/>
                <a:gd name="connsiteX0" fmla="*/ 2646 w 668338"/>
                <a:gd name="connsiteY0" fmla="*/ 177800 h 239637"/>
                <a:gd name="connsiteX1" fmla="*/ 43921 w 668338"/>
                <a:gd name="connsiteY1" fmla="*/ 215900 h 239637"/>
                <a:gd name="connsiteX2" fmla="*/ 104246 w 668338"/>
                <a:gd name="connsiteY2" fmla="*/ 238125 h 239637"/>
                <a:gd name="connsiteX3" fmla="*/ 155900 w 668338"/>
                <a:gd name="connsiteY3" fmla="*/ 206829 h 239637"/>
                <a:gd name="connsiteX4" fmla="*/ 200349 w 668338"/>
                <a:gd name="connsiteY4" fmla="*/ 187860 h 239637"/>
                <a:gd name="connsiteX5" fmla="*/ 247547 w 668338"/>
                <a:gd name="connsiteY5" fmla="*/ 170131 h 239637"/>
                <a:gd name="connsiteX6" fmla="*/ 332846 w 668338"/>
                <a:gd name="connsiteY6" fmla="*/ 171450 h 239637"/>
                <a:gd name="connsiteX7" fmla="*/ 377296 w 668338"/>
                <a:gd name="connsiteY7" fmla="*/ 180975 h 239637"/>
                <a:gd name="connsiteX8" fmla="*/ 440796 w 668338"/>
                <a:gd name="connsiteY8" fmla="*/ 174625 h 239637"/>
                <a:gd name="connsiteX9" fmla="*/ 491596 w 668338"/>
                <a:gd name="connsiteY9" fmla="*/ 174625 h 239637"/>
                <a:gd name="connsiteX10" fmla="*/ 567796 w 668338"/>
                <a:gd name="connsiteY10" fmla="*/ 165100 h 239637"/>
                <a:gd name="connsiteX11" fmla="*/ 596371 w 668338"/>
                <a:gd name="connsiteY11" fmla="*/ 123825 h 239637"/>
                <a:gd name="connsiteX12" fmla="*/ 656696 w 668338"/>
                <a:gd name="connsiteY12" fmla="*/ 57150 h 239637"/>
                <a:gd name="connsiteX13" fmla="*/ 666221 w 668338"/>
                <a:gd name="connsiteY13" fmla="*/ 0 h 239637"/>
                <a:gd name="connsiteX0" fmla="*/ 0 w 624417"/>
                <a:gd name="connsiteY0" fmla="*/ 215900 h 239637"/>
                <a:gd name="connsiteX1" fmla="*/ 60325 w 624417"/>
                <a:gd name="connsiteY1" fmla="*/ 238125 h 239637"/>
                <a:gd name="connsiteX2" fmla="*/ 111979 w 624417"/>
                <a:gd name="connsiteY2" fmla="*/ 206829 h 239637"/>
                <a:gd name="connsiteX3" fmla="*/ 156428 w 624417"/>
                <a:gd name="connsiteY3" fmla="*/ 187860 h 239637"/>
                <a:gd name="connsiteX4" fmla="*/ 203626 w 624417"/>
                <a:gd name="connsiteY4" fmla="*/ 170131 h 239637"/>
                <a:gd name="connsiteX5" fmla="*/ 288925 w 624417"/>
                <a:gd name="connsiteY5" fmla="*/ 171450 h 239637"/>
                <a:gd name="connsiteX6" fmla="*/ 333375 w 624417"/>
                <a:gd name="connsiteY6" fmla="*/ 180975 h 239637"/>
                <a:gd name="connsiteX7" fmla="*/ 396875 w 624417"/>
                <a:gd name="connsiteY7" fmla="*/ 174625 h 239637"/>
                <a:gd name="connsiteX8" fmla="*/ 447675 w 624417"/>
                <a:gd name="connsiteY8" fmla="*/ 174625 h 239637"/>
                <a:gd name="connsiteX9" fmla="*/ 523875 w 624417"/>
                <a:gd name="connsiteY9" fmla="*/ 165100 h 239637"/>
                <a:gd name="connsiteX10" fmla="*/ 552450 w 624417"/>
                <a:gd name="connsiteY10" fmla="*/ 123825 h 239637"/>
                <a:gd name="connsiteX11" fmla="*/ 612775 w 624417"/>
                <a:gd name="connsiteY11" fmla="*/ 57150 h 239637"/>
                <a:gd name="connsiteX12" fmla="*/ 622300 w 624417"/>
                <a:gd name="connsiteY12" fmla="*/ 0 h 239637"/>
                <a:gd name="connsiteX0" fmla="*/ 0 w 564092"/>
                <a:gd name="connsiteY0" fmla="*/ 238125 h 238125"/>
                <a:gd name="connsiteX1" fmla="*/ 51654 w 564092"/>
                <a:gd name="connsiteY1" fmla="*/ 206829 h 238125"/>
                <a:gd name="connsiteX2" fmla="*/ 96103 w 564092"/>
                <a:gd name="connsiteY2" fmla="*/ 187860 h 238125"/>
                <a:gd name="connsiteX3" fmla="*/ 143301 w 564092"/>
                <a:gd name="connsiteY3" fmla="*/ 170131 h 238125"/>
                <a:gd name="connsiteX4" fmla="*/ 228600 w 564092"/>
                <a:gd name="connsiteY4" fmla="*/ 171450 h 238125"/>
                <a:gd name="connsiteX5" fmla="*/ 273050 w 564092"/>
                <a:gd name="connsiteY5" fmla="*/ 180975 h 238125"/>
                <a:gd name="connsiteX6" fmla="*/ 336550 w 564092"/>
                <a:gd name="connsiteY6" fmla="*/ 174625 h 238125"/>
                <a:gd name="connsiteX7" fmla="*/ 387350 w 564092"/>
                <a:gd name="connsiteY7" fmla="*/ 174625 h 238125"/>
                <a:gd name="connsiteX8" fmla="*/ 463550 w 564092"/>
                <a:gd name="connsiteY8" fmla="*/ 165100 h 238125"/>
                <a:gd name="connsiteX9" fmla="*/ 492125 w 564092"/>
                <a:gd name="connsiteY9" fmla="*/ 123825 h 238125"/>
                <a:gd name="connsiteX10" fmla="*/ 552450 w 564092"/>
                <a:gd name="connsiteY10" fmla="*/ 57150 h 238125"/>
                <a:gd name="connsiteX11" fmla="*/ 561975 w 564092"/>
                <a:gd name="connsiteY11" fmla="*/ 0 h 238125"/>
                <a:gd name="connsiteX0" fmla="*/ 0 w 512438"/>
                <a:gd name="connsiteY0" fmla="*/ 206829 h 206829"/>
                <a:gd name="connsiteX1" fmla="*/ 44449 w 512438"/>
                <a:gd name="connsiteY1" fmla="*/ 187860 h 206829"/>
                <a:gd name="connsiteX2" fmla="*/ 91647 w 512438"/>
                <a:gd name="connsiteY2" fmla="*/ 170131 h 206829"/>
                <a:gd name="connsiteX3" fmla="*/ 176946 w 512438"/>
                <a:gd name="connsiteY3" fmla="*/ 171450 h 206829"/>
                <a:gd name="connsiteX4" fmla="*/ 221396 w 512438"/>
                <a:gd name="connsiteY4" fmla="*/ 180975 h 206829"/>
                <a:gd name="connsiteX5" fmla="*/ 284896 w 512438"/>
                <a:gd name="connsiteY5" fmla="*/ 174625 h 206829"/>
                <a:gd name="connsiteX6" fmla="*/ 335696 w 512438"/>
                <a:gd name="connsiteY6" fmla="*/ 174625 h 206829"/>
                <a:gd name="connsiteX7" fmla="*/ 411896 w 512438"/>
                <a:gd name="connsiteY7" fmla="*/ 165100 h 206829"/>
                <a:gd name="connsiteX8" fmla="*/ 440471 w 512438"/>
                <a:gd name="connsiteY8" fmla="*/ 123825 h 206829"/>
                <a:gd name="connsiteX9" fmla="*/ 500796 w 512438"/>
                <a:gd name="connsiteY9" fmla="*/ 57150 h 206829"/>
                <a:gd name="connsiteX10" fmla="*/ 510321 w 512438"/>
                <a:gd name="connsiteY10" fmla="*/ 0 h 206829"/>
                <a:gd name="connsiteX0" fmla="*/ 0 w 467989"/>
                <a:gd name="connsiteY0" fmla="*/ 187860 h 187860"/>
                <a:gd name="connsiteX1" fmla="*/ 47198 w 467989"/>
                <a:gd name="connsiteY1" fmla="*/ 170131 h 187860"/>
                <a:gd name="connsiteX2" fmla="*/ 132497 w 467989"/>
                <a:gd name="connsiteY2" fmla="*/ 171450 h 187860"/>
                <a:gd name="connsiteX3" fmla="*/ 176947 w 467989"/>
                <a:gd name="connsiteY3" fmla="*/ 180975 h 187860"/>
                <a:gd name="connsiteX4" fmla="*/ 240447 w 467989"/>
                <a:gd name="connsiteY4" fmla="*/ 174625 h 187860"/>
                <a:gd name="connsiteX5" fmla="*/ 291247 w 467989"/>
                <a:gd name="connsiteY5" fmla="*/ 174625 h 187860"/>
                <a:gd name="connsiteX6" fmla="*/ 367447 w 467989"/>
                <a:gd name="connsiteY6" fmla="*/ 165100 h 187860"/>
                <a:gd name="connsiteX7" fmla="*/ 396022 w 467989"/>
                <a:gd name="connsiteY7" fmla="*/ 123825 h 187860"/>
                <a:gd name="connsiteX8" fmla="*/ 456347 w 467989"/>
                <a:gd name="connsiteY8" fmla="*/ 57150 h 187860"/>
                <a:gd name="connsiteX9" fmla="*/ 465872 w 467989"/>
                <a:gd name="connsiteY9" fmla="*/ 0 h 187860"/>
                <a:gd name="connsiteX0" fmla="*/ 0 w 420791"/>
                <a:gd name="connsiteY0" fmla="*/ 170131 h 181504"/>
                <a:gd name="connsiteX1" fmla="*/ 85299 w 420791"/>
                <a:gd name="connsiteY1" fmla="*/ 171450 h 181504"/>
                <a:gd name="connsiteX2" fmla="*/ 129749 w 420791"/>
                <a:gd name="connsiteY2" fmla="*/ 180975 h 181504"/>
                <a:gd name="connsiteX3" fmla="*/ 193249 w 420791"/>
                <a:gd name="connsiteY3" fmla="*/ 174625 h 181504"/>
                <a:gd name="connsiteX4" fmla="*/ 244049 w 420791"/>
                <a:gd name="connsiteY4" fmla="*/ 174625 h 181504"/>
                <a:gd name="connsiteX5" fmla="*/ 320249 w 420791"/>
                <a:gd name="connsiteY5" fmla="*/ 165100 h 181504"/>
                <a:gd name="connsiteX6" fmla="*/ 348824 w 420791"/>
                <a:gd name="connsiteY6" fmla="*/ 123825 h 181504"/>
                <a:gd name="connsiteX7" fmla="*/ 409149 w 420791"/>
                <a:gd name="connsiteY7" fmla="*/ 57150 h 181504"/>
                <a:gd name="connsiteX8" fmla="*/ 418674 w 420791"/>
                <a:gd name="connsiteY8" fmla="*/ 0 h 181504"/>
                <a:gd name="connsiteX0" fmla="*/ 0 w 335492"/>
                <a:gd name="connsiteY0" fmla="*/ 171450 h 181504"/>
                <a:gd name="connsiteX1" fmla="*/ 44450 w 335492"/>
                <a:gd name="connsiteY1" fmla="*/ 180975 h 181504"/>
                <a:gd name="connsiteX2" fmla="*/ 107950 w 335492"/>
                <a:gd name="connsiteY2" fmla="*/ 174625 h 181504"/>
                <a:gd name="connsiteX3" fmla="*/ 158750 w 335492"/>
                <a:gd name="connsiteY3" fmla="*/ 174625 h 181504"/>
                <a:gd name="connsiteX4" fmla="*/ 234950 w 335492"/>
                <a:gd name="connsiteY4" fmla="*/ 165100 h 181504"/>
                <a:gd name="connsiteX5" fmla="*/ 263525 w 335492"/>
                <a:gd name="connsiteY5" fmla="*/ 123825 h 181504"/>
                <a:gd name="connsiteX6" fmla="*/ 323850 w 335492"/>
                <a:gd name="connsiteY6" fmla="*/ 57150 h 181504"/>
                <a:gd name="connsiteX7" fmla="*/ 333375 w 335492"/>
                <a:gd name="connsiteY7" fmla="*/ 0 h 181504"/>
                <a:gd name="connsiteX0" fmla="*/ 0 w 291042"/>
                <a:gd name="connsiteY0" fmla="*/ 180975 h 181504"/>
                <a:gd name="connsiteX1" fmla="*/ 63500 w 291042"/>
                <a:gd name="connsiteY1" fmla="*/ 174625 h 181504"/>
                <a:gd name="connsiteX2" fmla="*/ 114300 w 291042"/>
                <a:gd name="connsiteY2" fmla="*/ 174625 h 181504"/>
                <a:gd name="connsiteX3" fmla="*/ 190500 w 291042"/>
                <a:gd name="connsiteY3" fmla="*/ 165100 h 181504"/>
                <a:gd name="connsiteX4" fmla="*/ 219075 w 291042"/>
                <a:gd name="connsiteY4" fmla="*/ 123825 h 181504"/>
                <a:gd name="connsiteX5" fmla="*/ 279400 w 291042"/>
                <a:gd name="connsiteY5" fmla="*/ 57150 h 181504"/>
                <a:gd name="connsiteX6" fmla="*/ 288925 w 291042"/>
                <a:gd name="connsiteY6" fmla="*/ 0 h 181504"/>
                <a:gd name="connsiteX0" fmla="*/ 0 w 227542"/>
                <a:gd name="connsiteY0" fmla="*/ 174625 h 176212"/>
                <a:gd name="connsiteX1" fmla="*/ 50800 w 227542"/>
                <a:gd name="connsiteY1" fmla="*/ 174625 h 176212"/>
                <a:gd name="connsiteX2" fmla="*/ 127000 w 227542"/>
                <a:gd name="connsiteY2" fmla="*/ 165100 h 176212"/>
                <a:gd name="connsiteX3" fmla="*/ 155575 w 227542"/>
                <a:gd name="connsiteY3" fmla="*/ 123825 h 176212"/>
                <a:gd name="connsiteX4" fmla="*/ 215900 w 227542"/>
                <a:gd name="connsiteY4" fmla="*/ 57150 h 176212"/>
                <a:gd name="connsiteX5" fmla="*/ 225425 w 227542"/>
                <a:gd name="connsiteY5" fmla="*/ 0 h 176212"/>
                <a:gd name="connsiteX0" fmla="*/ 0 w 176742"/>
                <a:gd name="connsiteY0" fmla="*/ 174625 h 174625"/>
                <a:gd name="connsiteX1" fmla="*/ 76200 w 176742"/>
                <a:gd name="connsiteY1" fmla="*/ 165100 h 174625"/>
                <a:gd name="connsiteX2" fmla="*/ 104775 w 176742"/>
                <a:gd name="connsiteY2" fmla="*/ 123825 h 174625"/>
                <a:gd name="connsiteX3" fmla="*/ 165100 w 176742"/>
                <a:gd name="connsiteY3" fmla="*/ 57150 h 174625"/>
                <a:gd name="connsiteX4" fmla="*/ 174625 w 176742"/>
                <a:gd name="connsiteY4" fmla="*/ 0 h 174625"/>
                <a:gd name="connsiteX0" fmla="*/ 0 w 100542"/>
                <a:gd name="connsiteY0" fmla="*/ 165100 h 165100"/>
                <a:gd name="connsiteX1" fmla="*/ 28575 w 100542"/>
                <a:gd name="connsiteY1" fmla="*/ 123825 h 165100"/>
                <a:gd name="connsiteX2" fmla="*/ 88900 w 100542"/>
                <a:gd name="connsiteY2" fmla="*/ 57150 h 165100"/>
                <a:gd name="connsiteX3" fmla="*/ 98425 w 100542"/>
                <a:gd name="connsiteY3" fmla="*/ 0 h 165100"/>
                <a:gd name="connsiteX0" fmla="*/ 0 w 71967"/>
                <a:gd name="connsiteY0" fmla="*/ 123825 h 123826"/>
                <a:gd name="connsiteX1" fmla="*/ 60325 w 71967"/>
                <a:gd name="connsiteY1" fmla="*/ 57150 h 123826"/>
                <a:gd name="connsiteX2" fmla="*/ 69850 w 71967"/>
                <a:gd name="connsiteY2" fmla="*/ 0 h 123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967" h="123826">
                  <a:moveTo>
                    <a:pt x="0" y="123825"/>
                  </a:moveTo>
                  <a:cubicBezTo>
                    <a:pt x="14817" y="105833"/>
                    <a:pt x="48683" y="77787"/>
                    <a:pt x="60325" y="57150"/>
                  </a:cubicBezTo>
                  <a:cubicBezTo>
                    <a:pt x="71967" y="36513"/>
                    <a:pt x="59267" y="19579"/>
                    <a:pt x="69850" y="0"/>
                  </a:cubicBezTo>
                </a:path>
              </a:pathLst>
            </a:cu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0787" tIns="36810" rIns="70787" bIns="36810" numCol="1" rtlCol="0" anchor="ctr" anchorCtr="0" compatLnSpc="1">
              <a:prstTxWarp prst="textNoShape">
                <a:avLst/>
              </a:prstTxWarp>
            </a:bodyPr>
            <a:lstStyle/>
            <a:p>
              <a:pPr defTabSz="719255"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944" kern="0" dirty="0">
                <a:solidFill>
                  <a:srgbClr val="292929"/>
                </a:solidFill>
              </a:endParaRPr>
            </a:p>
          </p:txBody>
        </p:sp>
      </p:grpSp>
      <p:grpSp>
        <p:nvGrpSpPr>
          <p:cNvPr id="142" name="Group 169"/>
          <p:cNvGrpSpPr/>
          <p:nvPr/>
        </p:nvGrpSpPr>
        <p:grpSpPr>
          <a:xfrm>
            <a:off x="6685048" y="2125060"/>
            <a:ext cx="427488" cy="1127222"/>
            <a:chOff x="3836901" y="2836023"/>
            <a:chExt cx="642465" cy="1813217"/>
          </a:xfrm>
        </p:grpSpPr>
        <p:sp>
          <p:nvSpPr>
            <p:cNvPr id="143" name="Freeform 68"/>
            <p:cNvSpPr/>
            <p:nvPr/>
          </p:nvSpPr>
          <p:spPr bwMode="auto">
            <a:xfrm>
              <a:off x="4086980" y="2836023"/>
              <a:ext cx="389845" cy="544514"/>
            </a:xfrm>
            <a:custGeom>
              <a:avLst/>
              <a:gdLst>
                <a:gd name="connsiteX0" fmla="*/ 0 w 422804"/>
                <a:gd name="connsiteY0" fmla="*/ 0 h 590550"/>
                <a:gd name="connsiteX1" fmla="*/ 34925 w 422804"/>
                <a:gd name="connsiteY1" fmla="*/ 60325 h 590550"/>
                <a:gd name="connsiteX2" fmla="*/ 79375 w 422804"/>
                <a:gd name="connsiteY2" fmla="*/ 82550 h 590550"/>
                <a:gd name="connsiteX3" fmla="*/ 130175 w 422804"/>
                <a:gd name="connsiteY3" fmla="*/ 136525 h 590550"/>
                <a:gd name="connsiteX4" fmla="*/ 155575 w 422804"/>
                <a:gd name="connsiteY4" fmla="*/ 139700 h 590550"/>
                <a:gd name="connsiteX5" fmla="*/ 171450 w 422804"/>
                <a:gd name="connsiteY5" fmla="*/ 184150 h 590550"/>
                <a:gd name="connsiteX6" fmla="*/ 212725 w 422804"/>
                <a:gd name="connsiteY6" fmla="*/ 203200 h 590550"/>
                <a:gd name="connsiteX7" fmla="*/ 250825 w 422804"/>
                <a:gd name="connsiteY7" fmla="*/ 180975 h 590550"/>
                <a:gd name="connsiteX8" fmla="*/ 282575 w 422804"/>
                <a:gd name="connsiteY8" fmla="*/ 180975 h 590550"/>
                <a:gd name="connsiteX9" fmla="*/ 336550 w 422804"/>
                <a:gd name="connsiteY9" fmla="*/ 228600 h 590550"/>
                <a:gd name="connsiteX10" fmla="*/ 381000 w 422804"/>
                <a:gd name="connsiteY10" fmla="*/ 260350 h 590550"/>
                <a:gd name="connsiteX11" fmla="*/ 396875 w 422804"/>
                <a:gd name="connsiteY11" fmla="*/ 311150 h 590550"/>
                <a:gd name="connsiteX12" fmla="*/ 403225 w 422804"/>
                <a:gd name="connsiteY12" fmla="*/ 358775 h 590550"/>
                <a:gd name="connsiteX13" fmla="*/ 422275 w 422804"/>
                <a:gd name="connsiteY13" fmla="*/ 409575 h 590550"/>
                <a:gd name="connsiteX14" fmla="*/ 403225 w 422804"/>
                <a:gd name="connsiteY14" fmla="*/ 409575 h 590550"/>
                <a:gd name="connsiteX15" fmla="*/ 415925 w 422804"/>
                <a:gd name="connsiteY15" fmla="*/ 419100 h 590550"/>
                <a:gd name="connsiteX16" fmla="*/ 422275 w 422804"/>
                <a:gd name="connsiteY16" fmla="*/ 476250 h 590550"/>
                <a:gd name="connsiteX17" fmla="*/ 412750 w 422804"/>
                <a:gd name="connsiteY17" fmla="*/ 517525 h 590550"/>
                <a:gd name="connsiteX18" fmla="*/ 400050 w 422804"/>
                <a:gd name="connsiteY18" fmla="*/ 558800 h 590550"/>
                <a:gd name="connsiteX19" fmla="*/ 368300 w 422804"/>
                <a:gd name="connsiteY19" fmla="*/ 590550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22804" h="590550">
                  <a:moveTo>
                    <a:pt x="0" y="0"/>
                  </a:moveTo>
                  <a:cubicBezTo>
                    <a:pt x="10848" y="23283"/>
                    <a:pt x="21696" y="46567"/>
                    <a:pt x="34925" y="60325"/>
                  </a:cubicBezTo>
                  <a:cubicBezTo>
                    <a:pt x="48154" y="74083"/>
                    <a:pt x="63500" y="69850"/>
                    <a:pt x="79375" y="82550"/>
                  </a:cubicBezTo>
                  <a:cubicBezTo>
                    <a:pt x="95250" y="95250"/>
                    <a:pt x="117475" y="127000"/>
                    <a:pt x="130175" y="136525"/>
                  </a:cubicBezTo>
                  <a:cubicBezTo>
                    <a:pt x="142875" y="146050"/>
                    <a:pt x="148696" y="131762"/>
                    <a:pt x="155575" y="139700"/>
                  </a:cubicBezTo>
                  <a:cubicBezTo>
                    <a:pt x="162454" y="147638"/>
                    <a:pt x="161925" y="173567"/>
                    <a:pt x="171450" y="184150"/>
                  </a:cubicBezTo>
                  <a:cubicBezTo>
                    <a:pt x="180975" y="194733"/>
                    <a:pt x="199496" y="203729"/>
                    <a:pt x="212725" y="203200"/>
                  </a:cubicBezTo>
                  <a:cubicBezTo>
                    <a:pt x="225954" y="202671"/>
                    <a:pt x="239183" y="184679"/>
                    <a:pt x="250825" y="180975"/>
                  </a:cubicBezTo>
                  <a:cubicBezTo>
                    <a:pt x="262467" y="177271"/>
                    <a:pt x="268288" y="173038"/>
                    <a:pt x="282575" y="180975"/>
                  </a:cubicBezTo>
                  <a:cubicBezTo>
                    <a:pt x="296862" y="188912"/>
                    <a:pt x="320146" y="215371"/>
                    <a:pt x="336550" y="228600"/>
                  </a:cubicBezTo>
                  <a:cubicBezTo>
                    <a:pt x="352954" y="241829"/>
                    <a:pt x="370946" y="246592"/>
                    <a:pt x="381000" y="260350"/>
                  </a:cubicBezTo>
                  <a:cubicBezTo>
                    <a:pt x="391054" y="274108"/>
                    <a:pt x="393171" y="294746"/>
                    <a:pt x="396875" y="311150"/>
                  </a:cubicBezTo>
                  <a:cubicBezTo>
                    <a:pt x="400579" y="327554"/>
                    <a:pt x="398992" y="342371"/>
                    <a:pt x="403225" y="358775"/>
                  </a:cubicBezTo>
                  <a:cubicBezTo>
                    <a:pt x="407458" y="375179"/>
                    <a:pt x="422275" y="401108"/>
                    <a:pt x="422275" y="409575"/>
                  </a:cubicBezTo>
                  <a:cubicBezTo>
                    <a:pt x="422275" y="418042"/>
                    <a:pt x="404283" y="407987"/>
                    <a:pt x="403225" y="409575"/>
                  </a:cubicBezTo>
                  <a:cubicBezTo>
                    <a:pt x="402167" y="411163"/>
                    <a:pt x="412750" y="407987"/>
                    <a:pt x="415925" y="419100"/>
                  </a:cubicBezTo>
                  <a:cubicBezTo>
                    <a:pt x="419100" y="430213"/>
                    <a:pt x="422804" y="459846"/>
                    <a:pt x="422275" y="476250"/>
                  </a:cubicBezTo>
                  <a:cubicBezTo>
                    <a:pt x="421746" y="492654"/>
                    <a:pt x="416454" y="503767"/>
                    <a:pt x="412750" y="517525"/>
                  </a:cubicBezTo>
                  <a:cubicBezTo>
                    <a:pt x="409046" y="531283"/>
                    <a:pt x="407458" y="546629"/>
                    <a:pt x="400050" y="558800"/>
                  </a:cubicBezTo>
                  <a:cubicBezTo>
                    <a:pt x="392642" y="570971"/>
                    <a:pt x="375179" y="585788"/>
                    <a:pt x="368300" y="590550"/>
                  </a:cubicBezTo>
                </a:path>
              </a:pathLst>
            </a:cu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0787" tIns="36810" rIns="70787" bIns="36810" numCol="1" rtlCol="0" anchor="ctr" anchorCtr="0" compatLnSpc="1">
              <a:prstTxWarp prst="textNoShape">
                <a:avLst/>
              </a:prstTxWarp>
            </a:bodyPr>
            <a:lstStyle/>
            <a:p>
              <a:pPr defTabSz="719255"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944" kern="0" dirty="0">
                <a:solidFill>
                  <a:srgbClr val="292929"/>
                </a:solidFill>
              </a:endParaRPr>
            </a:p>
          </p:txBody>
        </p:sp>
        <p:sp>
          <p:nvSpPr>
            <p:cNvPr id="144" name="Freeform 69"/>
            <p:cNvSpPr/>
            <p:nvPr/>
          </p:nvSpPr>
          <p:spPr bwMode="auto">
            <a:xfrm>
              <a:off x="3836901" y="3377606"/>
              <a:ext cx="642465" cy="1271634"/>
            </a:xfrm>
            <a:custGeom>
              <a:avLst/>
              <a:gdLst>
                <a:gd name="connsiteX0" fmla="*/ 59796 w 1282171"/>
                <a:gd name="connsiteY0" fmla="*/ 1498600 h 1606550"/>
                <a:gd name="connsiteX1" fmla="*/ 2646 w 1282171"/>
                <a:gd name="connsiteY1" fmla="*/ 1543050 h 1606550"/>
                <a:gd name="connsiteX2" fmla="*/ 43921 w 1282171"/>
                <a:gd name="connsiteY2" fmla="*/ 1581150 h 1606550"/>
                <a:gd name="connsiteX3" fmla="*/ 104246 w 1282171"/>
                <a:gd name="connsiteY3" fmla="*/ 1603375 h 1606550"/>
                <a:gd name="connsiteX4" fmla="*/ 161396 w 1282171"/>
                <a:gd name="connsiteY4" fmla="*/ 1600200 h 1606550"/>
                <a:gd name="connsiteX5" fmla="*/ 205846 w 1282171"/>
                <a:gd name="connsiteY5" fmla="*/ 1568450 h 1606550"/>
                <a:gd name="connsiteX6" fmla="*/ 250296 w 1282171"/>
                <a:gd name="connsiteY6" fmla="*/ 1543050 h 1606550"/>
                <a:gd name="connsiteX7" fmla="*/ 332846 w 1282171"/>
                <a:gd name="connsiteY7" fmla="*/ 1536700 h 1606550"/>
                <a:gd name="connsiteX8" fmla="*/ 377296 w 1282171"/>
                <a:gd name="connsiteY8" fmla="*/ 1546225 h 1606550"/>
                <a:gd name="connsiteX9" fmla="*/ 440796 w 1282171"/>
                <a:gd name="connsiteY9" fmla="*/ 1539875 h 1606550"/>
                <a:gd name="connsiteX10" fmla="*/ 491596 w 1282171"/>
                <a:gd name="connsiteY10" fmla="*/ 1539875 h 1606550"/>
                <a:gd name="connsiteX11" fmla="*/ 567796 w 1282171"/>
                <a:gd name="connsiteY11" fmla="*/ 1530350 h 1606550"/>
                <a:gd name="connsiteX12" fmla="*/ 596371 w 1282171"/>
                <a:gd name="connsiteY12" fmla="*/ 1489075 h 1606550"/>
                <a:gd name="connsiteX13" fmla="*/ 656696 w 1282171"/>
                <a:gd name="connsiteY13" fmla="*/ 1422400 h 1606550"/>
                <a:gd name="connsiteX14" fmla="*/ 666221 w 1282171"/>
                <a:gd name="connsiteY14" fmla="*/ 1365250 h 1606550"/>
                <a:gd name="connsiteX15" fmla="*/ 720196 w 1282171"/>
                <a:gd name="connsiteY15" fmla="*/ 1304925 h 1606550"/>
                <a:gd name="connsiteX16" fmla="*/ 736071 w 1282171"/>
                <a:gd name="connsiteY16" fmla="*/ 1260475 h 1606550"/>
                <a:gd name="connsiteX17" fmla="*/ 764646 w 1282171"/>
                <a:gd name="connsiteY17" fmla="*/ 1219200 h 1606550"/>
                <a:gd name="connsiteX18" fmla="*/ 815446 w 1282171"/>
                <a:gd name="connsiteY18" fmla="*/ 1168400 h 1606550"/>
                <a:gd name="connsiteX19" fmla="*/ 783696 w 1282171"/>
                <a:gd name="connsiteY19" fmla="*/ 1101725 h 1606550"/>
                <a:gd name="connsiteX20" fmla="*/ 799571 w 1282171"/>
                <a:gd name="connsiteY20" fmla="*/ 1025525 h 1606550"/>
                <a:gd name="connsiteX21" fmla="*/ 815446 w 1282171"/>
                <a:gd name="connsiteY21" fmla="*/ 958850 h 1606550"/>
                <a:gd name="connsiteX22" fmla="*/ 837671 w 1282171"/>
                <a:gd name="connsiteY22" fmla="*/ 885825 h 1606550"/>
                <a:gd name="connsiteX23" fmla="*/ 834496 w 1282171"/>
                <a:gd name="connsiteY23" fmla="*/ 819150 h 1606550"/>
                <a:gd name="connsiteX24" fmla="*/ 834496 w 1282171"/>
                <a:gd name="connsiteY24" fmla="*/ 704850 h 1606550"/>
                <a:gd name="connsiteX25" fmla="*/ 863071 w 1282171"/>
                <a:gd name="connsiteY25" fmla="*/ 666750 h 1606550"/>
                <a:gd name="connsiteX26" fmla="*/ 812271 w 1282171"/>
                <a:gd name="connsiteY26" fmla="*/ 584200 h 1606550"/>
                <a:gd name="connsiteX27" fmla="*/ 859896 w 1282171"/>
                <a:gd name="connsiteY27" fmla="*/ 495300 h 1606550"/>
                <a:gd name="connsiteX28" fmla="*/ 910696 w 1282171"/>
                <a:gd name="connsiteY28" fmla="*/ 419100 h 1606550"/>
                <a:gd name="connsiteX29" fmla="*/ 967846 w 1282171"/>
                <a:gd name="connsiteY29" fmla="*/ 393700 h 1606550"/>
                <a:gd name="connsiteX30" fmla="*/ 1018646 w 1282171"/>
                <a:gd name="connsiteY30" fmla="*/ 346075 h 1606550"/>
                <a:gd name="connsiteX31" fmla="*/ 1078971 w 1282171"/>
                <a:gd name="connsiteY31" fmla="*/ 254000 h 1606550"/>
                <a:gd name="connsiteX32" fmla="*/ 1101196 w 1282171"/>
                <a:gd name="connsiteY32" fmla="*/ 193675 h 1606550"/>
                <a:gd name="connsiteX33" fmla="*/ 1158346 w 1282171"/>
                <a:gd name="connsiteY33" fmla="*/ 161925 h 1606550"/>
                <a:gd name="connsiteX34" fmla="*/ 1212321 w 1282171"/>
                <a:gd name="connsiteY34" fmla="*/ 95250 h 1606550"/>
                <a:gd name="connsiteX35" fmla="*/ 1282171 w 128217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01196 w 1407651"/>
                <a:gd name="connsiteY32" fmla="*/ 193675 h 1606550"/>
                <a:gd name="connsiteX33" fmla="*/ 1158346 w 1407651"/>
                <a:gd name="connsiteY33" fmla="*/ 161925 h 1606550"/>
                <a:gd name="connsiteX34" fmla="*/ 1212321 w 1407651"/>
                <a:gd name="connsiteY34" fmla="*/ 95250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01196 w 1407651"/>
                <a:gd name="connsiteY32" fmla="*/ 193675 h 1606550"/>
                <a:gd name="connsiteX33" fmla="*/ 1158346 w 1407651"/>
                <a:gd name="connsiteY33" fmla="*/ 161925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01196 w 1407651"/>
                <a:gd name="connsiteY32" fmla="*/ 193675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078971 w 1407651"/>
                <a:gd name="connsiteY31" fmla="*/ 254000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18646 w 1407651"/>
                <a:gd name="connsiteY30" fmla="*/ 346075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393700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10696 w 1407651"/>
                <a:gd name="connsiteY28" fmla="*/ 419100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59896 w 1407651"/>
                <a:gd name="connsiteY27" fmla="*/ 495300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12271 w 1407651"/>
                <a:gd name="connsiteY26" fmla="*/ 584200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63071 w 1407651"/>
                <a:gd name="connsiteY25" fmla="*/ 666750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834496 w 1407651"/>
                <a:gd name="connsiteY24" fmla="*/ 70485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34496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37671 w 1407651"/>
                <a:gd name="connsiteY22" fmla="*/ 885825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15446 w 1407651"/>
                <a:gd name="connsiteY21" fmla="*/ 958850 h 1606550"/>
                <a:gd name="connsiteX22" fmla="*/ 881019 w 1407651"/>
                <a:gd name="connsiteY22" fmla="*/ 896438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799571 w 1407651"/>
                <a:gd name="connsiteY20" fmla="*/ 1025525 h 1606550"/>
                <a:gd name="connsiteX21" fmla="*/ 865638 w 1407651"/>
                <a:gd name="connsiteY21" fmla="*/ 977952 h 1606550"/>
                <a:gd name="connsiteX22" fmla="*/ 881019 w 1407651"/>
                <a:gd name="connsiteY22" fmla="*/ 896438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59796 w 1407651"/>
                <a:gd name="connsiteY0" fmla="*/ 1498600 h 1606550"/>
                <a:gd name="connsiteX1" fmla="*/ 2646 w 1407651"/>
                <a:gd name="connsiteY1" fmla="*/ 1543050 h 1606550"/>
                <a:gd name="connsiteX2" fmla="*/ 43921 w 1407651"/>
                <a:gd name="connsiteY2" fmla="*/ 1581150 h 1606550"/>
                <a:gd name="connsiteX3" fmla="*/ 104246 w 1407651"/>
                <a:gd name="connsiteY3" fmla="*/ 1603375 h 1606550"/>
                <a:gd name="connsiteX4" fmla="*/ 161396 w 1407651"/>
                <a:gd name="connsiteY4" fmla="*/ 1600200 h 1606550"/>
                <a:gd name="connsiteX5" fmla="*/ 205846 w 1407651"/>
                <a:gd name="connsiteY5" fmla="*/ 1568450 h 1606550"/>
                <a:gd name="connsiteX6" fmla="*/ 250296 w 1407651"/>
                <a:gd name="connsiteY6" fmla="*/ 1543050 h 1606550"/>
                <a:gd name="connsiteX7" fmla="*/ 332846 w 1407651"/>
                <a:gd name="connsiteY7" fmla="*/ 1536700 h 1606550"/>
                <a:gd name="connsiteX8" fmla="*/ 377296 w 1407651"/>
                <a:gd name="connsiteY8" fmla="*/ 1546225 h 1606550"/>
                <a:gd name="connsiteX9" fmla="*/ 440796 w 1407651"/>
                <a:gd name="connsiteY9" fmla="*/ 1539875 h 1606550"/>
                <a:gd name="connsiteX10" fmla="*/ 491596 w 1407651"/>
                <a:gd name="connsiteY10" fmla="*/ 1539875 h 1606550"/>
                <a:gd name="connsiteX11" fmla="*/ 567796 w 1407651"/>
                <a:gd name="connsiteY11" fmla="*/ 1530350 h 1606550"/>
                <a:gd name="connsiteX12" fmla="*/ 596371 w 1407651"/>
                <a:gd name="connsiteY12" fmla="*/ 1489075 h 1606550"/>
                <a:gd name="connsiteX13" fmla="*/ 656696 w 1407651"/>
                <a:gd name="connsiteY13" fmla="*/ 1422400 h 1606550"/>
                <a:gd name="connsiteX14" fmla="*/ 666221 w 1407651"/>
                <a:gd name="connsiteY14" fmla="*/ 1365250 h 1606550"/>
                <a:gd name="connsiteX15" fmla="*/ 720196 w 1407651"/>
                <a:gd name="connsiteY15" fmla="*/ 1304925 h 1606550"/>
                <a:gd name="connsiteX16" fmla="*/ 736071 w 1407651"/>
                <a:gd name="connsiteY16" fmla="*/ 1260475 h 1606550"/>
                <a:gd name="connsiteX17" fmla="*/ 764646 w 1407651"/>
                <a:gd name="connsiteY17" fmla="*/ 1219200 h 1606550"/>
                <a:gd name="connsiteX18" fmla="*/ 815446 w 1407651"/>
                <a:gd name="connsiteY18" fmla="*/ 1168400 h 1606550"/>
                <a:gd name="connsiteX19" fmla="*/ 783696 w 1407651"/>
                <a:gd name="connsiteY19" fmla="*/ 1101725 h 1606550"/>
                <a:gd name="connsiteX20" fmla="*/ 829230 w 1407651"/>
                <a:gd name="connsiteY20" fmla="*/ 1040382 h 1606550"/>
                <a:gd name="connsiteX21" fmla="*/ 865638 w 1407651"/>
                <a:gd name="connsiteY21" fmla="*/ 977952 h 1606550"/>
                <a:gd name="connsiteX22" fmla="*/ 881019 w 1407651"/>
                <a:gd name="connsiteY22" fmla="*/ 896438 h 1606550"/>
                <a:gd name="connsiteX23" fmla="*/ 896094 w 1407651"/>
                <a:gd name="connsiteY23" fmla="*/ 819150 h 1606550"/>
                <a:gd name="connsiteX24" fmla="*/ 905221 w 1407651"/>
                <a:gd name="connsiteY24" fmla="*/ 696360 h 1606550"/>
                <a:gd name="connsiteX25" fmla="*/ 885886 w 1407651"/>
                <a:gd name="connsiteY25" fmla="*/ 652858 h 1606550"/>
                <a:gd name="connsiteX26" fmla="*/ 898967 w 1407651"/>
                <a:gd name="connsiteY26" fmla="*/ 586322 h 1606550"/>
                <a:gd name="connsiteX27" fmla="*/ 891836 w 1407651"/>
                <a:gd name="connsiteY27" fmla="*/ 525722 h 1606550"/>
                <a:gd name="connsiteX28" fmla="*/ 906133 w 1407651"/>
                <a:gd name="connsiteY28" fmla="*/ 448815 h 1606550"/>
                <a:gd name="connsiteX29" fmla="*/ 967846 w 1407651"/>
                <a:gd name="connsiteY29" fmla="*/ 421293 h 1606550"/>
                <a:gd name="connsiteX30" fmla="*/ 1045661 w 1407651"/>
                <a:gd name="connsiteY30" fmla="*/ 397014 h 1606550"/>
                <a:gd name="connsiteX31" fmla="*/ 1115474 w 1407651"/>
                <a:gd name="connsiteY31" fmla="*/ 332531 h 1606550"/>
                <a:gd name="connsiteX32" fmla="*/ 1146825 w 1407651"/>
                <a:gd name="connsiteY32" fmla="*/ 278574 h 1606550"/>
                <a:gd name="connsiteX33" fmla="*/ 1183443 w 1407651"/>
                <a:gd name="connsiteY33" fmla="*/ 236211 h 1606550"/>
                <a:gd name="connsiteX34" fmla="*/ 1280764 w 1407651"/>
                <a:gd name="connsiteY34" fmla="*/ 150435 h 1606550"/>
                <a:gd name="connsiteX35" fmla="*/ 1407651 w 1407651"/>
                <a:gd name="connsiteY35" fmla="*/ 0 h 1606550"/>
                <a:gd name="connsiteX0" fmla="*/ 2646 w 1407651"/>
                <a:gd name="connsiteY0" fmla="*/ 1543050 h 1606550"/>
                <a:gd name="connsiteX1" fmla="*/ 43921 w 1407651"/>
                <a:gd name="connsiteY1" fmla="*/ 1581150 h 1606550"/>
                <a:gd name="connsiteX2" fmla="*/ 104246 w 1407651"/>
                <a:gd name="connsiteY2" fmla="*/ 1603375 h 1606550"/>
                <a:gd name="connsiteX3" fmla="*/ 161396 w 1407651"/>
                <a:gd name="connsiteY3" fmla="*/ 1600200 h 1606550"/>
                <a:gd name="connsiteX4" fmla="*/ 205846 w 1407651"/>
                <a:gd name="connsiteY4" fmla="*/ 1568450 h 1606550"/>
                <a:gd name="connsiteX5" fmla="*/ 250296 w 1407651"/>
                <a:gd name="connsiteY5" fmla="*/ 1543050 h 1606550"/>
                <a:gd name="connsiteX6" fmla="*/ 332846 w 1407651"/>
                <a:gd name="connsiteY6" fmla="*/ 1536700 h 1606550"/>
                <a:gd name="connsiteX7" fmla="*/ 377296 w 1407651"/>
                <a:gd name="connsiteY7" fmla="*/ 1546225 h 1606550"/>
                <a:gd name="connsiteX8" fmla="*/ 440796 w 1407651"/>
                <a:gd name="connsiteY8" fmla="*/ 1539875 h 1606550"/>
                <a:gd name="connsiteX9" fmla="*/ 491596 w 1407651"/>
                <a:gd name="connsiteY9" fmla="*/ 1539875 h 1606550"/>
                <a:gd name="connsiteX10" fmla="*/ 567796 w 1407651"/>
                <a:gd name="connsiteY10" fmla="*/ 1530350 h 1606550"/>
                <a:gd name="connsiteX11" fmla="*/ 596371 w 1407651"/>
                <a:gd name="connsiteY11" fmla="*/ 1489075 h 1606550"/>
                <a:gd name="connsiteX12" fmla="*/ 656696 w 1407651"/>
                <a:gd name="connsiteY12" fmla="*/ 1422400 h 1606550"/>
                <a:gd name="connsiteX13" fmla="*/ 666221 w 1407651"/>
                <a:gd name="connsiteY13" fmla="*/ 1365250 h 1606550"/>
                <a:gd name="connsiteX14" fmla="*/ 720196 w 1407651"/>
                <a:gd name="connsiteY14" fmla="*/ 1304925 h 1606550"/>
                <a:gd name="connsiteX15" fmla="*/ 736071 w 1407651"/>
                <a:gd name="connsiteY15" fmla="*/ 1260475 h 1606550"/>
                <a:gd name="connsiteX16" fmla="*/ 764646 w 1407651"/>
                <a:gd name="connsiteY16" fmla="*/ 1219200 h 1606550"/>
                <a:gd name="connsiteX17" fmla="*/ 815446 w 1407651"/>
                <a:gd name="connsiteY17" fmla="*/ 1168400 h 1606550"/>
                <a:gd name="connsiteX18" fmla="*/ 783696 w 1407651"/>
                <a:gd name="connsiteY18" fmla="*/ 1101725 h 1606550"/>
                <a:gd name="connsiteX19" fmla="*/ 829230 w 1407651"/>
                <a:gd name="connsiteY19" fmla="*/ 1040382 h 1606550"/>
                <a:gd name="connsiteX20" fmla="*/ 865638 w 1407651"/>
                <a:gd name="connsiteY20" fmla="*/ 977952 h 1606550"/>
                <a:gd name="connsiteX21" fmla="*/ 881019 w 1407651"/>
                <a:gd name="connsiteY21" fmla="*/ 896438 h 1606550"/>
                <a:gd name="connsiteX22" fmla="*/ 896094 w 1407651"/>
                <a:gd name="connsiteY22" fmla="*/ 819150 h 1606550"/>
                <a:gd name="connsiteX23" fmla="*/ 905221 w 1407651"/>
                <a:gd name="connsiteY23" fmla="*/ 696360 h 1606550"/>
                <a:gd name="connsiteX24" fmla="*/ 885886 w 1407651"/>
                <a:gd name="connsiteY24" fmla="*/ 652858 h 1606550"/>
                <a:gd name="connsiteX25" fmla="*/ 898967 w 1407651"/>
                <a:gd name="connsiteY25" fmla="*/ 586322 h 1606550"/>
                <a:gd name="connsiteX26" fmla="*/ 891836 w 1407651"/>
                <a:gd name="connsiteY26" fmla="*/ 525722 h 1606550"/>
                <a:gd name="connsiteX27" fmla="*/ 906133 w 1407651"/>
                <a:gd name="connsiteY27" fmla="*/ 448815 h 1606550"/>
                <a:gd name="connsiteX28" fmla="*/ 967846 w 1407651"/>
                <a:gd name="connsiteY28" fmla="*/ 421293 h 1606550"/>
                <a:gd name="connsiteX29" fmla="*/ 1045661 w 1407651"/>
                <a:gd name="connsiteY29" fmla="*/ 397014 h 1606550"/>
                <a:gd name="connsiteX30" fmla="*/ 1115474 w 1407651"/>
                <a:gd name="connsiteY30" fmla="*/ 332531 h 1606550"/>
                <a:gd name="connsiteX31" fmla="*/ 1146825 w 1407651"/>
                <a:gd name="connsiteY31" fmla="*/ 278574 h 1606550"/>
                <a:gd name="connsiteX32" fmla="*/ 1183443 w 1407651"/>
                <a:gd name="connsiteY32" fmla="*/ 236211 h 1606550"/>
                <a:gd name="connsiteX33" fmla="*/ 1280764 w 1407651"/>
                <a:gd name="connsiteY33" fmla="*/ 150435 h 1606550"/>
                <a:gd name="connsiteX34" fmla="*/ 1407651 w 1407651"/>
                <a:gd name="connsiteY34" fmla="*/ 0 h 1606550"/>
                <a:gd name="connsiteX0" fmla="*/ 0 w 1363730"/>
                <a:gd name="connsiteY0" fmla="*/ 1581150 h 1606550"/>
                <a:gd name="connsiteX1" fmla="*/ 60325 w 1363730"/>
                <a:gd name="connsiteY1" fmla="*/ 1603375 h 1606550"/>
                <a:gd name="connsiteX2" fmla="*/ 117475 w 1363730"/>
                <a:gd name="connsiteY2" fmla="*/ 1600200 h 1606550"/>
                <a:gd name="connsiteX3" fmla="*/ 161925 w 1363730"/>
                <a:gd name="connsiteY3" fmla="*/ 1568450 h 1606550"/>
                <a:gd name="connsiteX4" fmla="*/ 206375 w 1363730"/>
                <a:gd name="connsiteY4" fmla="*/ 1543050 h 1606550"/>
                <a:gd name="connsiteX5" fmla="*/ 288925 w 1363730"/>
                <a:gd name="connsiteY5" fmla="*/ 1536700 h 1606550"/>
                <a:gd name="connsiteX6" fmla="*/ 333375 w 1363730"/>
                <a:gd name="connsiteY6" fmla="*/ 1546225 h 1606550"/>
                <a:gd name="connsiteX7" fmla="*/ 396875 w 1363730"/>
                <a:gd name="connsiteY7" fmla="*/ 1539875 h 1606550"/>
                <a:gd name="connsiteX8" fmla="*/ 447675 w 1363730"/>
                <a:gd name="connsiteY8" fmla="*/ 1539875 h 1606550"/>
                <a:gd name="connsiteX9" fmla="*/ 523875 w 1363730"/>
                <a:gd name="connsiteY9" fmla="*/ 1530350 h 1606550"/>
                <a:gd name="connsiteX10" fmla="*/ 552450 w 1363730"/>
                <a:gd name="connsiteY10" fmla="*/ 1489075 h 1606550"/>
                <a:gd name="connsiteX11" fmla="*/ 612775 w 1363730"/>
                <a:gd name="connsiteY11" fmla="*/ 1422400 h 1606550"/>
                <a:gd name="connsiteX12" fmla="*/ 622300 w 1363730"/>
                <a:gd name="connsiteY12" fmla="*/ 1365250 h 1606550"/>
                <a:gd name="connsiteX13" fmla="*/ 676275 w 1363730"/>
                <a:gd name="connsiteY13" fmla="*/ 1304925 h 1606550"/>
                <a:gd name="connsiteX14" fmla="*/ 692150 w 1363730"/>
                <a:gd name="connsiteY14" fmla="*/ 1260475 h 1606550"/>
                <a:gd name="connsiteX15" fmla="*/ 720725 w 1363730"/>
                <a:gd name="connsiteY15" fmla="*/ 1219200 h 1606550"/>
                <a:gd name="connsiteX16" fmla="*/ 771525 w 1363730"/>
                <a:gd name="connsiteY16" fmla="*/ 1168400 h 1606550"/>
                <a:gd name="connsiteX17" fmla="*/ 739775 w 1363730"/>
                <a:gd name="connsiteY17" fmla="*/ 1101725 h 1606550"/>
                <a:gd name="connsiteX18" fmla="*/ 785309 w 1363730"/>
                <a:gd name="connsiteY18" fmla="*/ 1040382 h 1606550"/>
                <a:gd name="connsiteX19" fmla="*/ 821717 w 1363730"/>
                <a:gd name="connsiteY19" fmla="*/ 977952 h 1606550"/>
                <a:gd name="connsiteX20" fmla="*/ 837098 w 1363730"/>
                <a:gd name="connsiteY20" fmla="*/ 896438 h 1606550"/>
                <a:gd name="connsiteX21" fmla="*/ 852173 w 1363730"/>
                <a:gd name="connsiteY21" fmla="*/ 819150 h 1606550"/>
                <a:gd name="connsiteX22" fmla="*/ 861300 w 1363730"/>
                <a:gd name="connsiteY22" fmla="*/ 696360 h 1606550"/>
                <a:gd name="connsiteX23" fmla="*/ 841965 w 1363730"/>
                <a:gd name="connsiteY23" fmla="*/ 652858 h 1606550"/>
                <a:gd name="connsiteX24" fmla="*/ 855046 w 1363730"/>
                <a:gd name="connsiteY24" fmla="*/ 586322 h 1606550"/>
                <a:gd name="connsiteX25" fmla="*/ 847915 w 1363730"/>
                <a:gd name="connsiteY25" fmla="*/ 525722 h 1606550"/>
                <a:gd name="connsiteX26" fmla="*/ 862212 w 1363730"/>
                <a:gd name="connsiteY26" fmla="*/ 448815 h 1606550"/>
                <a:gd name="connsiteX27" fmla="*/ 923925 w 1363730"/>
                <a:gd name="connsiteY27" fmla="*/ 421293 h 1606550"/>
                <a:gd name="connsiteX28" fmla="*/ 1001740 w 1363730"/>
                <a:gd name="connsiteY28" fmla="*/ 397014 h 1606550"/>
                <a:gd name="connsiteX29" fmla="*/ 1071553 w 1363730"/>
                <a:gd name="connsiteY29" fmla="*/ 332531 h 1606550"/>
                <a:gd name="connsiteX30" fmla="*/ 1102904 w 1363730"/>
                <a:gd name="connsiteY30" fmla="*/ 278574 h 1606550"/>
                <a:gd name="connsiteX31" fmla="*/ 1139522 w 1363730"/>
                <a:gd name="connsiteY31" fmla="*/ 236211 h 1606550"/>
                <a:gd name="connsiteX32" fmla="*/ 1236843 w 1363730"/>
                <a:gd name="connsiteY32" fmla="*/ 150435 h 1606550"/>
                <a:gd name="connsiteX33" fmla="*/ 1363730 w 1363730"/>
                <a:gd name="connsiteY33" fmla="*/ 0 h 1606550"/>
                <a:gd name="connsiteX0" fmla="*/ 0 w 1363730"/>
                <a:gd name="connsiteY0" fmla="*/ 1581150 h 1602317"/>
                <a:gd name="connsiteX1" fmla="*/ 117475 w 1363730"/>
                <a:gd name="connsiteY1" fmla="*/ 1600200 h 1602317"/>
                <a:gd name="connsiteX2" fmla="*/ 161925 w 1363730"/>
                <a:gd name="connsiteY2" fmla="*/ 1568450 h 1602317"/>
                <a:gd name="connsiteX3" fmla="*/ 206375 w 1363730"/>
                <a:gd name="connsiteY3" fmla="*/ 1543050 h 1602317"/>
                <a:gd name="connsiteX4" fmla="*/ 288925 w 1363730"/>
                <a:gd name="connsiteY4" fmla="*/ 1536700 h 1602317"/>
                <a:gd name="connsiteX5" fmla="*/ 333375 w 1363730"/>
                <a:gd name="connsiteY5" fmla="*/ 1546225 h 1602317"/>
                <a:gd name="connsiteX6" fmla="*/ 396875 w 1363730"/>
                <a:gd name="connsiteY6" fmla="*/ 1539875 h 1602317"/>
                <a:gd name="connsiteX7" fmla="*/ 447675 w 1363730"/>
                <a:gd name="connsiteY7" fmla="*/ 1539875 h 1602317"/>
                <a:gd name="connsiteX8" fmla="*/ 523875 w 1363730"/>
                <a:gd name="connsiteY8" fmla="*/ 1530350 h 1602317"/>
                <a:gd name="connsiteX9" fmla="*/ 552450 w 1363730"/>
                <a:gd name="connsiteY9" fmla="*/ 1489075 h 1602317"/>
                <a:gd name="connsiteX10" fmla="*/ 612775 w 1363730"/>
                <a:gd name="connsiteY10" fmla="*/ 1422400 h 1602317"/>
                <a:gd name="connsiteX11" fmla="*/ 622300 w 1363730"/>
                <a:gd name="connsiteY11" fmla="*/ 1365250 h 1602317"/>
                <a:gd name="connsiteX12" fmla="*/ 676275 w 1363730"/>
                <a:gd name="connsiteY12" fmla="*/ 1304925 h 1602317"/>
                <a:gd name="connsiteX13" fmla="*/ 692150 w 1363730"/>
                <a:gd name="connsiteY13" fmla="*/ 1260475 h 1602317"/>
                <a:gd name="connsiteX14" fmla="*/ 720725 w 1363730"/>
                <a:gd name="connsiteY14" fmla="*/ 1219200 h 1602317"/>
                <a:gd name="connsiteX15" fmla="*/ 771525 w 1363730"/>
                <a:gd name="connsiteY15" fmla="*/ 1168400 h 1602317"/>
                <a:gd name="connsiteX16" fmla="*/ 739775 w 1363730"/>
                <a:gd name="connsiteY16" fmla="*/ 1101725 h 1602317"/>
                <a:gd name="connsiteX17" fmla="*/ 785309 w 1363730"/>
                <a:gd name="connsiteY17" fmla="*/ 1040382 h 1602317"/>
                <a:gd name="connsiteX18" fmla="*/ 821717 w 1363730"/>
                <a:gd name="connsiteY18" fmla="*/ 977952 h 1602317"/>
                <a:gd name="connsiteX19" fmla="*/ 837098 w 1363730"/>
                <a:gd name="connsiteY19" fmla="*/ 896438 h 1602317"/>
                <a:gd name="connsiteX20" fmla="*/ 852173 w 1363730"/>
                <a:gd name="connsiteY20" fmla="*/ 819150 h 1602317"/>
                <a:gd name="connsiteX21" fmla="*/ 861300 w 1363730"/>
                <a:gd name="connsiteY21" fmla="*/ 696360 h 1602317"/>
                <a:gd name="connsiteX22" fmla="*/ 841965 w 1363730"/>
                <a:gd name="connsiteY22" fmla="*/ 652858 h 1602317"/>
                <a:gd name="connsiteX23" fmla="*/ 855046 w 1363730"/>
                <a:gd name="connsiteY23" fmla="*/ 586322 h 1602317"/>
                <a:gd name="connsiteX24" fmla="*/ 847915 w 1363730"/>
                <a:gd name="connsiteY24" fmla="*/ 525722 h 1602317"/>
                <a:gd name="connsiteX25" fmla="*/ 862212 w 1363730"/>
                <a:gd name="connsiteY25" fmla="*/ 448815 h 1602317"/>
                <a:gd name="connsiteX26" fmla="*/ 923925 w 1363730"/>
                <a:gd name="connsiteY26" fmla="*/ 421293 h 1602317"/>
                <a:gd name="connsiteX27" fmla="*/ 1001740 w 1363730"/>
                <a:gd name="connsiteY27" fmla="*/ 397014 h 1602317"/>
                <a:gd name="connsiteX28" fmla="*/ 1071553 w 1363730"/>
                <a:gd name="connsiteY28" fmla="*/ 332531 h 1602317"/>
                <a:gd name="connsiteX29" fmla="*/ 1102904 w 1363730"/>
                <a:gd name="connsiteY29" fmla="*/ 278574 h 1602317"/>
                <a:gd name="connsiteX30" fmla="*/ 1139522 w 1363730"/>
                <a:gd name="connsiteY30" fmla="*/ 236211 h 1602317"/>
                <a:gd name="connsiteX31" fmla="*/ 1236843 w 1363730"/>
                <a:gd name="connsiteY31" fmla="*/ 150435 h 1602317"/>
                <a:gd name="connsiteX32" fmla="*/ 1363730 w 1363730"/>
                <a:gd name="connsiteY32" fmla="*/ 0 h 1602317"/>
                <a:gd name="connsiteX0" fmla="*/ 0 w 1363730"/>
                <a:gd name="connsiteY0" fmla="*/ 1581150 h 1581150"/>
                <a:gd name="connsiteX1" fmla="*/ 161925 w 1363730"/>
                <a:gd name="connsiteY1" fmla="*/ 1568450 h 1581150"/>
                <a:gd name="connsiteX2" fmla="*/ 206375 w 1363730"/>
                <a:gd name="connsiteY2" fmla="*/ 1543050 h 1581150"/>
                <a:gd name="connsiteX3" fmla="*/ 288925 w 1363730"/>
                <a:gd name="connsiteY3" fmla="*/ 1536700 h 1581150"/>
                <a:gd name="connsiteX4" fmla="*/ 333375 w 1363730"/>
                <a:gd name="connsiteY4" fmla="*/ 1546225 h 1581150"/>
                <a:gd name="connsiteX5" fmla="*/ 396875 w 1363730"/>
                <a:gd name="connsiteY5" fmla="*/ 1539875 h 1581150"/>
                <a:gd name="connsiteX6" fmla="*/ 447675 w 1363730"/>
                <a:gd name="connsiteY6" fmla="*/ 1539875 h 1581150"/>
                <a:gd name="connsiteX7" fmla="*/ 523875 w 1363730"/>
                <a:gd name="connsiteY7" fmla="*/ 1530350 h 1581150"/>
                <a:gd name="connsiteX8" fmla="*/ 552450 w 1363730"/>
                <a:gd name="connsiteY8" fmla="*/ 1489075 h 1581150"/>
                <a:gd name="connsiteX9" fmla="*/ 612775 w 1363730"/>
                <a:gd name="connsiteY9" fmla="*/ 1422400 h 1581150"/>
                <a:gd name="connsiteX10" fmla="*/ 622300 w 1363730"/>
                <a:gd name="connsiteY10" fmla="*/ 1365250 h 1581150"/>
                <a:gd name="connsiteX11" fmla="*/ 676275 w 1363730"/>
                <a:gd name="connsiteY11" fmla="*/ 1304925 h 1581150"/>
                <a:gd name="connsiteX12" fmla="*/ 692150 w 1363730"/>
                <a:gd name="connsiteY12" fmla="*/ 1260475 h 1581150"/>
                <a:gd name="connsiteX13" fmla="*/ 720725 w 1363730"/>
                <a:gd name="connsiteY13" fmla="*/ 1219200 h 1581150"/>
                <a:gd name="connsiteX14" fmla="*/ 771525 w 1363730"/>
                <a:gd name="connsiteY14" fmla="*/ 1168400 h 1581150"/>
                <a:gd name="connsiteX15" fmla="*/ 739775 w 1363730"/>
                <a:gd name="connsiteY15" fmla="*/ 1101725 h 1581150"/>
                <a:gd name="connsiteX16" fmla="*/ 785309 w 1363730"/>
                <a:gd name="connsiteY16" fmla="*/ 1040382 h 1581150"/>
                <a:gd name="connsiteX17" fmla="*/ 821717 w 1363730"/>
                <a:gd name="connsiteY17" fmla="*/ 977952 h 1581150"/>
                <a:gd name="connsiteX18" fmla="*/ 837098 w 1363730"/>
                <a:gd name="connsiteY18" fmla="*/ 896438 h 1581150"/>
                <a:gd name="connsiteX19" fmla="*/ 852173 w 1363730"/>
                <a:gd name="connsiteY19" fmla="*/ 819150 h 1581150"/>
                <a:gd name="connsiteX20" fmla="*/ 861300 w 1363730"/>
                <a:gd name="connsiteY20" fmla="*/ 696360 h 1581150"/>
                <a:gd name="connsiteX21" fmla="*/ 841965 w 1363730"/>
                <a:gd name="connsiteY21" fmla="*/ 652858 h 1581150"/>
                <a:gd name="connsiteX22" fmla="*/ 855046 w 1363730"/>
                <a:gd name="connsiteY22" fmla="*/ 586322 h 1581150"/>
                <a:gd name="connsiteX23" fmla="*/ 847915 w 1363730"/>
                <a:gd name="connsiteY23" fmla="*/ 525722 h 1581150"/>
                <a:gd name="connsiteX24" fmla="*/ 862212 w 1363730"/>
                <a:gd name="connsiteY24" fmla="*/ 448815 h 1581150"/>
                <a:gd name="connsiteX25" fmla="*/ 923925 w 1363730"/>
                <a:gd name="connsiteY25" fmla="*/ 421293 h 1581150"/>
                <a:gd name="connsiteX26" fmla="*/ 1001740 w 1363730"/>
                <a:gd name="connsiteY26" fmla="*/ 397014 h 1581150"/>
                <a:gd name="connsiteX27" fmla="*/ 1071553 w 1363730"/>
                <a:gd name="connsiteY27" fmla="*/ 332531 h 1581150"/>
                <a:gd name="connsiteX28" fmla="*/ 1102904 w 1363730"/>
                <a:gd name="connsiteY28" fmla="*/ 278574 h 1581150"/>
                <a:gd name="connsiteX29" fmla="*/ 1139522 w 1363730"/>
                <a:gd name="connsiteY29" fmla="*/ 236211 h 1581150"/>
                <a:gd name="connsiteX30" fmla="*/ 1236843 w 1363730"/>
                <a:gd name="connsiteY30" fmla="*/ 150435 h 1581150"/>
                <a:gd name="connsiteX31" fmla="*/ 1363730 w 1363730"/>
                <a:gd name="connsiteY31" fmla="*/ 0 h 1581150"/>
                <a:gd name="connsiteX0" fmla="*/ 0 w 1201805"/>
                <a:gd name="connsiteY0" fmla="*/ 1568450 h 1568450"/>
                <a:gd name="connsiteX1" fmla="*/ 44450 w 1201805"/>
                <a:gd name="connsiteY1" fmla="*/ 1543050 h 1568450"/>
                <a:gd name="connsiteX2" fmla="*/ 127000 w 1201805"/>
                <a:gd name="connsiteY2" fmla="*/ 1536700 h 1568450"/>
                <a:gd name="connsiteX3" fmla="*/ 171450 w 1201805"/>
                <a:gd name="connsiteY3" fmla="*/ 1546225 h 1568450"/>
                <a:gd name="connsiteX4" fmla="*/ 234950 w 1201805"/>
                <a:gd name="connsiteY4" fmla="*/ 1539875 h 1568450"/>
                <a:gd name="connsiteX5" fmla="*/ 285750 w 1201805"/>
                <a:gd name="connsiteY5" fmla="*/ 1539875 h 1568450"/>
                <a:gd name="connsiteX6" fmla="*/ 361950 w 1201805"/>
                <a:gd name="connsiteY6" fmla="*/ 1530350 h 1568450"/>
                <a:gd name="connsiteX7" fmla="*/ 390525 w 1201805"/>
                <a:gd name="connsiteY7" fmla="*/ 1489075 h 1568450"/>
                <a:gd name="connsiteX8" fmla="*/ 450850 w 1201805"/>
                <a:gd name="connsiteY8" fmla="*/ 1422400 h 1568450"/>
                <a:gd name="connsiteX9" fmla="*/ 460375 w 1201805"/>
                <a:gd name="connsiteY9" fmla="*/ 1365250 h 1568450"/>
                <a:gd name="connsiteX10" fmla="*/ 514350 w 1201805"/>
                <a:gd name="connsiteY10" fmla="*/ 1304925 h 1568450"/>
                <a:gd name="connsiteX11" fmla="*/ 530225 w 1201805"/>
                <a:gd name="connsiteY11" fmla="*/ 1260475 h 1568450"/>
                <a:gd name="connsiteX12" fmla="*/ 558800 w 1201805"/>
                <a:gd name="connsiteY12" fmla="*/ 1219200 h 1568450"/>
                <a:gd name="connsiteX13" fmla="*/ 609600 w 1201805"/>
                <a:gd name="connsiteY13" fmla="*/ 1168400 h 1568450"/>
                <a:gd name="connsiteX14" fmla="*/ 577850 w 1201805"/>
                <a:gd name="connsiteY14" fmla="*/ 1101725 h 1568450"/>
                <a:gd name="connsiteX15" fmla="*/ 623384 w 1201805"/>
                <a:gd name="connsiteY15" fmla="*/ 1040382 h 1568450"/>
                <a:gd name="connsiteX16" fmla="*/ 659792 w 1201805"/>
                <a:gd name="connsiteY16" fmla="*/ 977952 h 1568450"/>
                <a:gd name="connsiteX17" fmla="*/ 675173 w 1201805"/>
                <a:gd name="connsiteY17" fmla="*/ 896438 h 1568450"/>
                <a:gd name="connsiteX18" fmla="*/ 690248 w 1201805"/>
                <a:gd name="connsiteY18" fmla="*/ 819150 h 1568450"/>
                <a:gd name="connsiteX19" fmla="*/ 699375 w 1201805"/>
                <a:gd name="connsiteY19" fmla="*/ 696360 h 1568450"/>
                <a:gd name="connsiteX20" fmla="*/ 680040 w 1201805"/>
                <a:gd name="connsiteY20" fmla="*/ 652858 h 1568450"/>
                <a:gd name="connsiteX21" fmla="*/ 693121 w 1201805"/>
                <a:gd name="connsiteY21" fmla="*/ 586322 h 1568450"/>
                <a:gd name="connsiteX22" fmla="*/ 685990 w 1201805"/>
                <a:gd name="connsiteY22" fmla="*/ 525722 h 1568450"/>
                <a:gd name="connsiteX23" fmla="*/ 700287 w 1201805"/>
                <a:gd name="connsiteY23" fmla="*/ 448815 h 1568450"/>
                <a:gd name="connsiteX24" fmla="*/ 762000 w 1201805"/>
                <a:gd name="connsiteY24" fmla="*/ 421293 h 1568450"/>
                <a:gd name="connsiteX25" fmla="*/ 839815 w 1201805"/>
                <a:gd name="connsiteY25" fmla="*/ 397014 h 1568450"/>
                <a:gd name="connsiteX26" fmla="*/ 909628 w 1201805"/>
                <a:gd name="connsiteY26" fmla="*/ 332531 h 1568450"/>
                <a:gd name="connsiteX27" fmla="*/ 940979 w 1201805"/>
                <a:gd name="connsiteY27" fmla="*/ 278574 h 1568450"/>
                <a:gd name="connsiteX28" fmla="*/ 977597 w 1201805"/>
                <a:gd name="connsiteY28" fmla="*/ 236211 h 1568450"/>
                <a:gd name="connsiteX29" fmla="*/ 1074918 w 1201805"/>
                <a:gd name="connsiteY29" fmla="*/ 150435 h 1568450"/>
                <a:gd name="connsiteX30" fmla="*/ 1201805 w 1201805"/>
                <a:gd name="connsiteY30" fmla="*/ 0 h 1568450"/>
                <a:gd name="connsiteX0" fmla="*/ -1 w 1157354"/>
                <a:gd name="connsiteY0" fmla="*/ 1543050 h 1546754"/>
                <a:gd name="connsiteX1" fmla="*/ 82549 w 1157354"/>
                <a:gd name="connsiteY1" fmla="*/ 1536700 h 1546754"/>
                <a:gd name="connsiteX2" fmla="*/ 126999 w 1157354"/>
                <a:gd name="connsiteY2" fmla="*/ 1546225 h 1546754"/>
                <a:gd name="connsiteX3" fmla="*/ 190499 w 1157354"/>
                <a:gd name="connsiteY3" fmla="*/ 1539875 h 1546754"/>
                <a:gd name="connsiteX4" fmla="*/ 241299 w 1157354"/>
                <a:gd name="connsiteY4" fmla="*/ 1539875 h 1546754"/>
                <a:gd name="connsiteX5" fmla="*/ 317499 w 1157354"/>
                <a:gd name="connsiteY5" fmla="*/ 1530350 h 1546754"/>
                <a:gd name="connsiteX6" fmla="*/ 346074 w 1157354"/>
                <a:gd name="connsiteY6" fmla="*/ 1489075 h 1546754"/>
                <a:gd name="connsiteX7" fmla="*/ 406399 w 1157354"/>
                <a:gd name="connsiteY7" fmla="*/ 1422400 h 1546754"/>
                <a:gd name="connsiteX8" fmla="*/ 415924 w 1157354"/>
                <a:gd name="connsiteY8" fmla="*/ 1365250 h 1546754"/>
                <a:gd name="connsiteX9" fmla="*/ 469899 w 1157354"/>
                <a:gd name="connsiteY9" fmla="*/ 1304925 h 1546754"/>
                <a:gd name="connsiteX10" fmla="*/ 485774 w 1157354"/>
                <a:gd name="connsiteY10" fmla="*/ 1260475 h 1546754"/>
                <a:gd name="connsiteX11" fmla="*/ 514349 w 1157354"/>
                <a:gd name="connsiteY11" fmla="*/ 1219200 h 1546754"/>
                <a:gd name="connsiteX12" fmla="*/ 565149 w 1157354"/>
                <a:gd name="connsiteY12" fmla="*/ 1168400 h 1546754"/>
                <a:gd name="connsiteX13" fmla="*/ 533399 w 1157354"/>
                <a:gd name="connsiteY13" fmla="*/ 1101725 h 1546754"/>
                <a:gd name="connsiteX14" fmla="*/ 578933 w 1157354"/>
                <a:gd name="connsiteY14" fmla="*/ 1040382 h 1546754"/>
                <a:gd name="connsiteX15" fmla="*/ 615341 w 1157354"/>
                <a:gd name="connsiteY15" fmla="*/ 977952 h 1546754"/>
                <a:gd name="connsiteX16" fmla="*/ 630722 w 1157354"/>
                <a:gd name="connsiteY16" fmla="*/ 896438 h 1546754"/>
                <a:gd name="connsiteX17" fmla="*/ 645797 w 1157354"/>
                <a:gd name="connsiteY17" fmla="*/ 819150 h 1546754"/>
                <a:gd name="connsiteX18" fmla="*/ 654924 w 1157354"/>
                <a:gd name="connsiteY18" fmla="*/ 696360 h 1546754"/>
                <a:gd name="connsiteX19" fmla="*/ 635589 w 1157354"/>
                <a:gd name="connsiteY19" fmla="*/ 652858 h 1546754"/>
                <a:gd name="connsiteX20" fmla="*/ 648670 w 1157354"/>
                <a:gd name="connsiteY20" fmla="*/ 586322 h 1546754"/>
                <a:gd name="connsiteX21" fmla="*/ 641539 w 1157354"/>
                <a:gd name="connsiteY21" fmla="*/ 525722 h 1546754"/>
                <a:gd name="connsiteX22" fmla="*/ 655836 w 1157354"/>
                <a:gd name="connsiteY22" fmla="*/ 448815 h 1546754"/>
                <a:gd name="connsiteX23" fmla="*/ 717549 w 1157354"/>
                <a:gd name="connsiteY23" fmla="*/ 421293 h 1546754"/>
                <a:gd name="connsiteX24" fmla="*/ 795364 w 1157354"/>
                <a:gd name="connsiteY24" fmla="*/ 397014 h 1546754"/>
                <a:gd name="connsiteX25" fmla="*/ 865177 w 1157354"/>
                <a:gd name="connsiteY25" fmla="*/ 332531 h 1546754"/>
                <a:gd name="connsiteX26" fmla="*/ 896528 w 1157354"/>
                <a:gd name="connsiteY26" fmla="*/ 278574 h 1546754"/>
                <a:gd name="connsiteX27" fmla="*/ 933146 w 1157354"/>
                <a:gd name="connsiteY27" fmla="*/ 236211 h 1546754"/>
                <a:gd name="connsiteX28" fmla="*/ 1030467 w 1157354"/>
                <a:gd name="connsiteY28" fmla="*/ 150435 h 1546754"/>
                <a:gd name="connsiteX29" fmla="*/ 1157354 w 1157354"/>
                <a:gd name="connsiteY29" fmla="*/ 0 h 1546754"/>
                <a:gd name="connsiteX0" fmla="*/ -1 w 1074804"/>
                <a:gd name="connsiteY0" fmla="*/ 1536700 h 1546754"/>
                <a:gd name="connsiteX1" fmla="*/ 44449 w 1074804"/>
                <a:gd name="connsiteY1" fmla="*/ 1546225 h 1546754"/>
                <a:gd name="connsiteX2" fmla="*/ 107949 w 1074804"/>
                <a:gd name="connsiteY2" fmla="*/ 1539875 h 1546754"/>
                <a:gd name="connsiteX3" fmla="*/ 158749 w 1074804"/>
                <a:gd name="connsiteY3" fmla="*/ 1539875 h 1546754"/>
                <a:gd name="connsiteX4" fmla="*/ 234949 w 1074804"/>
                <a:gd name="connsiteY4" fmla="*/ 1530350 h 1546754"/>
                <a:gd name="connsiteX5" fmla="*/ 263524 w 1074804"/>
                <a:gd name="connsiteY5" fmla="*/ 1489075 h 1546754"/>
                <a:gd name="connsiteX6" fmla="*/ 323849 w 1074804"/>
                <a:gd name="connsiteY6" fmla="*/ 1422400 h 1546754"/>
                <a:gd name="connsiteX7" fmla="*/ 333374 w 1074804"/>
                <a:gd name="connsiteY7" fmla="*/ 1365250 h 1546754"/>
                <a:gd name="connsiteX8" fmla="*/ 387349 w 1074804"/>
                <a:gd name="connsiteY8" fmla="*/ 1304925 h 1546754"/>
                <a:gd name="connsiteX9" fmla="*/ 403224 w 1074804"/>
                <a:gd name="connsiteY9" fmla="*/ 1260475 h 1546754"/>
                <a:gd name="connsiteX10" fmla="*/ 431799 w 1074804"/>
                <a:gd name="connsiteY10" fmla="*/ 1219200 h 1546754"/>
                <a:gd name="connsiteX11" fmla="*/ 482599 w 1074804"/>
                <a:gd name="connsiteY11" fmla="*/ 1168400 h 1546754"/>
                <a:gd name="connsiteX12" fmla="*/ 450849 w 1074804"/>
                <a:gd name="connsiteY12" fmla="*/ 1101725 h 1546754"/>
                <a:gd name="connsiteX13" fmla="*/ 496383 w 1074804"/>
                <a:gd name="connsiteY13" fmla="*/ 1040382 h 1546754"/>
                <a:gd name="connsiteX14" fmla="*/ 532791 w 1074804"/>
                <a:gd name="connsiteY14" fmla="*/ 977952 h 1546754"/>
                <a:gd name="connsiteX15" fmla="*/ 548172 w 1074804"/>
                <a:gd name="connsiteY15" fmla="*/ 896438 h 1546754"/>
                <a:gd name="connsiteX16" fmla="*/ 563247 w 1074804"/>
                <a:gd name="connsiteY16" fmla="*/ 819150 h 1546754"/>
                <a:gd name="connsiteX17" fmla="*/ 572374 w 1074804"/>
                <a:gd name="connsiteY17" fmla="*/ 696360 h 1546754"/>
                <a:gd name="connsiteX18" fmla="*/ 553039 w 1074804"/>
                <a:gd name="connsiteY18" fmla="*/ 652858 h 1546754"/>
                <a:gd name="connsiteX19" fmla="*/ 566120 w 1074804"/>
                <a:gd name="connsiteY19" fmla="*/ 586322 h 1546754"/>
                <a:gd name="connsiteX20" fmla="*/ 558989 w 1074804"/>
                <a:gd name="connsiteY20" fmla="*/ 525722 h 1546754"/>
                <a:gd name="connsiteX21" fmla="*/ 573286 w 1074804"/>
                <a:gd name="connsiteY21" fmla="*/ 448815 h 1546754"/>
                <a:gd name="connsiteX22" fmla="*/ 634999 w 1074804"/>
                <a:gd name="connsiteY22" fmla="*/ 421293 h 1546754"/>
                <a:gd name="connsiteX23" fmla="*/ 712814 w 1074804"/>
                <a:gd name="connsiteY23" fmla="*/ 397014 h 1546754"/>
                <a:gd name="connsiteX24" fmla="*/ 782627 w 1074804"/>
                <a:gd name="connsiteY24" fmla="*/ 332531 h 1546754"/>
                <a:gd name="connsiteX25" fmla="*/ 813978 w 1074804"/>
                <a:gd name="connsiteY25" fmla="*/ 278574 h 1546754"/>
                <a:gd name="connsiteX26" fmla="*/ 850596 w 1074804"/>
                <a:gd name="connsiteY26" fmla="*/ 236211 h 1546754"/>
                <a:gd name="connsiteX27" fmla="*/ 947917 w 1074804"/>
                <a:gd name="connsiteY27" fmla="*/ 150435 h 1546754"/>
                <a:gd name="connsiteX28" fmla="*/ 1074804 w 1074804"/>
                <a:gd name="connsiteY28" fmla="*/ 0 h 1546754"/>
                <a:gd name="connsiteX0" fmla="*/ 0 w 1030355"/>
                <a:gd name="connsiteY0" fmla="*/ 1546225 h 1546754"/>
                <a:gd name="connsiteX1" fmla="*/ 63500 w 1030355"/>
                <a:gd name="connsiteY1" fmla="*/ 1539875 h 1546754"/>
                <a:gd name="connsiteX2" fmla="*/ 114300 w 1030355"/>
                <a:gd name="connsiteY2" fmla="*/ 1539875 h 1546754"/>
                <a:gd name="connsiteX3" fmla="*/ 190500 w 1030355"/>
                <a:gd name="connsiteY3" fmla="*/ 1530350 h 1546754"/>
                <a:gd name="connsiteX4" fmla="*/ 219075 w 1030355"/>
                <a:gd name="connsiteY4" fmla="*/ 1489075 h 1546754"/>
                <a:gd name="connsiteX5" fmla="*/ 279400 w 1030355"/>
                <a:gd name="connsiteY5" fmla="*/ 1422400 h 1546754"/>
                <a:gd name="connsiteX6" fmla="*/ 288925 w 1030355"/>
                <a:gd name="connsiteY6" fmla="*/ 1365250 h 1546754"/>
                <a:gd name="connsiteX7" fmla="*/ 342900 w 1030355"/>
                <a:gd name="connsiteY7" fmla="*/ 1304925 h 1546754"/>
                <a:gd name="connsiteX8" fmla="*/ 358775 w 1030355"/>
                <a:gd name="connsiteY8" fmla="*/ 1260475 h 1546754"/>
                <a:gd name="connsiteX9" fmla="*/ 387350 w 1030355"/>
                <a:gd name="connsiteY9" fmla="*/ 1219200 h 1546754"/>
                <a:gd name="connsiteX10" fmla="*/ 438150 w 1030355"/>
                <a:gd name="connsiteY10" fmla="*/ 1168400 h 1546754"/>
                <a:gd name="connsiteX11" fmla="*/ 406400 w 1030355"/>
                <a:gd name="connsiteY11" fmla="*/ 1101725 h 1546754"/>
                <a:gd name="connsiteX12" fmla="*/ 451934 w 1030355"/>
                <a:gd name="connsiteY12" fmla="*/ 1040382 h 1546754"/>
                <a:gd name="connsiteX13" fmla="*/ 488342 w 1030355"/>
                <a:gd name="connsiteY13" fmla="*/ 977952 h 1546754"/>
                <a:gd name="connsiteX14" fmla="*/ 503723 w 1030355"/>
                <a:gd name="connsiteY14" fmla="*/ 896438 h 1546754"/>
                <a:gd name="connsiteX15" fmla="*/ 518798 w 1030355"/>
                <a:gd name="connsiteY15" fmla="*/ 819150 h 1546754"/>
                <a:gd name="connsiteX16" fmla="*/ 527925 w 1030355"/>
                <a:gd name="connsiteY16" fmla="*/ 696360 h 1546754"/>
                <a:gd name="connsiteX17" fmla="*/ 508590 w 1030355"/>
                <a:gd name="connsiteY17" fmla="*/ 652858 h 1546754"/>
                <a:gd name="connsiteX18" fmla="*/ 521671 w 1030355"/>
                <a:gd name="connsiteY18" fmla="*/ 586322 h 1546754"/>
                <a:gd name="connsiteX19" fmla="*/ 514540 w 1030355"/>
                <a:gd name="connsiteY19" fmla="*/ 525722 h 1546754"/>
                <a:gd name="connsiteX20" fmla="*/ 528837 w 1030355"/>
                <a:gd name="connsiteY20" fmla="*/ 448815 h 1546754"/>
                <a:gd name="connsiteX21" fmla="*/ 590550 w 1030355"/>
                <a:gd name="connsiteY21" fmla="*/ 421293 h 1546754"/>
                <a:gd name="connsiteX22" fmla="*/ 668365 w 1030355"/>
                <a:gd name="connsiteY22" fmla="*/ 397014 h 1546754"/>
                <a:gd name="connsiteX23" fmla="*/ 738178 w 1030355"/>
                <a:gd name="connsiteY23" fmla="*/ 332531 h 1546754"/>
                <a:gd name="connsiteX24" fmla="*/ 769529 w 1030355"/>
                <a:gd name="connsiteY24" fmla="*/ 278574 h 1546754"/>
                <a:gd name="connsiteX25" fmla="*/ 806147 w 1030355"/>
                <a:gd name="connsiteY25" fmla="*/ 236211 h 1546754"/>
                <a:gd name="connsiteX26" fmla="*/ 903468 w 1030355"/>
                <a:gd name="connsiteY26" fmla="*/ 150435 h 1546754"/>
                <a:gd name="connsiteX27" fmla="*/ 1030355 w 1030355"/>
                <a:gd name="connsiteY27" fmla="*/ 0 h 1546754"/>
                <a:gd name="connsiteX0" fmla="*/ 0 w 966855"/>
                <a:gd name="connsiteY0" fmla="*/ 1539875 h 1541462"/>
                <a:gd name="connsiteX1" fmla="*/ 50800 w 966855"/>
                <a:gd name="connsiteY1" fmla="*/ 1539875 h 1541462"/>
                <a:gd name="connsiteX2" fmla="*/ 127000 w 966855"/>
                <a:gd name="connsiteY2" fmla="*/ 1530350 h 1541462"/>
                <a:gd name="connsiteX3" fmla="*/ 155575 w 966855"/>
                <a:gd name="connsiteY3" fmla="*/ 1489075 h 1541462"/>
                <a:gd name="connsiteX4" fmla="*/ 215900 w 966855"/>
                <a:gd name="connsiteY4" fmla="*/ 1422400 h 1541462"/>
                <a:gd name="connsiteX5" fmla="*/ 225425 w 966855"/>
                <a:gd name="connsiteY5" fmla="*/ 1365250 h 1541462"/>
                <a:gd name="connsiteX6" fmla="*/ 279400 w 966855"/>
                <a:gd name="connsiteY6" fmla="*/ 1304925 h 1541462"/>
                <a:gd name="connsiteX7" fmla="*/ 295275 w 966855"/>
                <a:gd name="connsiteY7" fmla="*/ 1260475 h 1541462"/>
                <a:gd name="connsiteX8" fmla="*/ 323850 w 966855"/>
                <a:gd name="connsiteY8" fmla="*/ 1219200 h 1541462"/>
                <a:gd name="connsiteX9" fmla="*/ 374650 w 966855"/>
                <a:gd name="connsiteY9" fmla="*/ 1168400 h 1541462"/>
                <a:gd name="connsiteX10" fmla="*/ 342900 w 966855"/>
                <a:gd name="connsiteY10" fmla="*/ 1101725 h 1541462"/>
                <a:gd name="connsiteX11" fmla="*/ 388434 w 966855"/>
                <a:gd name="connsiteY11" fmla="*/ 1040382 h 1541462"/>
                <a:gd name="connsiteX12" fmla="*/ 424842 w 966855"/>
                <a:gd name="connsiteY12" fmla="*/ 977952 h 1541462"/>
                <a:gd name="connsiteX13" fmla="*/ 440223 w 966855"/>
                <a:gd name="connsiteY13" fmla="*/ 896438 h 1541462"/>
                <a:gd name="connsiteX14" fmla="*/ 455298 w 966855"/>
                <a:gd name="connsiteY14" fmla="*/ 819150 h 1541462"/>
                <a:gd name="connsiteX15" fmla="*/ 464425 w 966855"/>
                <a:gd name="connsiteY15" fmla="*/ 696360 h 1541462"/>
                <a:gd name="connsiteX16" fmla="*/ 445090 w 966855"/>
                <a:gd name="connsiteY16" fmla="*/ 652858 h 1541462"/>
                <a:gd name="connsiteX17" fmla="*/ 458171 w 966855"/>
                <a:gd name="connsiteY17" fmla="*/ 586322 h 1541462"/>
                <a:gd name="connsiteX18" fmla="*/ 451040 w 966855"/>
                <a:gd name="connsiteY18" fmla="*/ 525722 h 1541462"/>
                <a:gd name="connsiteX19" fmla="*/ 465337 w 966855"/>
                <a:gd name="connsiteY19" fmla="*/ 448815 h 1541462"/>
                <a:gd name="connsiteX20" fmla="*/ 527050 w 966855"/>
                <a:gd name="connsiteY20" fmla="*/ 421293 h 1541462"/>
                <a:gd name="connsiteX21" fmla="*/ 604865 w 966855"/>
                <a:gd name="connsiteY21" fmla="*/ 397014 h 1541462"/>
                <a:gd name="connsiteX22" fmla="*/ 674678 w 966855"/>
                <a:gd name="connsiteY22" fmla="*/ 332531 h 1541462"/>
                <a:gd name="connsiteX23" fmla="*/ 706029 w 966855"/>
                <a:gd name="connsiteY23" fmla="*/ 278574 h 1541462"/>
                <a:gd name="connsiteX24" fmla="*/ 742647 w 966855"/>
                <a:gd name="connsiteY24" fmla="*/ 236211 h 1541462"/>
                <a:gd name="connsiteX25" fmla="*/ 839968 w 966855"/>
                <a:gd name="connsiteY25" fmla="*/ 150435 h 1541462"/>
                <a:gd name="connsiteX26" fmla="*/ 966855 w 966855"/>
                <a:gd name="connsiteY26" fmla="*/ 0 h 1541462"/>
                <a:gd name="connsiteX0" fmla="*/ -1 w 916054"/>
                <a:gd name="connsiteY0" fmla="*/ 1539875 h 1539874"/>
                <a:gd name="connsiteX1" fmla="*/ 76199 w 916054"/>
                <a:gd name="connsiteY1" fmla="*/ 1530350 h 1539874"/>
                <a:gd name="connsiteX2" fmla="*/ 104774 w 916054"/>
                <a:gd name="connsiteY2" fmla="*/ 1489075 h 1539874"/>
                <a:gd name="connsiteX3" fmla="*/ 165099 w 916054"/>
                <a:gd name="connsiteY3" fmla="*/ 1422400 h 1539874"/>
                <a:gd name="connsiteX4" fmla="*/ 174624 w 916054"/>
                <a:gd name="connsiteY4" fmla="*/ 1365250 h 1539874"/>
                <a:gd name="connsiteX5" fmla="*/ 228599 w 916054"/>
                <a:gd name="connsiteY5" fmla="*/ 1304925 h 1539874"/>
                <a:gd name="connsiteX6" fmla="*/ 244474 w 916054"/>
                <a:gd name="connsiteY6" fmla="*/ 1260475 h 1539874"/>
                <a:gd name="connsiteX7" fmla="*/ 273049 w 916054"/>
                <a:gd name="connsiteY7" fmla="*/ 1219200 h 1539874"/>
                <a:gd name="connsiteX8" fmla="*/ 323849 w 916054"/>
                <a:gd name="connsiteY8" fmla="*/ 1168400 h 1539874"/>
                <a:gd name="connsiteX9" fmla="*/ 292099 w 916054"/>
                <a:gd name="connsiteY9" fmla="*/ 1101725 h 1539874"/>
                <a:gd name="connsiteX10" fmla="*/ 337633 w 916054"/>
                <a:gd name="connsiteY10" fmla="*/ 1040382 h 1539874"/>
                <a:gd name="connsiteX11" fmla="*/ 374041 w 916054"/>
                <a:gd name="connsiteY11" fmla="*/ 977952 h 1539874"/>
                <a:gd name="connsiteX12" fmla="*/ 389422 w 916054"/>
                <a:gd name="connsiteY12" fmla="*/ 896438 h 1539874"/>
                <a:gd name="connsiteX13" fmla="*/ 404497 w 916054"/>
                <a:gd name="connsiteY13" fmla="*/ 819150 h 1539874"/>
                <a:gd name="connsiteX14" fmla="*/ 413624 w 916054"/>
                <a:gd name="connsiteY14" fmla="*/ 696360 h 1539874"/>
                <a:gd name="connsiteX15" fmla="*/ 394289 w 916054"/>
                <a:gd name="connsiteY15" fmla="*/ 652858 h 1539874"/>
                <a:gd name="connsiteX16" fmla="*/ 407370 w 916054"/>
                <a:gd name="connsiteY16" fmla="*/ 586322 h 1539874"/>
                <a:gd name="connsiteX17" fmla="*/ 400239 w 916054"/>
                <a:gd name="connsiteY17" fmla="*/ 525722 h 1539874"/>
                <a:gd name="connsiteX18" fmla="*/ 414536 w 916054"/>
                <a:gd name="connsiteY18" fmla="*/ 448815 h 1539874"/>
                <a:gd name="connsiteX19" fmla="*/ 476249 w 916054"/>
                <a:gd name="connsiteY19" fmla="*/ 421293 h 1539874"/>
                <a:gd name="connsiteX20" fmla="*/ 554064 w 916054"/>
                <a:gd name="connsiteY20" fmla="*/ 397014 h 1539874"/>
                <a:gd name="connsiteX21" fmla="*/ 623877 w 916054"/>
                <a:gd name="connsiteY21" fmla="*/ 332531 h 1539874"/>
                <a:gd name="connsiteX22" fmla="*/ 655228 w 916054"/>
                <a:gd name="connsiteY22" fmla="*/ 278574 h 1539874"/>
                <a:gd name="connsiteX23" fmla="*/ 691846 w 916054"/>
                <a:gd name="connsiteY23" fmla="*/ 236211 h 1539874"/>
                <a:gd name="connsiteX24" fmla="*/ 789167 w 916054"/>
                <a:gd name="connsiteY24" fmla="*/ 150435 h 1539874"/>
                <a:gd name="connsiteX25" fmla="*/ 916054 w 916054"/>
                <a:gd name="connsiteY25" fmla="*/ 0 h 1539874"/>
                <a:gd name="connsiteX0" fmla="*/ -1 w 839854"/>
                <a:gd name="connsiteY0" fmla="*/ 1530350 h 1530350"/>
                <a:gd name="connsiteX1" fmla="*/ 28574 w 839854"/>
                <a:gd name="connsiteY1" fmla="*/ 1489075 h 1530350"/>
                <a:gd name="connsiteX2" fmla="*/ 88899 w 839854"/>
                <a:gd name="connsiteY2" fmla="*/ 1422400 h 1530350"/>
                <a:gd name="connsiteX3" fmla="*/ 98424 w 839854"/>
                <a:gd name="connsiteY3" fmla="*/ 1365250 h 1530350"/>
                <a:gd name="connsiteX4" fmla="*/ 152399 w 839854"/>
                <a:gd name="connsiteY4" fmla="*/ 1304925 h 1530350"/>
                <a:gd name="connsiteX5" fmla="*/ 168274 w 839854"/>
                <a:gd name="connsiteY5" fmla="*/ 1260475 h 1530350"/>
                <a:gd name="connsiteX6" fmla="*/ 196849 w 839854"/>
                <a:gd name="connsiteY6" fmla="*/ 1219200 h 1530350"/>
                <a:gd name="connsiteX7" fmla="*/ 247649 w 839854"/>
                <a:gd name="connsiteY7" fmla="*/ 1168400 h 1530350"/>
                <a:gd name="connsiteX8" fmla="*/ 215899 w 839854"/>
                <a:gd name="connsiteY8" fmla="*/ 1101725 h 1530350"/>
                <a:gd name="connsiteX9" fmla="*/ 261433 w 839854"/>
                <a:gd name="connsiteY9" fmla="*/ 1040382 h 1530350"/>
                <a:gd name="connsiteX10" fmla="*/ 297841 w 839854"/>
                <a:gd name="connsiteY10" fmla="*/ 977952 h 1530350"/>
                <a:gd name="connsiteX11" fmla="*/ 313222 w 839854"/>
                <a:gd name="connsiteY11" fmla="*/ 896438 h 1530350"/>
                <a:gd name="connsiteX12" fmla="*/ 328297 w 839854"/>
                <a:gd name="connsiteY12" fmla="*/ 819150 h 1530350"/>
                <a:gd name="connsiteX13" fmla="*/ 337424 w 839854"/>
                <a:gd name="connsiteY13" fmla="*/ 696360 h 1530350"/>
                <a:gd name="connsiteX14" fmla="*/ 318089 w 839854"/>
                <a:gd name="connsiteY14" fmla="*/ 652858 h 1530350"/>
                <a:gd name="connsiteX15" fmla="*/ 331170 w 839854"/>
                <a:gd name="connsiteY15" fmla="*/ 586322 h 1530350"/>
                <a:gd name="connsiteX16" fmla="*/ 324039 w 839854"/>
                <a:gd name="connsiteY16" fmla="*/ 525722 h 1530350"/>
                <a:gd name="connsiteX17" fmla="*/ 338336 w 839854"/>
                <a:gd name="connsiteY17" fmla="*/ 448815 h 1530350"/>
                <a:gd name="connsiteX18" fmla="*/ 400049 w 839854"/>
                <a:gd name="connsiteY18" fmla="*/ 421293 h 1530350"/>
                <a:gd name="connsiteX19" fmla="*/ 477864 w 839854"/>
                <a:gd name="connsiteY19" fmla="*/ 397014 h 1530350"/>
                <a:gd name="connsiteX20" fmla="*/ 547677 w 839854"/>
                <a:gd name="connsiteY20" fmla="*/ 332531 h 1530350"/>
                <a:gd name="connsiteX21" fmla="*/ 579028 w 839854"/>
                <a:gd name="connsiteY21" fmla="*/ 278574 h 1530350"/>
                <a:gd name="connsiteX22" fmla="*/ 615646 w 839854"/>
                <a:gd name="connsiteY22" fmla="*/ 236211 h 1530350"/>
                <a:gd name="connsiteX23" fmla="*/ 712967 w 839854"/>
                <a:gd name="connsiteY23" fmla="*/ 150435 h 1530350"/>
                <a:gd name="connsiteX24" fmla="*/ 839854 w 839854"/>
                <a:gd name="connsiteY24" fmla="*/ 0 h 1530350"/>
                <a:gd name="connsiteX0" fmla="*/ 0 w 811280"/>
                <a:gd name="connsiteY0" fmla="*/ 1489075 h 1489075"/>
                <a:gd name="connsiteX1" fmla="*/ 60325 w 811280"/>
                <a:gd name="connsiteY1" fmla="*/ 1422400 h 1489075"/>
                <a:gd name="connsiteX2" fmla="*/ 69850 w 811280"/>
                <a:gd name="connsiteY2" fmla="*/ 1365250 h 1489075"/>
                <a:gd name="connsiteX3" fmla="*/ 123825 w 811280"/>
                <a:gd name="connsiteY3" fmla="*/ 1304925 h 1489075"/>
                <a:gd name="connsiteX4" fmla="*/ 139700 w 811280"/>
                <a:gd name="connsiteY4" fmla="*/ 1260475 h 1489075"/>
                <a:gd name="connsiteX5" fmla="*/ 168275 w 811280"/>
                <a:gd name="connsiteY5" fmla="*/ 1219200 h 1489075"/>
                <a:gd name="connsiteX6" fmla="*/ 219075 w 811280"/>
                <a:gd name="connsiteY6" fmla="*/ 1168400 h 1489075"/>
                <a:gd name="connsiteX7" fmla="*/ 187325 w 811280"/>
                <a:gd name="connsiteY7" fmla="*/ 1101725 h 1489075"/>
                <a:gd name="connsiteX8" fmla="*/ 232859 w 811280"/>
                <a:gd name="connsiteY8" fmla="*/ 1040382 h 1489075"/>
                <a:gd name="connsiteX9" fmla="*/ 269267 w 811280"/>
                <a:gd name="connsiteY9" fmla="*/ 977952 h 1489075"/>
                <a:gd name="connsiteX10" fmla="*/ 284648 w 811280"/>
                <a:gd name="connsiteY10" fmla="*/ 896438 h 1489075"/>
                <a:gd name="connsiteX11" fmla="*/ 299723 w 811280"/>
                <a:gd name="connsiteY11" fmla="*/ 819150 h 1489075"/>
                <a:gd name="connsiteX12" fmla="*/ 308850 w 811280"/>
                <a:gd name="connsiteY12" fmla="*/ 696360 h 1489075"/>
                <a:gd name="connsiteX13" fmla="*/ 289515 w 811280"/>
                <a:gd name="connsiteY13" fmla="*/ 652858 h 1489075"/>
                <a:gd name="connsiteX14" fmla="*/ 302596 w 811280"/>
                <a:gd name="connsiteY14" fmla="*/ 586322 h 1489075"/>
                <a:gd name="connsiteX15" fmla="*/ 295465 w 811280"/>
                <a:gd name="connsiteY15" fmla="*/ 525722 h 1489075"/>
                <a:gd name="connsiteX16" fmla="*/ 309762 w 811280"/>
                <a:gd name="connsiteY16" fmla="*/ 448815 h 1489075"/>
                <a:gd name="connsiteX17" fmla="*/ 371475 w 811280"/>
                <a:gd name="connsiteY17" fmla="*/ 421293 h 1489075"/>
                <a:gd name="connsiteX18" fmla="*/ 449290 w 811280"/>
                <a:gd name="connsiteY18" fmla="*/ 397014 h 1489075"/>
                <a:gd name="connsiteX19" fmla="*/ 519103 w 811280"/>
                <a:gd name="connsiteY19" fmla="*/ 332531 h 1489075"/>
                <a:gd name="connsiteX20" fmla="*/ 550454 w 811280"/>
                <a:gd name="connsiteY20" fmla="*/ 278574 h 1489075"/>
                <a:gd name="connsiteX21" fmla="*/ 587072 w 811280"/>
                <a:gd name="connsiteY21" fmla="*/ 236211 h 1489075"/>
                <a:gd name="connsiteX22" fmla="*/ 684393 w 811280"/>
                <a:gd name="connsiteY22" fmla="*/ 150435 h 1489075"/>
                <a:gd name="connsiteX23" fmla="*/ 811280 w 811280"/>
                <a:gd name="connsiteY23" fmla="*/ 0 h 1489075"/>
                <a:gd name="connsiteX0" fmla="*/ 1058 w 752013"/>
                <a:gd name="connsiteY0" fmla="*/ 1422400 h 1422400"/>
                <a:gd name="connsiteX1" fmla="*/ 10583 w 752013"/>
                <a:gd name="connsiteY1" fmla="*/ 1365250 h 1422400"/>
                <a:gd name="connsiteX2" fmla="*/ 64558 w 752013"/>
                <a:gd name="connsiteY2" fmla="*/ 1304925 h 1422400"/>
                <a:gd name="connsiteX3" fmla="*/ 80433 w 752013"/>
                <a:gd name="connsiteY3" fmla="*/ 1260475 h 1422400"/>
                <a:gd name="connsiteX4" fmla="*/ 109008 w 752013"/>
                <a:gd name="connsiteY4" fmla="*/ 1219200 h 1422400"/>
                <a:gd name="connsiteX5" fmla="*/ 159808 w 752013"/>
                <a:gd name="connsiteY5" fmla="*/ 1168400 h 1422400"/>
                <a:gd name="connsiteX6" fmla="*/ 128058 w 752013"/>
                <a:gd name="connsiteY6" fmla="*/ 1101725 h 1422400"/>
                <a:gd name="connsiteX7" fmla="*/ 173592 w 752013"/>
                <a:gd name="connsiteY7" fmla="*/ 1040382 h 1422400"/>
                <a:gd name="connsiteX8" fmla="*/ 210000 w 752013"/>
                <a:gd name="connsiteY8" fmla="*/ 977952 h 1422400"/>
                <a:gd name="connsiteX9" fmla="*/ 225381 w 752013"/>
                <a:gd name="connsiteY9" fmla="*/ 896438 h 1422400"/>
                <a:gd name="connsiteX10" fmla="*/ 240456 w 752013"/>
                <a:gd name="connsiteY10" fmla="*/ 819150 h 1422400"/>
                <a:gd name="connsiteX11" fmla="*/ 249583 w 752013"/>
                <a:gd name="connsiteY11" fmla="*/ 696360 h 1422400"/>
                <a:gd name="connsiteX12" fmla="*/ 230248 w 752013"/>
                <a:gd name="connsiteY12" fmla="*/ 652858 h 1422400"/>
                <a:gd name="connsiteX13" fmla="*/ 243329 w 752013"/>
                <a:gd name="connsiteY13" fmla="*/ 586322 h 1422400"/>
                <a:gd name="connsiteX14" fmla="*/ 236198 w 752013"/>
                <a:gd name="connsiteY14" fmla="*/ 525722 h 1422400"/>
                <a:gd name="connsiteX15" fmla="*/ 250495 w 752013"/>
                <a:gd name="connsiteY15" fmla="*/ 448815 h 1422400"/>
                <a:gd name="connsiteX16" fmla="*/ 312208 w 752013"/>
                <a:gd name="connsiteY16" fmla="*/ 421293 h 1422400"/>
                <a:gd name="connsiteX17" fmla="*/ 390023 w 752013"/>
                <a:gd name="connsiteY17" fmla="*/ 397014 h 1422400"/>
                <a:gd name="connsiteX18" fmla="*/ 459836 w 752013"/>
                <a:gd name="connsiteY18" fmla="*/ 332531 h 1422400"/>
                <a:gd name="connsiteX19" fmla="*/ 491187 w 752013"/>
                <a:gd name="connsiteY19" fmla="*/ 278574 h 1422400"/>
                <a:gd name="connsiteX20" fmla="*/ 527805 w 752013"/>
                <a:gd name="connsiteY20" fmla="*/ 236211 h 1422400"/>
                <a:gd name="connsiteX21" fmla="*/ 625126 w 752013"/>
                <a:gd name="connsiteY21" fmla="*/ 150435 h 1422400"/>
                <a:gd name="connsiteX22" fmla="*/ 752013 w 752013"/>
                <a:gd name="connsiteY22" fmla="*/ 0 h 1422400"/>
                <a:gd name="connsiteX0" fmla="*/ 0 w 741430"/>
                <a:gd name="connsiteY0" fmla="*/ 1365250 h 1365250"/>
                <a:gd name="connsiteX1" fmla="*/ 53975 w 741430"/>
                <a:gd name="connsiteY1" fmla="*/ 1304925 h 1365250"/>
                <a:gd name="connsiteX2" fmla="*/ 69850 w 741430"/>
                <a:gd name="connsiteY2" fmla="*/ 1260475 h 1365250"/>
                <a:gd name="connsiteX3" fmla="*/ 98425 w 741430"/>
                <a:gd name="connsiteY3" fmla="*/ 1219200 h 1365250"/>
                <a:gd name="connsiteX4" fmla="*/ 149225 w 741430"/>
                <a:gd name="connsiteY4" fmla="*/ 1168400 h 1365250"/>
                <a:gd name="connsiteX5" fmla="*/ 117475 w 741430"/>
                <a:gd name="connsiteY5" fmla="*/ 1101725 h 1365250"/>
                <a:gd name="connsiteX6" fmla="*/ 163009 w 741430"/>
                <a:gd name="connsiteY6" fmla="*/ 1040382 h 1365250"/>
                <a:gd name="connsiteX7" fmla="*/ 199417 w 741430"/>
                <a:gd name="connsiteY7" fmla="*/ 977952 h 1365250"/>
                <a:gd name="connsiteX8" fmla="*/ 214798 w 741430"/>
                <a:gd name="connsiteY8" fmla="*/ 896438 h 1365250"/>
                <a:gd name="connsiteX9" fmla="*/ 229873 w 741430"/>
                <a:gd name="connsiteY9" fmla="*/ 819150 h 1365250"/>
                <a:gd name="connsiteX10" fmla="*/ 239000 w 741430"/>
                <a:gd name="connsiteY10" fmla="*/ 696360 h 1365250"/>
                <a:gd name="connsiteX11" fmla="*/ 219665 w 741430"/>
                <a:gd name="connsiteY11" fmla="*/ 652858 h 1365250"/>
                <a:gd name="connsiteX12" fmla="*/ 232746 w 741430"/>
                <a:gd name="connsiteY12" fmla="*/ 586322 h 1365250"/>
                <a:gd name="connsiteX13" fmla="*/ 225615 w 741430"/>
                <a:gd name="connsiteY13" fmla="*/ 525722 h 1365250"/>
                <a:gd name="connsiteX14" fmla="*/ 239912 w 741430"/>
                <a:gd name="connsiteY14" fmla="*/ 448815 h 1365250"/>
                <a:gd name="connsiteX15" fmla="*/ 301625 w 741430"/>
                <a:gd name="connsiteY15" fmla="*/ 421293 h 1365250"/>
                <a:gd name="connsiteX16" fmla="*/ 379440 w 741430"/>
                <a:gd name="connsiteY16" fmla="*/ 397014 h 1365250"/>
                <a:gd name="connsiteX17" fmla="*/ 449253 w 741430"/>
                <a:gd name="connsiteY17" fmla="*/ 332531 h 1365250"/>
                <a:gd name="connsiteX18" fmla="*/ 480604 w 741430"/>
                <a:gd name="connsiteY18" fmla="*/ 278574 h 1365250"/>
                <a:gd name="connsiteX19" fmla="*/ 517222 w 741430"/>
                <a:gd name="connsiteY19" fmla="*/ 236211 h 1365250"/>
                <a:gd name="connsiteX20" fmla="*/ 614543 w 741430"/>
                <a:gd name="connsiteY20" fmla="*/ 150435 h 1365250"/>
                <a:gd name="connsiteX21" fmla="*/ 741430 w 741430"/>
                <a:gd name="connsiteY21" fmla="*/ 0 h 136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41430" h="1365250">
                  <a:moveTo>
                    <a:pt x="0" y="1365250"/>
                  </a:moveTo>
                  <a:cubicBezTo>
                    <a:pt x="10583" y="1345671"/>
                    <a:pt x="42333" y="1322387"/>
                    <a:pt x="53975" y="1304925"/>
                  </a:cubicBezTo>
                  <a:cubicBezTo>
                    <a:pt x="65617" y="1287463"/>
                    <a:pt x="62442" y="1274762"/>
                    <a:pt x="69850" y="1260475"/>
                  </a:cubicBezTo>
                  <a:cubicBezTo>
                    <a:pt x="77258" y="1246188"/>
                    <a:pt x="85196" y="1234546"/>
                    <a:pt x="98425" y="1219200"/>
                  </a:cubicBezTo>
                  <a:cubicBezTo>
                    <a:pt x="111654" y="1203854"/>
                    <a:pt x="146050" y="1187979"/>
                    <a:pt x="149225" y="1168400"/>
                  </a:cubicBezTo>
                  <a:cubicBezTo>
                    <a:pt x="152400" y="1148821"/>
                    <a:pt x="115178" y="1123061"/>
                    <a:pt x="117475" y="1101725"/>
                  </a:cubicBezTo>
                  <a:cubicBezTo>
                    <a:pt x="119772" y="1080389"/>
                    <a:pt x="149352" y="1061011"/>
                    <a:pt x="163009" y="1040382"/>
                  </a:cubicBezTo>
                  <a:cubicBezTo>
                    <a:pt x="176666" y="1019753"/>
                    <a:pt x="190786" y="1001943"/>
                    <a:pt x="199417" y="977952"/>
                  </a:cubicBezTo>
                  <a:cubicBezTo>
                    <a:pt x="208049" y="953961"/>
                    <a:pt x="209722" y="922905"/>
                    <a:pt x="214798" y="896438"/>
                  </a:cubicBezTo>
                  <a:cubicBezTo>
                    <a:pt x="219874" y="869971"/>
                    <a:pt x="225839" y="852496"/>
                    <a:pt x="229873" y="819150"/>
                  </a:cubicBezTo>
                  <a:cubicBezTo>
                    <a:pt x="233907" y="785804"/>
                    <a:pt x="240701" y="724075"/>
                    <a:pt x="239000" y="696360"/>
                  </a:cubicBezTo>
                  <a:cubicBezTo>
                    <a:pt x="237299" y="668645"/>
                    <a:pt x="220707" y="671197"/>
                    <a:pt x="219665" y="652858"/>
                  </a:cubicBezTo>
                  <a:cubicBezTo>
                    <a:pt x="218623" y="634519"/>
                    <a:pt x="231754" y="607511"/>
                    <a:pt x="232746" y="586322"/>
                  </a:cubicBezTo>
                  <a:cubicBezTo>
                    <a:pt x="233738" y="565133"/>
                    <a:pt x="224421" y="548640"/>
                    <a:pt x="225615" y="525722"/>
                  </a:cubicBezTo>
                  <a:cubicBezTo>
                    <a:pt x="226809" y="502804"/>
                    <a:pt x="227244" y="466220"/>
                    <a:pt x="239912" y="448815"/>
                  </a:cubicBezTo>
                  <a:cubicBezTo>
                    <a:pt x="252580" y="431410"/>
                    <a:pt x="278370" y="429927"/>
                    <a:pt x="301625" y="421293"/>
                  </a:cubicBezTo>
                  <a:cubicBezTo>
                    <a:pt x="324880" y="412659"/>
                    <a:pt x="354835" y="411808"/>
                    <a:pt x="379440" y="397014"/>
                  </a:cubicBezTo>
                  <a:cubicBezTo>
                    <a:pt x="404045" y="382220"/>
                    <a:pt x="432392" y="352271"/>
                    <a:pt x="449253" y="332531"/>
                  </a:cubicBezTo>
                  <a:cubicBezTo>
                    <a:pt x="466114" y="312791"/>
                    <a:pt x="469276" y="294627"/>
                    <a:pt x="480604" y="278574"/>
                  </a:cubicBezTo>
                  <a:cubicBezTo>
                    <a:pt x="491932" y="262521"/>
                    <a:pt x="494899" y="257567"/>
                    <a:pt x="517222" y="236211"/>
                  </a:cubicBezTo>
                  <a:cubicBezTo>
                    <a:pt x="539545" y="214855"/>
                    <a:pt x="577175" y="189803"/>
                    <a:pt x="614543" y="150435"/>
                  </a:cubicBezTo>
                  <a:cubicBezTo>
                    <a:pt x="651911" y="111067"/>
                    <a:pt x="716824" y="34131"/>
                    <a:pt x="741430" y="0"/>
                  </a:cubicBezTo>
                </a:path>
              </a:pathLst>
            </a:cu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0787" tIns="36810" rIns="70787" bIns="36810" numCol="1" rtlCol="0" anchor="ctr" anchorCtr="0" compatLnSpc="1">
              <a:prstTxWarp prst="textNoShape">
                <a:avLst/>
              </a:prstTxWarp>
            </a:bodyPr>
            <a:lstStyle/>
            <a:p>
              <a:pPr defTabSz="719255" eaLnBrk="0" fontAlgn="base" hangingPunct="0">
                <a:spcBef>
                  <a:spcPct val="0"/>
                </a:spcBef>
                <a:spcAft>
                  <a:spcPct val="0"/>
                </a:spcAft>
                <a:buSzPct val="150000"/>
                <a:defRPr/>
              </a:pPr>
              <a:endParaRPr lang="en-US" sz="944" kern="0" dirty="0">
                <a:solidFill>
                  <a:srgbClr val="292929"/>
                </a:solidFill>
              </a:endParaRPr>
            </a:p>
          </p:txBody>
        </p:sp>
      </p:grpSp>
      <p:cxnSp>
        <p:nvCxnSpPr>
          <p:cNvPr id="145" name="Straight Connector 17"/>
          <p:cNvCxnSpPr/>
          <p:nvPr/>
        </p:nvCxnSpPr>
        <p:spPr bwMode="auto">
          <a:xfrm flipV="1">
            <a:off x="5554516" y="2862696"/>
            <a:ext cx="170098" cy="57568"/>
          </a:xfrm>
          <a:prstGeom prst="line">
            <a:avLst/>
          </a:prstGeom>
          <a:gradFill rotWithShape="1">
            <a:gsLst>
              <a:gs pos="0">
                <a:srgbClr val="EB0000"/>
              </a:gs>
              <a:gs pos="100000">
                <a:srgbClr val="FFF1E3"/>
              </a:gs>
            </a:gsLst>
            <a:lin ang="0" scaled="1"/>
          </a:gradFill>
          <a:ln w="2857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6" name="Straight Connector 18"/>
          <p:cNvCxnSpPr/>
          <p:nvPr/>
        </p:nvCxnSpPr>
        <p:spPr bwMode="auto">
          <a:xfrm flipV="1">
            <a:off x="5663219" y="3738086"/>
            <a:ext cx="45623" cy="30317"/>
          </a:xfrm>
          <a:prstGeom prst="line">
            <a:avLst/>
          </a:prstGeom>
          <a:gradFill rotWithShape="1">
            <a:gsLst>
              <a:gs pos="0">
                <a:srgbClr val="EB0000"/>
              </a:gs>
              <a:gs pos="100000">
                <a:srgbClr val="FFF1E3"/>
              </a:gs>
            </a:gsLst>
            <a:lin ang="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7" name="Freeform 19"/>
          <p:cNvSpPr/>
          <p:nvPr/>
        </p:nvSpPr>
        <p:spPr bwMode="auto">
          <a:xfrm>
            <a:off x="5022107" y="2176612"/>
            <a:ext cx="441442" cy="134775"/>
          </a:xfrm>
          <a:custGeom>
            <a:avLst/>
            <a:gdLst>
              <a:gd name="connsiteX0" fmla="*/ 642938 w 642938"/>
              <a:gd name="connsiteY0" fmla="*/ 0 h 247650"/>
              <a:gd name="connsiteX1" fmla="*/ 559594 w 642938"/>
              <a:gd name="connsiteY1" fmla="*/ 9525 h 247650"/>
              <a:gd name="connsiteX2" fmla="*/ 500063 w 642938"/>
              <a:gd name="connsiteY2" fmla="*/ 19050 h 247650"/>
              <a:gd name="connsiteX3" fmla="*/ 421481 w 642938"/>
              <a:gd name="connsiteY3" fmla="*/ 2381 h 247650"/>
              <a:gd name="connsiteX4" fmla="*/ 388144 w 642938"/>
              <a:gd name="connsiteY4" fmla="*/ 76200 h 247650"/>
              <a:gd name="connsiteX5" fmla="*/ 285750 w 642938"/>
              <a:gd name="connsiteY5" fmla="*/ 73819 h 247650"/>
              <a:gd name="connsiteX6" fmla="*/ 119063 w 642938"/>
              <a:gd name="connsiteY6" fmla="*/ 150019 h 247650"/>
              <a:gd name="connsiteX7" fmla="*/ 40481 w 642938"/>
              <a:gd name="connsiteY7" fmla="*/ 197644 h 247650"/>
              <a:gd name="connsiteX8" fmla="*/ 40481 w 642938"/>
              <a:gd name="connsiteY8" fmla="*/ 226219 h 247650"/>
              <a:gd name="connsiteX9" fmla="*/ 0 w 642938"/>
              <a:gd name="connsiteY9" fmla="*/ 247650 h 247650"/>
              <a:gd name="connsiteX0" fmla="*/ 642938 w 642938"/>
              <a:gd name="connsiteY0" fmla="*/ 0 h 247650"/>
              <a:gd name="connsiteX1" fmla="*/ 559594 w 642938"/>
              <a:gd name="connsiteY1" fmla="*/ 9525 h 247650"/>
              <a:gd name="connsiteX2" fmla="*/ 500063 w 642938"/>
              <a:gd name="connsiteY2" fmla="*/ 19050 h 247650"/>
              <a:gd name="connsiteX3" fmla="*/ 421481 w 642938"/>
              <a:gd name="connsiteY3" fmla="*/ 2381 h 247650"/>
              <a:gd name="connsiteX4" fmla="*/ 285750 w 642938"/>
              <a:gd name="connsiteY4" fmla="*/ 73819 h 247650"/>
              <a:gd name="connsiteX5" fmla="*/ 119063 w 642938"/>
              <a:gd name="connsiteY5" fmla="*/ 150019 h 247650"/>
              <a:gd name="connsiteX6" fmla="*/ 40481 w 642938"/>
              <a:gd name="connsiteY6" fmla="*/ 197644 h 247650"/>
              <a:gd name="connsiteX7" fmla="*/ 40481 w 642938"/>
              <a:gd name="connsiteY7" fmla="*/ 226219 h 247650"/>
              <a:gd name="connsiteX8" fmla="*/ 0 w 642938"/>
              <a:gd name="connsiteY8" fmla="*/ 247650 h 247650"/>
              <a:gd name="connsiteX0" fmla="*/ 642938 w 642938"/>
              <a:gd name="connsiteY0" fmla="*/ 0 h 247650"/>
              <a:gd name="connsiteX1" fmla="*/ 559594 w 642938"/>
              <a:gd name="connsiteY1" fmla="*/ 9525 h 247650"/>
              <a:gd name="connsiteX2" fmla="*/ 500063 w 642938"/>
              <a:gd name="connsiteY2" fmla="*/ 19050 h 247650"/>
              <a:gd name="connsiteX3" fmla="*/ 421481 w 642938"/>
              <a:gd name="connsiteY3" fmla="*/ 2381 h 247650"/>
              <a:gd name="connsiteX4" fmla="*/ 257835 w 642938"/>
              <a:gd name="connsiteY4" fmla="*/ 52883 h 247650"/>
              <a:gd name="connsiteX5" fmla="*/ 119063 w 642938"/>
              <a:gd name="connsiteY5" fmla="*/ 150019 h 247650"/>
              <a:gd name="connsiteX6" fmla="*/ 40481 w 642938"/>
              <a:gd name="connsiteY6" fmla="*/ 197644 h 247650"/>
              <a:gd name="connsiteX7" fmla="*/ 40481 w 642938"/>
              <a:gd name="connsiteY7" fmla="*/ 226219 h 247650"/>
              <a:gd name="connsiteX8" fmla="*/ 0 w 642938"/>
              <a:gd name="connsiteY8" fmla="*/ 247650 h 247650"/>
              <a:gd name="connsiteX0" fmla="*/ 602457 w 602457"/>
              <a:gd name="connsiteY0" fmla="*/ 0 h 226219"/>
              <a:gd name="connsiteX1" fmla="*/ 519113 w 602457"/>
              <a:gd name="connsiteY1" fmla="*/ 9525 h 226219"/>
              <a:gd name="connsiteX2" fmla="*/ 459582 w 602457"/>
              <a:gd name="connsiteY2" fmla="*/ 19050 h 226219"/>
              <a:gd name="connsiteX3" fmla="*/ 381000 w 602457"/>
              <a:gd name="connsiteY3" fmla="*/ 2381 h 226219"/>
              <a:gd name="connsiteX4" fmla="*/ 217354 w 602457"/>
              <a:gd name="connsiteY4" fmla="*/ 52883 h 226219"/>
              <a:gd name="connsiteX5" fmla="*/ 78582 w 602457"/>
              <a:gd name="connsiteY5" fmla="*/ 150019 h 226219"/>
              <a:gd name="connsiteX6" fmla="*/ 0 w 602457"/>
              <a:gd name="connsiteY6" fmla="*/ 197644 h 226219"/>
              <a:gd name="connsiteX7" fmla="*/ 0 w 602457"/>
              <a:gd name="connsiteY7" fmla="*/ 226219 h 226219"/>
              <a:gd name="connsiteX0" fmla="*/ 602457 w 602457"/>
              <a:gd name="connsiteY0" fmla="*/ 0 h 226219"/>
              <a:gd name="connsiteX1" fmla="*/ 519113 w 602457"/>
              <a:gd name="connsiteY1" fmla="*/ 9525 h 226219"/>
              <a:gd name="connsiteX2" fmla="*/ 459582 w 602457"/>
              <a:gd name="connsiteY2" fmla="*/ 19050 h 226219"/>
              <a:gd name="connsiteX3" fmla="*/ 381000 w 602457"/>
              <a:gd name="connsiteY3" fmla="*/ 2381 h 226219"/>
              <a:gd name="connsiteX4" fmla="*/ 217354 w 602457"/>
              <a:gd name="connsiteY4" fmla="*/ 52883 h 226219"/>
              <a:gd name="connsiteX5" fmla="*/ 113475 w 602457"/>
              <a:gd name="connsiteY5" fmla="*/ 143041 h 226219"/>
              <a:gd name="connsiteX6" fmla="*/ 0 w 602457"/>
              <a:gd name="connsiteY6" fmla="*/ 197644 h 226219"/>
              <a:gd name="connsiteX7" fmla="*/ 0 w 602457"/>
              <a:gd name="connsiteY7" fmla="*/ 226219 h 226219"/>
              <a:gd name="connsiteX0" fmla="*/ 602457 w 602457"/>
              <a:gd name="connsiteY0" fmla="*/ 0 h 197644"/>
              <a:gd name="connsiteX1" fmla="*/ 519113 w 602457"/>
              <a:gd name="connsiteY1" fmla="*/ 9525 h 197644"/>
              <a:gd name="connsiteX2" fmla="*/ 459582 w 602457"/>
              <a:gd name="connsiteY2" fmla="*/ 19050 h 197644"/>
              <a:gd name="connsiteX3" fmla="*/ 381000 w 602457"/>
              <a:gd name="connsiteY3" fmla="*/ 2381 h 197644"/>
              <a:gd name="connsiteX4" fmla="*/ 217354 w 602457"/>
              <a:gd name="connsiteY4" fmla="*/ 52883 h 197644"/>
              <a:gd name="connsiteX5" fmla="*/ 113475 w 602457"/>
              <a:gd name="connsiteY5" fmla="*/ 143041 h 197644"/>
              <a:gd name="connsiteX6" fmla="*/ 0 w 602457"/>
              <a:gd name="connsiteY6" fmla="*/ 197644 h 197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457" h="197644">
                <a:moveTo>
                  <a:pt x="602457" y="0"/>
                </a:moveTo>
                <a:lnTo>
                  <a:pt x="519113" y="9525"/>
                </a:lnTo>
                <a:lnTo>
                  <a:pt x="459582" y="19050"/>
                </a:lnTo>
                <a:lnTo>
                  <a:pt x="381000" y="2381"/>
                </a:lnTo>
                <a:lnTo>
                  <a:pt x="217354" y="52883"/>
                </a:lnTo>
                <a:lnTo>
                  <a:pt x="113475" y="143041"/>
                </a:lnTo>
                <a:lnTo>
                  <a:pt x="0" y="197644"/>
                </a:lnTo>
              </a:path>
            </a:pathLst>
          </a:cu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0787" tIns="36810" rIns="70787" bIns="36810" numCol="1" rtlCol="0" anchor="ctr" anchorCtr="0" compatLnSpc="1">
            <a:prstTxWarp prst="textNoShape">
              <a:avLst/>
            </a:prstTxWarp>
          </a:bodyPr>
          <a:lstStyle/>
          <a:p>
            <a:pPr defTabSz="719255" eaLnBrk="0" fontAlgn="base" hangingPunct="0">
              <a:spcBef>
                <a:spcPct val="0"/>
              </a:spcBef>
              <a:spcAft>
                <a:spcPct val="0"/>
              </a:spcAft>
              <a:buSzPct val="150000"/>
              <a:defRPr/>
            </a:pPr>
            <a:endParaRPr lang="en-US" sz="944" kern="0" dirty="0">
              <a:solidFill>
                <a:srgbClr val="292929"/>
              </a:solidFill>
            </a:endParaRPr>
          </a:p>
        </p:txBody>
      </p:sp>
      <p:sp>
        <p:nvSpPr>
          <p:cNvPr id="149" name="Rectangle 21"/>
          <p:cNvSpPr/>
          <p:nvPr/>
        </p:nvSpPr>
        <p:spPr>
          <a:xfrm>
            <a:off x="938212" y="896168"/>
            <a:ext cx="2494057" cy="296419"/>
          </a:xfrm>
          <a:prstGeom prst="rect">
            <a:avLst/>
          </a:prstGeom>
          <a:solidFill>
            <a:schemeClr val="accent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mport</a:t>
            </a:r>
          </a:p>
        </p:txBody>
      </p:sp>
      <p:sp>
        <p:nvSpPr>
          <p:cNvPr id="151" name="Rectangle 23"/>
          <p:cNvSpPr/>
          <p:nvPr/>
        </p:nvSpPr>
        <p:spPr>
          <a:xfrm>
            <a:off x="1051370" y="1216625"/>
            <a:ext cx="2186366" cy="253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400" b="1" u="sng" dirty="0">
                <a:solidFill>
                  <a:srgbClr val="000000"/>
                </a:solidFill>
              </a:rPr>
              <a:t>Supply capacities</a:t>
            </a:r>
          </a:p>
        </p:txBody>
      </p:sp>
      <p:sp>
        <p:nvSpPr>
          <p:cNvPr id="152" name="Rectangle 24"/>
          <p:cNvSpPr/>
          <p:nvPr/>
        </p:nvSpPr>
        <p:spPr>
          <a:xfrm>
            <a:off x="148535" y="2475970"/>
            <a:ext cx="4111313" cy="72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LNG regasification terminals</a:t>
            </a:r>
          </a:p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Overall Capacity: 41 MM m³/day</a:t>
            </a:r>
          </a:p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Average Volume 2019: 8,2MMm3/day</a:t>
            </a:r>
          </a:p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Maximum Volume 2019: 18,8 MMm3/day</a:t>
            </a:r>
          </a:p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53" name="Rectangle 25"/>
          <p:cNvSpPr/>
          <p:nvPr/>
        </p:nvSpPr>
        <p:spPr>
          <a:xfrm>
            <a:off x="148536" y="3944125"/>
            <a:ext cx="4111313" cy="10264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Pipeline from Bolivia</a:t>
            </a:r>
          </a:p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Overall Capacity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30 MM m³/day</a:t>
            </a:r>
          </a:p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Average Volume 2019: 17,9 MMm3/day</a:t>
            </a:r>
          </a:p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Maximum Volume 2019: 31,0 MMm3/day</a:t>
            </a:r>
          </a:p>
        </p:txBody>
      </p:sp>
      <p:sp>
        <p:nvSpPr>
          <p:cNvPr id="154" name="Rectangle 26"/>
          <p:cNvSpPr/>
          <p:nvPr/>
        </p:nvSpPr>
        <p:spPr>
          <a:xfrm>
            <a:off x="8588810" y="896168"/>
            <a:ext cx="2494057" cy="296419"/>
          </a:xfrm>
          <a:prstGeom prst="rect">
            <a:avLst/>
          </a:prstGeom>
          <a:solidFill>
            <a:schemeClr val="accent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arket</a:t>
            </a:r>
          </a:p>
        </p:txBody>
      </p:sp>
      <p:sp>
        <p:nvSpPr>
          <p:cNvPr id="156" name="Rectangle 28"/>
          <p:cNvSpPr/>
          <p:nvPr/>
        </p:nvSpPr>
        <p:spPr>
          <a:xfrm>
            <a:off x="4551867" y="896168"/>
            <a:ext cx="3198246" cy="296419"/>
          </a:xfrm>
          <a:prstGeom prst="rect">
            <a:avLst/>
          </a:prstGeom>
          <a:solidFill>
            <a:schemeClr val="accent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ransportation Infrastructure</a:t>
            </a:r>
          </a:p>
        </p:txBody>
      </p:sp>
      <p:sp>
        <p:nvSpPr>
          <p:cNvPr id="158" name="Rectangle 30"/>
          <p:cNvSpPr/>
          <p:nvPr/>
        </p:nvSpPr>
        <p:spPr>
          <a:xfrm>
            <a:off x="8779444" y="1261562"/>
            <a:ext cx="1768247" cy="192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400" b="1" u="sng" dirty="0">
                <a:solidFill>
                  <a:srgbClr val="000000"/>
                </a:solidFill>
              </a:rPr>
              <a:t>Thermal power plants</a:t>
            </a:r>
          </a:p>
        </p:txBody>
      </p:sp>
      <p:sp>
        <p:nvSpPr>
          <p:cNvPr id="159" name="Rectangle 31"/>
          <p:cNvSpPr/>
          <p:nvPr/>
        </p:nvSpPr>
        <p:spPr>
          <a:xfrm>
            <a:off x="8564487" y="2815316"/>
            <a:ext cx="2186366" cy="253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400" b="1" u="sng" dirty="0">
                <a:solidFill>
                  <a:srgbClr val="000000"/>
                </a:solidFill>
              </a:rPr>
              <a:t>Own consumption</a:t>
            </a:r>
          </a:p>
        </p:txBody>
      </p:sp>
      <p:sp>
        <p:nvSpPr>
          <p:cNvPr id="160" name="Rectangle 32"/>
          <p:cNvSpPr/>
          <p:nvPr/>
        </p:nvSpPr>
        <p:spPr>
          <a:xfrm>
            <a:off x="8588810" y="4595690"/>
            <a:ext cx="2186366" cy="253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400" b="1" u="sng" dirty="0">
                <a:solidFill>
                  <a:srgbClr val="000000"/>
                </a:solidFill>
              </a:rPr>
              <a:t>Non-thermal demand</a:t>
            </a:r>
          </a:p>
        </p:txBody>
      </p:sp>
      <p:sp>
        <p:nvSpPr>
          <p:cNvPr id="161" name="Rectangle 33"/>
          <p:cNvSpPr/>
          <p:nvPr/>
        </p:nvSpPr>
        <p:spPr>
          <a:xfrm>
            <a:off x="1823088" y="5320484"/>
            <a:ext cx="892740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Flare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</a:rPr>
              <a:t>Reinjection</a:t>
            </a:r>
          </a:p>
        </p:txBody>
      </p:sp>
      <p:sp>
        <p:nvSpPr>
          <p:cNvPr id="162" name="Rectangle 34"/>
          <p:cNvSpPr/>
          <p:nvPr/>
        </p:nvSpPr>
        <p:spPr>
          <a:xfrm>
            <a:off x="2869250" y="6021253"/>
            <a:ext cx="89933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Production</a:t>
            </a:r>
          </a:p>
        </p:txBody>
      </p:sp>
      <p:sp>
        <p:nvSpPr>
          <p:cNvPr id="163" name="Rectangle 35"/>
          <p:cNvSpPr/>
          <p:nvPr/>
        </p:nvSpPr>
        <p:spPr>
          <a:xfrm>
            <a:off x="4684638" y="6084392"/>
            <a:ext cx="1951743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Natural gas 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</a:rPr>
              <a:t>processing plants</a:t>
            </a:r>
          </a:p>
        </p:txBody>
      </p:sp>
      <p:cxnSp>
        <p:nvCxnSpPr>
          <p:cNvPr id="164" name="Straight Arrow Connector 36"/>
          <p:cNvCxnSpPr/>
          <p:nvPr/>
        </p:nvCxnSpPr>
        <p:spPr>
          <a:xfrm>
            <a:off x="3777837" y="5679036"/>
            <a:ext cx="1318328" cy="342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Rectangle 37"/>
          <p:cNvSpPr/>
          <p:nvPr/>
        </p:nvSpPr>
        <p:spPr>
          <a:xfrm>
            <a:off x="3912251" y="5942897"/>
            <a:ext cx="858793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Production from partners</a:t>
            </a:r>
          </a:p>
        </p:txBody>
      </p:sp>
      <p:cxnSp>
        <p:nvCxnSpPr>
          <p:cNvPr id="166" name="Straight Arrow Connector 38"/>
          <p:cNvCxnSpPr/>
          <p:nvPr/>
        </p:nvCxnSpPr>
        <p:spPr>
          <a:xfrm rot="16200000">
            <a:off x="4200181" y="5861206"/>
            <a:ext cx="25343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Freeform 39"/>
          <p:cNvSpPr/>
          <p:nvPr/>
        </p:nvSpPr>
        <p:spPr>
          <a:xfrm>
            <a:off x="2393264" y="5731314"/>
            <a:ext cx="479621" cy="169232"/>
          </a:xfrm>
          <a:custGeom>
            <a:avLst/>
            <a:gdLst>
              <a:gd name="connsiteX0" fmla="*/ 533400 w 533400"/>
              <a:gd name="connsiteY0" fmla="*/ 168275 h 168275"/>
              <a:gd name="connsiteX1" fmla="*/ 0 w 533400"/>
              <a:gd name="connsiteY1" fmla="*/ 168275 h 168275"/>
              <a:gd name="connsiteX2" fmla="*/ 0 w 533400"/>
              <a:gd name="connsiteY2" fmla="*/ 0 h 168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" h="168275">
                <a:moveTo>
                  <a:pt x="533400" y="168275"/>
                </a:moveTo>
                <a:lnTo>
                  <a:pt x="0" y="168275"/>
                </a:lnTo>
                <a:lnTo>
                  <a:pt x="0" y="0"/>
                </a:lnTo>
              </a:path>
            </a:pathLst>
          </a:cu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68" name="Straight Arrow Connector 40"/>
          <p:cNvCxnSpPr/>
          <p:nvPr/>
        </p:nvCxnSpPr>
        <p:spPr>
          <a:xfrm>
            <a:off x="5979931" y="5683035"/>
            <a:ext cx="660726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41"/>
          <p:cNvSpPr/>
          <p:nvPr/>
        </p:nvSpPr>
        <p:spPr>
          <a:xfrm>
            <a:off x="6715428" y="5492019"/>
            <a:ext cx="861435" cy="39250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Liquids</a:t>
            </a:r>
          </a:p>
        </p:txBody>
      </p:sp>
      <p:cxnSp>
        <p:nvCxnSpPr>
          <p:cNvPr id="170" name="Straight Connector 42"/>
          <p:cNvCxnSpPr/>
          <p:nvPr/>
        </p:nvCxnSpPr>
        <p:spPr>
          <a:xfrm flipH="1">
            <a:off x="3987593" y="1446831"/>
            <a:ext cx="0" cy="2889440"/>
          </a:xfrm>
          <a:prstGeom prst="line">
            <a:avLst/>
          </a:prstGeom>
          <a:ln>
            <a:solidFill>
              <a:srgbClr val="00854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43"/>
          <p:cNvCxnSpPr/>
          <p:nvPr/>
        </p:nvCxnSpPr>
        <p:spPr>
          <a:xfrm flipH="1">
            <a:off x="8088966" y="1446831"/>
            <a:ext cx="0" cy="2889440"/>
          </a:xfrm>
          <a:prstGeom prst="line">
            <a:avLst/>
          </a:prstGeom>
          <a:ln>
            <a:solidFill>
              <a:srgbClr val="00854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le 45"/>
          <p:cNvSpPr/>
          <p:nvPr/>
        </p:nvSpPr>
        <p:spPr bwMode="auto">
          <a:xfrm>
            <a:off x="4225449" y="3495798"/>
            <a:ext cx="1124422" cy="88520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50000"/>
            </a:pPr>
            <a:endParaRPr lang="pt-BR" sz="1108">
              <a:solidFill>
                <a:srgbClr val="292929"/>
              </a:solidFill>
            </a:endParaRPr>
          </a:p>
        </p:txBody>
      </p:sp>
      <p:grpSp>
        <p:nvGrpSpPr>
          <p:cNvPr id="174" name="Group 46"/>
          <p:cNvGrpSpPr/>
          <p:nvPr/>
        </p:nvGrpSpPr>
        <p:grpSpPr>
          <a:xfrm>
            <a:off x="4425798" y="3697630"/>
            <a:ext cx="847618" cy="114203"/>
            <a:chOff x="297169" y="4547606"/>
            <a:chExt cx="1449861" cy="151841"/>
          </a:xfrm>
        </p:grpSpPr>
        <p:cxnSp>
          <p:nvCxnSpPr>
            <p:cNvPr id="175" name="Straight Connector 66"/>
            <p:cNvCxnSpPr/>
            <p:nvPr/>
          </p:nvCxnSpPr>
          <p:spPr bwMode="auto">
            <a:xfrm>
              <a:off x="297169" y="4608545"/>
              <a:ext cx="271735" cy="0"/>
            </a:xfrm>
            <a:prstGeom prst="line">
              <a:avLst/>
            </a:prstGeom>
            <a:gradFill rotWithShape="1">
              <a:gsLst>
                <a:gs pos="0">
                  <a:srgbClr val="EB0000"/>
                </a:gs>
                <a:gs pos="100000">
                  <a:srgbClr val="FFF1E3"/>
                </a:gs>
              </a:gsLst>
              <a:lin ang="0" scaled="1"/>
            </a:gradFill>
            <a:ln w="254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76" name="Footer Placeholder 2"/>
            <p:cNvSpPr txBox="1">
              <a:spLocks/>
            </p:cNvSpPr>
            <p:nvPr/>
          </p:nvSpPr>
          <p:spPr bwMode="auto">
            <a:xfrm>
              <a:off x="644294" y="4547606"/>
              <a:ext cx="1102736" cy="151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Aft>
                  <a:spcPts val="0"/>
                </a:spcAft>
                <a:buSzTx/>
                <a:tabLst>
                  <a:tab pos="541338" algn="r"/>
                  <a:tab pos="715963" algn="l"/>
                </a:tabLst>
                <a:defRPr sz="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tabLst>
                  <a:tab pos="305717" algn="r"/>
                  <a:tab pos="357121" algn="l"/>
                </a:tabLst>
                <a:defRPr/>
              </a:pPr>
              <a:r>
                <a:rPr lang="es-ES_tradnl" sz="738" dirty="0">
                  <a:solidFill>
                    <a:srgbClr val="292929"/>
                  </a:solidFill>
                </a:rPr>
                <a:t>NTS</a:t>
              </a:r>
            </a:p>
          </p:txBody>
        </p:sp>
      </p:grpSp>
      <p:grpSp>
        <p:nvGrpSpPr>
          <p:cNvPr id="177" name="Group 47"/>
          <p:cNvGrpSpPr/>
          <p:nvPr/>
        </p:nvGrpSpPr>
        <p:grpSpPr>
          <a:xfrm>
            <a:off x="4425798" y="3844201"/>
            <a:ext cx="847618" cy="114203"/>
            <a:chOff x="297169" y="4742483"/>
            <a:chExt cx="1449861" cy="151841"/>
          </a:xfrm>
        </p:grpSpPr>
        <p:cxnSp>
          <p:nvCxnSpPr>
            <p:cNvPr id="178" name="Straight Connector 64"/>
            <p:cNvCxnSpPr/>
            <p:nvPr/>
          </p:nvCxnSpPr>
          <p:spPr bwMode="auto">
            <a:xfrm>
              <a:off x="297169" y="4803422"/>
              <a:ext cx="271735" cy="0"/>
            </a:xfrm>
            <a:prstGeom prst="line">
              <a:avLst/>
            </a:prstGeom>
            <a:gradFill rotWithShape="1">
              <a:gsLst>
                <a:gs pos="0">
                  <a:srgbClr val="EB0000"/>
                </a:gs>
                <a:gs pos="100000">
                  <a:srgbClr val="FFF1E3"/>
                </a:gs>
              </a:gsLst>
              <a:lin ang="0" scaled="1"/>
            </a:gradFill>
            <a:ln w="25400" cap="flat" cmpd="sng" algn="ctr">
              <a:solidFill>
                <a:srgbClr val="FF99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79" name="Footer Placeholder 2"/>
            <p:cNvSpPr txBox="1">
              <a:spLocks/>
            </p:cNvSpPr>
            <p:nvPr/>
          </p:nvSpPr>
          <p:spPr bwMode="auto">
            <a:xfrm>
              <a:off x="644294" y="4742483"/>
              <a:ext cx="1102736" cy="151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Aft>
                  <a:spcPts val="0"/>
                </a:spcAft>
                <a:buSzTx/>
                <a:tabLst>
                  <a:tab pos="541338" algn="r"/>
                  <a:tab pos="715963" algn="l"/>
                </a:tabLst>
                <a:defRPr sz="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tabLst>
                  <a:tab pos="305717" algn="r"/>
                  <a:tab pos="357121" algn="l"/>
                </a:tabLst>
                <a:defRPr/>
              </a:pPr>
              <a:r>
                <a:rPr lang="es-ES_tradnl" sz="738" dirty="0">
                  <a:solidFill>
                    <a:srgbClr val="292929"/>
                  </a:solidFill>
                </a:rPr>
                <a:t>TBG</a:t>
              </a:r>
            </a:p>
          </p:txBody>
        </p:sp>
      </p:grpSp>
      <p:grpSp>
        <p:nvGrpSpPr>
          <p:cNvPr id="180" name="Group 48"/>
          <p:cNvGrpSpPr/>
          <p:nvPr/>
        </p:nvGrpSpPr>
        <p:grpSpPr>
          <a:xfrm>
            <a:off x="4425798" y="3990772"/>
            <a:ext cx="847618" cy="114203"/>
            <a:chOff x="297169" y="4937360"/>
            <a:chExt cx="1449861" cy="151841"/>
          </a:xfrm>
        </p:grpSpPr>
        <p:cxnSp>
          <p:nvCxnSpPr>
            <p:cNvPr id="181" name="Straight Connector 62"/>
            <p:cNvCxnSpPr/>
            <p:nvPr/>
          </p:nvCxnSpPr>
          <p:spPr bwMode="auto">
            <a:xfrm>
              <a:off x="297169" y="4998299"/>
              <a:ext cx="271735" cy="0"/>
            </a:xfrm>
            <a:prstGeom prst="line">
              <a:avLst/>
            </a:prstGeom>
            <a:gradFill rotWithShape="1">
              <a:gsLst>
                <a:gs pos="0">
                  <a:srgbClr val="EB0000"/>
                </a:gs>
                <a:gs pos="100000">
                  <a:srgbClr val="FFF1E3"/>
                </a:gs>
              </a:gsLst>
              <a:lin ang="0" scaled="1"/>
            </a:gra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82" name="Footer Placeholder 2"/>
            <p:cNvSpPr txBox="1">
              <a:spLocks/>
            </p:cNvSpPr>
            <p:nvPr/>
          </p:nvSpPr>
          <p:spPr bwMode="auto">
            <a:xfrm>
              <a:off x="644294" y="4937360"/>
              <a:ext cx="1102736" cy="151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Aft>
                  <a:spcPts val="0"/>
                </a:spcAft>
                <a:buSzTx/>
                <a:tabLst>
                  <a:tab pos="541338" algn="r"/>
                  <a:tab pos="715963" algn="l"/>
                </a:tabLst>
                <a:defRPr sz="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tabLst>
                  <a:tab pos="305717" algn="r"/>
                  <a:tab pos="357121" algn="l"/>
                </a:tabLst>
                <a:defRPr/>
              </a:pPr>
              <a:r>
                <a:rPr lang="es-ES_tradnl" sz="738" dirty="0">
                  <a:solidFill>
                    <a:srgbClr val="292929"/>
                  </a:solidFill>
                </a:rPr>
                <a:t>TSB</a:t>
              </a:r>
            </a:p>
          </p:txBody>
        </p:sp>
      </p:grpSp>
      <p:grpSp>
        <p:nvGrpSpPr>
          <p:cNvPr id="183" name="Group 49"/>
          <p:cNvGrpSpPr/>
          <p:nvPr/>
        </p:nvGrpSpPr>
        <p:grpSpPr>
          <a:xfrm>
            <a:off x="4425798" y="4137347"/>
            <a:ext cx="847618" cy="114203"/>
            <a:chOff x="297169" y="5132237"/>
            <a:chExt cx="1449861" cy="151841"/>
          </a:xfrm>
        </p:grpSpPr>
        <p:cxnSp>
          <p:nvCxnSpPr>
            <p:cNvPr id="184" name="Straight Connector 60"/>
            <p:cNvCxnSpPr/>
            <p:nvPr/>
          </p:nvCxnSpPr>
          <p:spPr bwMode="auto">
            <a:xfrm>
              <a:off x="297169" y="5193176"/>
              <a:ext cx="271735" cy="0"/>
            </a:xfrm>
            <a:prstGeom prst="line">
              <a:avLst/>
            </a:prstGeom>
            <a:gradFill rotWithShape="1">
              <a:gsLst>
                <a:gs pos="0">
                  <a:srgbClr val="EB0000"/>
                </a:gs>
                <a:gs pos="100000">
                  <a:srgbClr val="FFF1E3"/>
                </a:gs>
              </a:gsLst>
              <a:lin ang="0" scaled="1"/>
            </a:gradFill>
            <a:ln w="25400" cap="flat" cmpd="sng" algn="ctr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85" name="Footer Placeholder 2"/>
            <p:cNvSpPr txBox="1">
              <a:spLocks/>
            </p:cNvSpPr>
            <p:nvPr/>
          </p:nvSpPr>
          <p:spPr bwMode="auto">
            <a:xfrm>
              <a:off x="644294" y="5132237"/>
              <a:ext cx="1102736" cy="151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Aft>
                  <a:spcPts val="0"/>
                </a:spcAft>
                <a:buSzTx/>
                <a:tabLst>
                  <a:tab pos="541338" algn="r"/>
                  <a:tab pos="715963" algn="l"/>
                </a:tabLst>
                <a:defRPr sz="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tabLst>
                  <a:tab pos="305717" algn="r"/>
                  <a:tab pos="357121" algn="l"/>
                </a:tabLst>
                <a:defRPr/>
              </a:pPr>
              <a:r>
                <a:rPr lang="es-ES_tradnl" sz="738" dirty="0" err="1">
                  <a:solidFill>
                    <a:srgbClr val="292929"/>
                  </a:solidFill>
                </a:rPr>
                <a:t>Gás</a:t>
              </a:r>
              <a:r>
                <a:rPr lang="es-ES_tradnl" sz="738" dirty="0">
                  <a:solidFill>
                    <a:srgbClr val="292929"/>
                  </a:solidFill>
                </a:rPr>
                <a:t> </a:t>
              </a:r>
              <a:r>
                <a:rPr lang="es-ES_tradnl" sz="738" dirty="0" err="1">
                  <a:solidFill>
                    <a:srgbClr val="292929"/>
                  </a:solidFill>
                </a:rPr>
                <a:t>Ocidente</a:t>
              </a:r>
              <a:endParaRPr lang="es-ES_tradnl" sz="738" dirty="0">
                <a:solidFill>
                  <a:srgbClr val="292929"/>
                </a:solidFill>
              </a:endParaRPr>
            </a:p>
          </p:txBody>
        </p:sp>
      </p:grpSp>
      <p:grpSp>
        <p:nvGrpSpPr>
          <p:cNvPr id="186" name="Group 50"/>
          <p:cNvGrpSpPr/>
          <p:nvPr/>
        </p:nvGrpSpPr>
        <p:grpSpPr>
          <a:xfrm>
            <a:off x="4425798" y="3551059"/>
            <a:ext cx="847618" cy="114203"/>
            <a:chOff x="297169" y="4352729"/>
            <a:chExt cx="1449861" cy="151841"/>
          </a:xfrm>
        </p:grpSpPr>
        <p:cxnSp>
          <p:nvCxnSpPr>
            <p:cNvPr id="187" name="Straight Connector 58"/>
            <p:cNvCxnSpPr/>
            <p:nvPr/>
          </p:nvCxnSpPr>
          <p:spPr bwMode="auto">
            <a:xfrm>
              <a:off x="297169" y="4413668"/>
              <a:ext cx="271735" cy="0"/>
            </a:xfrm>
            <a:prstGeom prst="line">
              <a:avLst/>
            </a:prstGeom>
            <a:gradFill rotWithShape="1">
              <a:gsLst>
                <a:gs pos="0">
                  <a:srgbClr val="EB0000"/>
                </a:gs>
                <a:gs pos="100000">
                  <a:srgbClr val="FFF1E3"/>
                </a:gs>
              </a:gsLst>
              <a:lin ang="0" scaled="1"/>
            </a:gradFill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88" name="Footer Placeholder 2"/>
            <p:cNvSpPr txBox="1">
              <a:spLocks/>
            </p:cNvSpPr>
            <p:nvPr/>
          </p:nvSpPr>
          <p:spPr bwMode="auto">
            <a:xfrm>
              <a:off x="644294" y="4352729"/>
              <a:ext cx="1102736" cy="151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Aft>
                  <a:spcPts val="0"/>
                </a:spcAft>
                <a:buSzTx/>
                <a:tabLst>
                  <a:tab pos="541338" algn="r"/>
                  <a:tab pos="715963" algn="l"/>
                </a:tabLst>
                <a:defRPr sz="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tabLst>
                  <a:tab pos="305717" algn="r"/>
                  <a:tab pos="357121" algn="l"/>
                </a:tabLst>
                <a:defRPr/>
              </a:pPr>
              <a:r>
                <a:rPr lang="es-ES_tradnl" sz="738" dirty="0">
                  <a:solidFill>
                    <a:srgbClr val="292929"/>
                  </a:solidFill>
                </a:rPr>
                <a:t>TAG</a:t>
              </a:r>
            </a:p>
          </p:txBody>
        </p:sp>
      </p:grpSp>
      <p:pic>
        <p:nvPicPr>
          <p:cNvPr id="189" name="Picture 11" descr="Related image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90" t="17340" r="15141" b="11915"/>
          <a:stretch/>
        </p:blipFill>
        <p:spPr bwMode="auto">
          <a:xfrm>
            <a:off x="1574642" y="1525813"/>
            <a:ext cx="1139820" cy="787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" name="Picture 16" descr="Image result for natural gas treatment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14" r="12440"/>
          <a:stretch/>
        </p:blipFill>
        <p:spPr bwMode="auto">
          <a:xfrm>
            <a:off x="5195855" y="5375204"/>
            <a:ext cx="709304" cy="616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1" name="Picture 18" descr="Related ima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2634" y="1510219"/>
            <a:ext cx="1322676" cy="708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2" name="Picture 20" descr="Related image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2"/>
          <a:stretch/>
        </p:blipFill>
        <p:spPr bwMode="auto">
          <a:xfrm>
            <a:off x="9065415" y="4965339"/>
            <a:ext cx="1329895" cy="708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3" name="Picture 55"/>
          <p:cNvPicPr>
            <a:picLocks noChangeAspect="1"/>
          </p:cNvPicPr>
          <p:nvPr/>
        </p:nvPicPr>
        <p:blipFill rotWithShape="1">
          <a:blip r:embed="rId8"/>
          <a:srcRect t="9733"/>
          <a:stretch/>
        </p:blipFill>
        <p:spPr>
          <a:xfrm>
            <a:off x="9089355" y="3194322"/>
            <a:ext cx="1317383" cy="708844"/>
          </a:xfrm>
          <a:prstGeom prst="rect">
            <a:avLst/>
          </a:prstGeom>
        </p:spPr>
      </p:pic>
      <p:pic>
        <p:nvPicPr>
          <p:cNvPr id="194" name="Picture 24" descr="Related image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35"/>
          <a:stretch/>
        </p:blipFill>
        <p:spPr bwMode="auto">
          <a:xfrm>
            <a:off x="1574669" y="3206388"/>
            <a:ext cx="1139794" cy="80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5" name="Straight Connector 57"/>
          <p:cNvCxnSpPr/>
          <p:nvPr/>
        </p:nvCxnSpPr>
        <p:spPr bwMode="auto">
          <a:xfrm>
            <a:off x="5907527" y="3760566"/>
            <a:ext cx="82915" cy="557"/>
          </a:xfrm>
          <a:prstGeom prst="line">
            <a:avLst/>
          </a:prstGeom>
          <a:gradFill rotWithShape="1">
            <a:gsLst>
              <a:gs pos="0">
                <a:srgbClr val="EB0000"/>
              </a:gs>
              <a:gs pos="100000">
                <a:srgbClr val="FFF1E3"/>
              </a:gs>
            </a:gsLst>
            <a:lin ang="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6" name="Text Placeholder 5"/>
          <p:cNvSpPr txBox="1">
            <a:spLocks/>
          </p:cNvSpPr>
          <p:nvPr/>
        </p:nvSpPr>
        <p:spPr>
          <a:xfrm>
            <a:off x="422522" y="209661"/>
            <a:ext cx="9129345" cy="304699"/>
          </a:xfrm>
          <a:prstGeom prst="rect">
            <a:avLst/>
          </a:prstGeom>
          <a:ln w="12700">
            <a:miter lim="400000"/>
          </a:ln>
        </p:spPr>
        <p:txBody>
          <a:bodyPr lIns="60957" tIns="60957" rIns="60957" bIns="60957"/>
          <a:lstStyle>
            <a:defPPr>
              <a:defRPr lang="it-IT"/>
            </a:defPPr>
            <a:lvl1pPr marR="0" indent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2800" b="0" i="0" u="none" strike="noStrike" cap="none" spc="0" baseline="0">
                <a:ln>
                  <a:noFill/>
                </a:ln>
                <a:uFillTx/>
              </a:defRPr>
            </a:lvl1pPr>
            <a:lvl2pPr marR="0" indent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R="0" indent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R="0" indent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R="0" indent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0" marR="0" indent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0" marR="0" indent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0" marR="0" indent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0" marR="0" indent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r>
              <a:rPr lang="en-US" dirty="0"/>
              <a:t>Natural gas supply and demand overview</a:t>
            </a:r>
          </a:p>
        </p:txBody>
      </p:sp>
      <p:sp>
        <p:nvSpPr>
          <p:cNvPr id="4" name="Retângulo 3"/>
          <p:cNvSpPr/>
          <p:nvPr/>
        </p:nvSpPr>
        <p:spPr>
          <a:xfrm>
            <a:off x="7881399" y="5775652"/>
            <a:ext cx="40382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Average Consumption 2019: 38,2 MMm3/day</a:t>
            </a:r>
          </a:p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Maximum Consumption 2019: 41,7 MMm3/day</a:t>
            </a:r>
          </a:p>
        </p:txBody>
      </p:sp>
      <p:sp>
        <p:nvSpPr>
          <p:cNvPr id="204" name="Retângulo 203"/>
          <p:cNvSpPr/>
          <p:nvPr/>
        </p:nvSpPr>
        <p:spPr>
          <a:xfrm>
            <a:off x="8056200" y="4009038"/>
            <a:ext cx="40382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Average Consumption 2019: 13,5 MMm3/day</a:t>
            </a:r>
          </a:p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Maximum Consumption 2019: 16,3 MMm3/day</a:t>
            </a:r>
          </a:p>
        </p:txBody>
      </p:sp>
      <p:sp>
        <p:nvSpPr>
          <p:cNvPr id="207" name="Retângulo 206"/>
          <p:cNvSpPr/>
          <p:nvPr/>
        </p:nvSpPr>
        <p:spPr>
          <a:xfrm>
            <a:off x="8022147" y="2291459"/>
            <a:ext cx="40382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Average Consumption 2019: 23,6 MMm3/day</a:t>
            </a:r>
          </a:p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Maximum Consumption 2019: 38,1 MMm3/day</a:t>
            </a:r>
          </a:p>
        </p:txBody>
      </p:sp>
      <p:sp>
        <p:nvSpPr>
          <p:cNvPr id="212" name="Rectangle 24"/>
          <p:cNvSpPr/>
          <p:nvPr/>
        </p:nvSpPr>
        <p:spPr>
          <a:xfrm>
            <a:off x="-84605" y="6209850"/>
            <a:ext cx="3684498" cy="72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National Production</a:t>
            </a:r>
          </a:p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Average Volume 2019: 50,4 MMm3/day</a:t>
            </a:r>
          </a:p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aily Maximum Volume 2019: 51,7 MMm3/day</a:t>
            </a:r>
          </a:p>
          <a:p>
            <a:pPr algn="ctr"/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3689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1" name="Picture 6" descr="Base_apresentação_IDE_PPT_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576" y="36662"/>
            <a:ext cx="9494199" cy="682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9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377"/>
            <a:endParaRPr lang="pt-BR" sz="20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437119" y="255280"/>
            <a:ext cx="8922560" cy="433169"/>
          </a:xfrm>
          <a:prstGeom prst="rect">
            <a:avLst/>
          </a:prstGeom>
          <a:ln w="12700">
            <a:miter lim="400000"/>
          </a:ln>
        </p:spPr>
        <p:txBody>
          <a:bodyPr lIns="60957" tIns="60957" rIns="60957" bIns="60957">
            <a:noAutofit/>
          </a:bodyPr>
          <a:lstStyle/>
          <a:p>
            <a:pPr marL="0" indent="0">
              <a:buSzPct val="100000"/>
              <a:buFont typeface="Arial"/>
              <a:buNone/>
            </a:pPr>
            <a:r>
              <a:rPr lang="en-US" dirty="0">
                <a:sym typeface="Arial"/>
              </a:rPr>
              <a:t>Demand by type of consumption and geographic region </a:t>
            </a:r>
            <a:r>
              <a:rPr lang="en-US" sz="2000" dirty="0">
                <a:sym typeface="Arial"/>
              </a:rPr>
              <a:t>January 2020</a:t>
            </a:r>
          </a:p>
        </p:txBody>
      </p:sp>
      <p:grpSp>
        <p:nvGrpSpPr>
          <p:cNvPr id="2" name="Agrupar 1"/>
          <p:cNvGrpSpPr/>
          <p:nvPr/>
        </p:nvGrpSpPr>
        <p:grpSpPr>
          <a:xfrm>
            <a:off x="334413" y="1270007"/>
            <a:ext cx="10830385" cy="5236006"/>
            <a:chOff x="1177996" y="1444190"/>
            <a:chExt cx="9495969" cy="4614177"/>
          </a:xfrm>
        </p:grpSpPr>
        <p:grpSp>
          <p:nvGrpSpPr>
            <p:cNvPr id="12" name="Group 233"/>
            <p:cNvGrpSpPr>
              <a:grpSpLocks noChangeAspect="1"/>
            </p:cNvGrpSpPr>
            <p:nvPr/>
          </p:nvGrpSpPr>
          <p:grpSpPr>
            <a:xfrm>
              <a:off x="3187661" y="1647638"/>
              <a:ext cx="3836816" cy="3836816"/>
              <a:chOff x="960962" y="2510072"/>
              <a:chExt cx="3060000" cy="3060000"/>
            </a:xfrm>
          </p:grpSpPr>
          <p:grpSp>
            <p:nvGrpSpPr>
              <p:cNvPr id="13" name="Group 260"/>
              <p:cNvGrpSpPr/>
              <p:nvPr/>
            </p:nvGrpSpPr>
            <p:grpSpPr>
              <a:xfrm>
                <a:off x="960962" y="2510072"/>
                <a:ext cx="3060000" cy="3060000"/>
                <a:chOff x="-32061146" y="-33575628"/>
                <a:chExt cx="74029884" cy="74010846"/>
              </a:xfrm>
              <a:solidFill>
                <a:schemeClr val="tx1">
                  <a:lumMod val="10000"/>
                  <a:lumOff val="9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grpSp>
              <p:nvGrpSpPr>
                <p:cNvPr id="111" name="Group 680"/>
                <p:cNvGrpSpPr/>
                <p:nvPr/>
              </p:nvGrpSpPr>
              <p:grpSpPr>
                <a:xfrm>
                  <a:off x="35175819" y="-4899013"/>
                  <a:ext cx="3433753" cy="4017967"/>
                  <a:chOff x="35175825" y="-4899025"/>
                  <a:chExt cx="3433763" cy="4017963"/>
                </a:xfrm>
                <a:grpFill/>
              </p:grpSpPr>
              <p:sp>
                <p:nvSpPr>
                  <p:cNvPr id="233" name="Freeform 238"/>
                  <p:cNvSpPr>
                    <a:spLocks/>
                  </p:cNvSpPr>
                  <p:nvPr/>
                </p:nvSpPr>
                <p:spPr bwMode="auto">
                  <a:xfrm>
                    <a:off x="35175825" y="-4899025"/>
                    <a:ext cx="3433763" cy="4017963"/>
                  </a:xfrm>
                  <a:custGeom>
                    <a:avLst/>
                    <a:gdLst/>
                    <a:ahLst/>
                    <a:cxnLst>
                      <a:cxn ang="0">
                        <a:pos x="333" y="166"/>
                      </a:cxn>
                      <a:cxn ang="0">
                        <a:pos x="333" y="368"/>
                      </a:cxn>
                      <a:cxn ang="0">
                        <a:pos x="404" y="582"/>
                      </a:cxn>
                      <a:cxn ang="0">
                        <a:pos x="523" y="642"/>
                      </a:cxn>
                      <a:cxn ang="0">
                        <a:pos x="595" y="808"/>
                      </a:cxn>
                      <a:cxn ang="0">
                        <a:pos x="595" y="998"/>
                      </a:cxn>
                      <a:cxn ang="0">
                        <a:pos x="511" y="1105"/>
                      </a:cxn>
                      <a:cxn ang="0">
                        <a:pos x="535" y="1390"/>
                      </a:cxn>
                      <a:cxn ang="0">
                        <a:pos x="464" y="1485"/>
                      </a:cxn>
                      <a:cxn ang="0">
                        <a:pos x="286" y="1545"/>
                      </a:cxn>
                      <a:cxn ang="0">
                        <a:pos x="167" y="1509"/>
                      </a:cxn>
                      <a:cxn ang="0">
                        <a:pos x="48" y="1533"/>
                      </a:cxn>
                      <a:cxn ang="0">
                        <a:pos x="48" y="1794"/>
                      </a:cxn>
                      <a:cxn ang="0">
                        <a:pos x="155" y="2032"/>
                      </a:cxn>
                      <a:cxn ang="0">
                        <a:pos x="274" y="2103"/>
                      </a:cxn>
                      <a:cxn ang="0">
                        <a:pos x="274" y="2293"/>
                      </a:cxn>
                      <a:cxn ang="0">
                        <a:pos x="404" y="2412"/>
                      </a:cxn>
                      <a:cxn ang="0">
                        <a:pos x="583" y="2531"/>
                      </a:cxn>
                      <a:cxn ang="0">
                        <a:pos x="690" y="2507"/>
                      </a:cxn>
                      <a:cxn ang="0">
                        <a:pos x="797" y="2507"/>
                      </a:cxn>
                      <a:cxn ang="0">
                        <a:pos x="927" y="2388"/>
                      </a:cxn>
                      <a:cxn ang="0">
                        <a:pos x="904" y="2305"/>
                      </a:cxn>
                      <a:cxn ang="0">
                        <a:pos x="951" y="2198"/>
                      </a:cxn>
                      <a:cxn ang="0">
                        <a:pos x="1070" y="2139"/>
                      </a:cxn>
                      <a:cxn ang="0">
                        <a:pos x="963" y="2341"/>
                      </a:cxn>
                      <a:cxn ang="0">
                        <a:pos x="1046" y="2329"/>
                      </a:cxn>
                      <a:cxn ang="0">
                        <a:pos x="1141" y="2151"/>
                      </a:cxn>
                      <a:cxn ang="0">
                        <a:pos x="1260" y="2044"/>
                      </a:cxn>
                      <a:cxn ang="0">
                        <a:pos x="1201" y="1996"/>
                      </a:cxn>
                      <a:cxn ang="0">
                        <a:pos x="1177" y="1949"/>
                      </a:cxn>
                      <a:cxn ang="0">
                        <a:pos x="1141" y="1901"/>
                      </a:cxn>
                      <a:cxn ang="0">
                        <a:pos x="1236" y="1925"/>
                      </a:cxn>
                      <a:cxn ang="0">
                        <a:pos x="1296" y="1889"/>
                      </a:cxn>
                      <a:cxn ang="0">
                        <a:pos x="1272" y="1961"/>
                      </a:cxn>
                      <a:cxn ang="0">
                        <a:pos x="1320" y="1961"/>
                      </a:cxn>
                      <a:cxn ang="0">
                        <a:pos x="1415" y="1842"/>
                      </a:cxn>
                      <a:cxn ang="0">
                        <a:pos x="1391" y="1770"/>
                      </a:cxn>
                      <a:cxn ang="0">
                        <a:pos x="1308" y="1664"/>
                      </a:cxn>
                      <a:cxn ang="0">
                        <a:pos x="1343" y="1628"/>
                      </a:cxn>
                      <a:cxn ang="0">
                        <a:pos x="1296" y="1557"/>
                      </a:cxn>
                      <a:cxn ang="0">
                        <a:pos x="1391" y="1628"/>
                      </a:cxn>
                      <a:cxn ang="0">
                        <a:pos x="1426" y="1687"/>
                      </a:cxn>
                      <a:cxn ang="0">
                        <a:pos x="1462" y="1664"/>
                      </a:cxn>
                      <a:cxn ang="0">
                        <a:pos x="1688" y="1497"/>
                      </a:cxn>
                      <a:cxn ang="0">
                        <a:pos x="2044" y="1366"/>
                      </a:cxn>
                      <a:cxn ang="0">
                        <a:pos x="1937" y="1378"/>
                      </a:cxn>
                      <a:cxn ang="0">
                        <a:pos x="2056" y="1307"/>
                      </a:cxn>
                      <a:cxn ang="0">
                        <a:pos x="2104" y="1343"/>
                      </a:cxn>
                      <a:cxn ang="0">
                        <a:pos x="2163" y="1283"/>
                      </a:cxn>
                      <a:cxn ang="0">
                        <a:pos x="2021" y="1176"/>
                      </a:cxn>
                      <a:cxn ang="0">
                        <a:pos x="1985" y="1105"/>
                      </a:cxn>
                      <a:cxn ang="0">
                        <a:pos x="1831" y="974"/>
                      </a:cxn>
                      <a:cxn ang="0">
                        <a:pos x="1569" y="808"/>
                      </a:cxn>
                      <a:cxn ang="0">
                        <a:pos x="1498" y="677"/>
                      </a:cxn>
                      <a:cxn ang="0">
                        <a:pos x="1248" y="535"/>
                      </a:cxn>
                      <a:cxn ang="0">
                        <a:pos x="1022" y="380"/>
                      </a:cxn>
                      <a:cxn ang="0">
                        <a:pos x="844" y="333"/>
                      </a:cxn>
                      <a:cxn ang="0">
                        <a:pos x="725" y="226"/>
                      </a:cxn>
                      <a:cxn ang="0">
                        <a:pos x="535" y="142"/>
                      </a:cxn>
                      <a:cxn ang="0">
                        <a:pos x="333" y="35"/>
                      </a:cxn>
                    </a:cxnLst>
                    <a:rect l="0" t="0" r="r" b="b"/>
                    <a:pathLst>
                      <a:path w="2163" h="2531">
                        <a:moveTo>
                          <a:pt x="286" y="0"/>
                        </a:moveTo>
                        <a:lnTo>
                          <a:pt x="262" y="95"/>
                        </a:lnTo>
                        <a:lnTo>
                          <a:pt x="333" y="166"/>
                        </a:lnTo>
                        <a:lnTo>
                          <a:pt x="309" y="249"/>
                        </a:lnTo>
                        <a:lnTo>
                          <a:pt x="309" y="309"/>
                        </a:lnTo>
                        <a:lnTo>
                          <a:pt x="333" y="368"/>
                        </a:lnTo>
                        <a:lnTo>
                          <a:pt x="381" y="428"/>
                        </a:lnTo>
                        <a:lnTo>
                          <a:pt x="381" y="523"/>
                        </a:lnTo>
                        <a:lnTo>
                          <a:pt x="404" y="582"/>
                        </a:lnTo>
                        <a:lnTo>
                          <a:pt x="416" y="594"/>
                        </a:lnTo>
                        <a:lnTo>
                          <a:pt x="488" y="618"/>
                        </a:lnTo>
                        <a:lnTo>
                          <a:pt x="523" y="642"/>
                        </a:lnTo>
                        <a:lnTo>
                          <a:pt x="547" y="665"/>
                        </a:lnTo>
                        <a:lnTo>
                          <a:pt x="535" y="677"/>
                        </a:lnTo>
                        <a:lnTo>
                          <a:pt x="595" y="808"/>
                        </a:lnTo>
                        <a:lnTo>
                          <a:pt x="606" y="855"/>
                        </a:lnTo>
                        <a:lnTo>
                          <a:pt x="606" y="927"/>
                        </a:lnTo>
                        <a:lnTo>
                          <a:pt x="595" y="998"/>
                        </a:lnTo>
                        <a:lnTo>
                          <a:pt x="559" y="1046"/>
                        </a:lnTo>
                        <a:lnTo>
                          <a:pt x="523" y="1069"/>
                        </a:lnTo>
                        <a:lnTo>
                          <a:pt x="511" y="1105"/>
                        </a:lnTo>
                        <a:lnTo>
                          <a:pt x="535" y="1271"/>
                        </a:lnTo>
                        <a:lnTo>
                          <a:pt x="523" y="1331"/>
                        </a:lnTo>
                        <a:lnTo>
                          <a:pt x="535" y="1390"/>
                        </a:lnTo>
                        <a:lnTo>
                          <a:pt x="535" y="1438"/>
                        </a:lnTo>
                        <a:lnTo>
                          <a:pt x="488" y="1473"/>
                        </a:lnTo>
                        <a:lnTo>
                          <a:pt x="464" y="1485"/>
                        </a:lnTo>
                        <a:lnTo>
                          <a:pt x="393" y="1509"/>
                        </a:lnTo>
                        <a:lnTo>
                          <a:pt x="345" y="1545"/>
                        </a:lnTo>
                        <a:lnTo>
                          <a:pt x="286" y="1545"/>
                        </a:lnTo>
                        <a:lnTo>
                          <a:pt x="238" y="1521"/>
                        </a:lnTo>
                        <a:lnTo>
                          <a:pt x="202" y="1497"/>
                        </a:lnTo>
                        <a:lnTo>
                          <a:pt x="167" y="1509"/>
                        </a:lnTo>
                        <a:lnTo>
                          <a:pt x="143" y="1521"/>
                        </a:lnTo>
                        <a:lnTo>
                          <a:pt x="84" y="1521"/>
                        </a:lnTo>
                        <a:lnTo>
                          <a:pt x="48" y="1533"/>
                        </a:lnTo>
                        <a:lnTo>
                          <a:pt x="0" y="1652"/>
                        </a:lnTo>
                        <a:lnTo>
                          <a:pt x="24" y="1759"/>
                        </a:lnTo>
                        <a:lnTo>
                          <a:pt x="48" y="1794"/>
                        </a:lnTo>
                        <a:lnTo>
                          <a:pt x="131" y="1901"/>
                        </a:lnTo>
                        <a:lnTo>
                          <a:pt x="143" y="1937"/>
                        </a:lnTo>
                        <a:lnTo>
                          <a:pt x="155" y="2032"/>
                        </a:lnTo>
                        <a:lnTo>
                          <a:pt x="191" y="2056"/>
                        </a:lnTo>
                        <a:lnTo>
                          <a:pt x="262" y="2079"/>
                        </a:lnTo>
                        <a:lnTo>
                          <a:pt x="274" y="2103"/>
                        </a:lnTo>
                        <a:lnTo>
                          <a:pt x="274" y="2127"/>
                        </a:lnTo>
                        <a:lnTo>
                          <a:pt x="262" y="2246"/>
                        </a:lnTo>
                        <a:lnTo>
                          <a:pt x="274" y="2293"/>
                        </a:lnTo>
                        <a:lnTo>
                          <a:pt x="309" y="2317"/>
                        </a:lnTo>
                        <a:lnTo>
                          <a:pt x="381" y="2353"/>
                        </a:lnTo>
                        <a:lnTo>
                          <a:pt x="404" y="2412"/>
                        </a:lnTo>
                        <a:lnTo>
                          <a:pt x="440" y="2436"/>
                        </a:lnTo>
                        <a:lnTo>
                          <a:pt x="476" y="2484"/>
                        </a:lnTo>
                        <a:lnTo>
                          <a:pt x="583" y="2531"/>
                        </a:lnTo>
                        <a:lnTo>
                          <a:pt x="630" y="2531"/>
                        </a:lnTo>
                        <a:lnTo>
                          <a:pt x="666" y="2507"/>
                        </a:lnTo>
                        <a:lnTo>
                          <a:pt x="690" y="2507"/>
                        </a:lnTo>
                        <a:lnTo>
                          <a:pt x="761" y="2531"/>
                        </a:lnTo>
                        <a:lnTo>
                          <a:pt x="785" y="2531"/>
                        </a:lnTo>
                        <a:lnTo>
                          <a:pt x="797" y="2507"/>
                        </a:lnTo>
                        <a:lnTo>
                          <a:pt x="880" y="2484"/>
                        </a:lnTo>
                        <a:lnTo>
                          <a:pt x="939" y="2424"/>
                        </a:lnTo>
                        <a:lnTo>
                          <a:pt x="927" y="2388"/>
                        </a:lnTo>
                        <a:lnTo>
                          <a:pt x="927" y="2365"/>
                        </a:lnTo>
                        <a:lnTo>
                          <a:pt x="904" y="2317"/>
                        </a:lnTo>
                        <a:lnTo>
                          <a:pt x="904" y="2305"/>
                        </a:lnTo>
                        <a:lnTo>
                          <a:pt x="951" y="2281"/>
                        </a:lnTo>
                        <a:lnTo>
                          <a:pt x="963" y="2270"/>
                        </a:lnTo>
                        <a:lnTo>
                          <a:pt x="951" y="2198"/>
                        </a:lnTo>
                        <a:lnTo>
                          <a:pt x="1011" y="2198"/>
                        </a:lnTo>
                        <a:lnTo>
                          <a:pt x="1058" y="2139"/>
                        </a:lnTo>
                        <a:lnTo>
                          <a:pt x="1070" y="2139"/>
                        </a:lnTo>
                        <a:lnTo>
                          <a:pt x="1070" y="2175"/>
                        </a:lnTo>
                        <a:lnTo>
                          <a:pt x="975" y="2293"/>
                        </a:lnTo>
                        <a:lnTo>
                          <a:pt x="963" y="2341"/>
                        </a:lnTo>
                        <a:lnTo>
                          <a:pt x="975" y="2365"/>
                        </a:lnTo>
                        <a:lnTo>
                          <a:pt x="1022" y="2353"/>
                        </a:lnTo>
                        <a:lnTo>
                          <a:pt x="1046" y="2329"/>
                        </a:lnTo>
                        <a:lnTo>
                          <a:pt x="1082" y="2234"/>
                        </a:lnTo>
                        <a:lnTo>
                          <a:pt x="1117" y="2175"/>
                        </a:lnTo>
                        <a:lnTo>
                          <a:pt x="1141" y="2151"/>
                        </a:lnTo>
                        <a:lnTo>
                          <a:pt x="1213" y="2127"/>
                        </a:lnTo>
                        <a:lnTo>
                          <a:pt x="1272" y="2068"/>
                        </a:lnTo>
                        <a:lnTo>
                          <a:pt x="1260" y="2044"/>
                        </a:lnTo>
                        <a:lnTo>
                          <a:pt x="1236" y="2044"/>
                        </a:lnTo>
                        <a:lnTo>
                          <a:pt x="1224" y="2008"/>
                        </a:lnTo>
                        <a:lnTo>
                          <a:pt x="1201" y="1996"/>
                        </a:lnTo>
                        <a:lnTo>
                          <a:pt x="1177" y="1984"/>
                        </a:lnTo>
                        <a:lnTo>
                          <a:pt x="1189" y="1961"/>
                        </a:lnTo>
                        <a:lnTo>
                          <a:pt x="1177" y="1949"/>
                        </a:lnTo>
                        <a:lnTo>
                          <a:pt x="1129" y="1925"/>
                        </a:lnTo>
                        <a:lnTo>
                          <a:pt x="1117" y="1913"/>
                        </a:lnTo>
                        <a:lnTo>
                          <a:pt x="1141" y="1901"/>
                        </a:lnTo>
                        <a:lnTo>
                          <a:pt x="1165" y="1901"/>
                        </a:lnTo>
                        <a:lnTo>
                          <a:pt x="1201" y="1925"/>
                        </a:lnTo>
                        <a:lnTo>
                          <a:pt x="1236" y="1925"/>
                        </a:lnTo>
                        <a:lnTo>
                          <a:pt x="1260" y="1913"/>
                        </a:lnTo>
                        <a:lnTo>
                          <a:pt x="1272" y="1889"/>
                        </a:lnTo>
                        <a:lnTo>
                          <a:pt x="1296" y="1889"/>
                        </a:lnTo>
                        <a:lnTo>
                          <a:pt x="1296" y="1901"/>
                        </a:lnTo>
                        <a:lnTo>
                          <a:pt x="1272" y="1925"/>
                        </a:lnTo>
                        <a:lnTo>
                          <a:pt x="1272" y="1961"/>
                        </a:lnTo>
                        <a:lnTo>
                          <a:pt x="1272" y="1973"/>
                        </a:lnTo>
                        <a:lnTo>
                          <a:pt x="1296" y="1973"/>
                        </a:lnTo>
                        <a:lnTo>
                          <a:pt x="1320" y="1961"/>
                        </a:lnTo>
                        <a:lnTo>
                          <a:pt x="1355" y="1889"/>
                        </a:lnTo>
                        <a:lnTo>
                          <a:pt x="1403" y="1854"/>
                        </a:lnTo>
                        <a:lnTo>
                          <a:pt x="1415" y="1842"/>
                        </a:lnTo>
                        <a:lnTo>
                          <a:pt x="1415" y="1818"/>
                        </a:lnTo>
                        <a:lnTo>
                          <a:pt x="1379" y="1806"/>
                        </a:lnTo>
                        <a:lnTo>
                          <a:pt x="1391" y="1770"/>
                        </a:lnTo>
                        <a:lnTo>
                          <a:pt x="1391" y="1735"/>
                        </a:lnTo>
                        <a:lnTo>
                          <a:pt x="1308" y="1687"/>
                        </a:lnTo>
                        <a:lnTo>
                          <a:pt x="1308" y="1664"/>
                        </a:lnTo>
                        <a:lnTo>
                          <a:pt x="1308" y="1652"/>
                        </a:lnTo>
                        <a:lnTo>
                          <a:pt x="1331" y="1640"/>
                        </a:lnTo>
                        <a:lnTo>
                          <a:pt x="1343" y="1628"/>
                        </a:lnTo>
                        <a:lnTo>
                          <a:pt x="1331" y="1604"/>
                        </a:lnTo>
                        <a:lnTo>
                          <a:pt x="1296" y="1580"/>
                        </a:lnTo>
                        <a:lnTo>
                          <a:pt x="1296" y="1557"/>
                        </a:lnTo>
                        <a:lnTo>
                          <a:pt x="1331" y="1568"/>
                        </a:lnTo>
                        <a:lnTo>
                          <a:pt x="1391" y="1580"/>
                        </a:lnTo>
                        <a:lnTo>
                          <a:pt x="1391" y="1628"/>
                        </a:lnTo>
                        <a:lnTo>
                          <a:pt x="1403" y="1640"/>
                        </a:lnTo>
                        <a:lnTo>
                          <a:pt x="1438" y="1664"/>
                        </a:lnTo>
                        <a:lnTo>
                          <a:pt x="1426" y="1687"/>
                        </a:lnTo>
                        <a:lnTo>
                          <a:pt x="1438" y="1687"/>
                        </a:lnTo>
                        <a:lnTo>
                          <a:pt x="1462" y="1675"/>
                        </a:lnTo>
                        <a:lnTo>
                          <a:pt x="1462" y="1664"/>
                        </a:lnTo>
                        <a:lnTo>
                          <a:pt x="1510" y="1604"/>
                        </a:lnTo>
                        <a:lnTo>
                          <a:pt x="1652" y="1533"/>
                        </a:lnTo>
                        <a:lnTo>
                          <a:pt x="1688" y="1497"/>
                        </a:lnTo>
                        <a:lnTo>
                          <a:pt x="1819" y="1438"/>
                        </a:lnTo>
                        <a:lnTo>
                          <a:pt x="2033" y="1378"/>
                        </a:lnTo>
                        <a:lnTo>
                          <a:pt x="2044" y="1366"/>
                        </a:lnTo>
                        <a:lnTo>
                          <a:pt x="2044" y="1355"/>
                        </a:lnTo>
                        <a:lnTo>
                          <a:pt x="1949" y="1378"/>
                        </a:lnTo>
                        <a:lnTo>
                          <a:pt x="1937" y="1378"/>
                        </a:lnTo>
                        <a:lnTo>
                          <a:pt x="1937" y="1366"/>
                        </a:lnTo>
                        <a:lnTo>
                          <a:pt x="2009" y="1355"/>
                        </a:lnTo>
                        <a:lnTo>
                          <a:pt x="2056" y="1307"/>
                        </a:lnTo>
                        <a:lnTo>
                          <a:pt x="2080" y="1319"/>
                        </a:lnTo>
                        <a:lnTo>
                          <a:pt x="2092" y="1343"/>
                        </a:lnTo>
                        <a:lnTo>
                          <a:pt x="2104" y="1343"/>
                        </a:lnTo>
                        <a:lnTo>
                          <a:pt x="2139" y="1331"/>
                        </a:lnTo>
                        <a:lnTo>
                          <a:pt x="2163" y="1319"/>
                        </a:lnTo>
                        <a:lnTo>
                          <a:pt x="2163" y="1283"/>
                        </a:lnTo>
                        <a:lnTo>
                          <a:pt x="2151" y="1224"/>
                        </a:lnTo>
                        <a:lnTo>
                          <a:pt x="2104" y="1200"/>
                        </a:lnTo>
                        <a:lnTo>
                          <a:pt x="2021" y="1176"/>
                        </a:lnTo>
                        <a:lnTo>
                          <a:pt x="1997" y="1164"/>
                        </a:lnTo>
                        <a:lnTo>
                          <a:pt x="1985" y="1129"/>
                        </a:lnTo>
                        <a:lnTo>
                          <a:pt x="1985" y="1105"/>
                        </a:lnTo>
                        <a:lnTo>
                          <a:pt x="1961" y="1034"/>
                        </a:lnTo>
                        <a:lnTo>
                          <a:pt x="1914" y="998"/>
                        </a:lnTo>
                        <a:lnTo>
                          <a:pt x="1831" y="974"/>
                        </a:lnTo>
                        <a:lnTo>
                          <a:pt x="1771" y="939"/>
                        </a:lnTo>
                        <a:lnTo>
                          <a:pt x="1700" y="915"/>
                        </a:lnTo>
                        <a:lnTo>
                          <a:pt x="1569" y="808"/>
                        </a:lnTo>
                        <a:lnTo>
                          <a:pt x="1545" y="725"/>
                        </a:lnTo>
                        <a:lnTo>
                          <a:pt x="1533" y="689"/>
                        </a:lnTo>
                        <a:lnTo>
                          <a:pt x="1498" y="677"/>
                        </a:lnTo>
                        <a:lnTo>
                          <a:pt x="1415" y="642"/>
                        </a:lnTo>
                        <a:lnTo>
                          <a:pt x="1343" y="582"/>
                        </a:lnTo>
                        <a:lnTo>
                          <a:pt x="1248" y="535"/>
                        </a:lnTo>
                        <a:lnTo>
                          <a:pt x="1177" y="475"/>
                        </a:lnTo>
                        <a:lnTo>
                          <a:pt x="1106" y="440"/>
                        </a:lnTo>
                        <a:lnTo>
                          <a:pt x="1022" y="380"/>
                        </a:lnTo>
                        <a:lnTo>
                          <a:pt x="987" y="368"/>
                        </a:lnTo>
                        <a:lnTo>
                          <a:pt x="904" y="356"/>
                        </a:lnTo>
                        <a:lnTo>
                          <a:pt x="844" y="333"/>
                        </a:lnTo>
                        <a:lnTo>
                          <a:pt x="785" y="297"/>
                        </a:lnTo>
                        <a:lnTo>
                          <a:pt x="749" y="261"/>
                        </a:lnTo>
                        <a:lnTo>
                          <a:pt x="725" y="226"/>
                        </a:lnTo>
                        <a:lnTo>
                          <a:pt x="666" y="202"/>
                        </a:lnTo>
                        <a:lnTo>
                          <a:pt x="595" y="190"/>
                        </a:lnTo>
                        <a:lnTo>
                          <a:pt x="535" y="142"/>
                        </a:lnTo>
                        <a:lnTo>
                          <a:pt x="500" y="95"/>
                        </a:lnTo>
                        <a:lnTo>
                          <a:pt x="393" y="59"/>
                        </a:lnTo>
                        <a:lnTo>
                          <a:pt x="333" y="35"/>
                        </a:lnTo>
                        <a:lnTo>
                          <a:pt x="286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34" name="Freeform 240"/>
                  <p:cNvSpPr>
                    <a:spLocks/>
                  </p:cNvSpPr>
                  <p:nvPr/>
                </p:nvSpPr>
                <p:spPr bwMode="auto">
                  <a:xfrm>
                    <a:off x="37439600" y="-2371725"/>
                    <a:ext cx="284163" cy="282575"/>
                  </a:xfrm>
                  <a:custGeom>
                    <a:avLst/>
                    <a:gdLst/>
                    <a:ahLst/>
                    <a:cxnLst>
                      <a:cxn ang="0">
                        <a:pos x="0" y="155"/>
                      </a:cxn>
                      <a:cxn ang="0">
                        <a:pos x="60" y="83"/>
                      </a:cxn>
                      <a:cxn ang="0">
                        <a:pos x="72" y="60"/>
                      </a:cxn>
                      <a:cxn ang="0">
                        <a:pos x="131" y="12"/>
                      </a:cxn>
                      <a:cxn ang="0">
                        <a:pos x="179" y="0"/>
                      </a:cxn>
                      <a:cxn ang="0">
                        <a:pos x="179" y="12"/>
                      </a:cxn>
                      <a:cxn ang="0">
                        <a:pos x="167" y="36"/>
                      </a:cxn>
                      <a:cxn ang="0">
                        <a:pos x="84" y="83"/>
                      </a:cxn>
                      <a:cxn ang="0">
                        <a:pos x="48" y="143"/>
                      </a:cxn>
                      <a:cxn ang="0">
                        <a:pos x="24" y="178"/>
                      </a:cxn>
                      <a:cxn ang="0">
                        <a:pos x="0" y="178"/>
                      </a:cxn>
                      <a:cxn ang="0">
                        <a:pos x="0" y="155"/>
                      </a:cxn>
                    </a:cxnLst>
                    <a:rect l="0" t="0" r="r" b="b"/>
                    <a:pathLst>
                      <a:path w="179" h="178">
                        <a:moveTo>
                          <a:pt x="0" y="155"/>
                        </a:moveTo>
                        <a:lnTo>
                          <a:pt x="60" y="83"/>
                        </a:lnTo>
                        <a:lnTo>
                          <a:pt x="72" y="60"/>
                        </a:lnTo>
                        <a:lnTo>
                          <a:pt x="131" y="12"/>
                        </a:lnTo>
                        <a:lnTo>
                          <a:pt x="179" y="0"/>
                        </a:lnTo>
                        <a:lnTo>
                          <a:pt x="179" y="12"/>
                        </a:lnTo>
                        <a:lnTo>
                          <a:pt x="167" y="36"/>
                        </a:lnTo>
                        <a:lnTo>
                          <a:pt x="84" y="83"/>
                        </a:lnTo>
                        <a:lnTo>
                          <a:pt x="48" y="143"/>
                        </a:lnTo>
                        <a:lnTo>
                          <a:pt x="24" y="178"/>
                        </a:lnTo>
                        <a:lnTo>
                          <a:pt x="0" y="178"/>
                        </a:lnTo>
                        <a:lnTo>
                          <a:pt x="0" y="155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12" name="Freeform 242"/>
                <p:cNvSpPr>
                  <a:spLocks/>
                </p:cNvSpPr>
                <p:nvPr/>
              </p:nvSpPr>
              <p:spPr bwMode="auto">
                <a:xfrm>
                  <a:off x="35271066" y="-6162664"/>
                  <a:ext cx="5903907" cy="3281365"/>
                </a:xfrm>
                <a:custGeom>
                  <a:avLst/>
                  <a:gdLst/>
                  <a:ahLst/>
                  <a:cxnLst>
                    <a:cxn ang="0">
                      <a:pos x="2127" y="2067"/>
                    </a:cxn>
                    <a:cxn ang="0">
                      <a:pos x="2270" y="1853"/>
                    </a:cxn>
                    <a:cxn ang="0">
                      <a:pos x="2436" y="1711"/>
                    </a:cxn>
                    <a:cxn ang="0">
                      <a:pos x="2590" y="1604"/>
                    </a:cxn>
                    <a:cxn ang="0">
                      <a:pos x="2733" y="1438"/>
                    </a:cxn>
                    <a:cxn ang="0">
                      <a:pos x="2709" y="1366"/>
                    </a:cxn>
                    <a:cxn ang="0">
                      <a:pos x="2674" y="1331"/>
                    </a:cxn>
                    <a:cxn ang="0">
                      <a:pos x="2757" y="1366"/>
                    </a:cxn>
                    <a:cxn ang="0">
                      <a:pos x="2864" y="1236"/>
                    </a:cxn>
                    <a:cxn ang="0">
                      <a:pos x="2899" y="1176"/>
                    </a:cxn>
                    <a:cxn ang="0">
                      <a:pos x="2923" y="1212"/>
                    </a:cxn>
                    <a:cxn ang="0">
                      <a:pos x="3113" y="1045"/>
                    </a:cxn>
                    <a:cxn ang="0">
                      <a:pos x="3292" y="843"/>
                    </a:cxn>
                    <a:cxn ang="0">
                      <a:pos x="3422" y="736"/>
                    </a:cxn>
                    <a:cxn ang="0">
                      <a:pos x="3494" y="641"/>
                    </a:cxn>
                    <a:cxn ang="0">
                      <a:pos x="3613" y="451"/>
                    </a:cxn>
                    <a:cxn ang="0">
                      <a:pos x="3719" y="225"/>
                    </a:cxn>
                    <a:cxn ang="0">
                      <a:pos x="3672" y="178"/>
                    </a:cxn>
                    <a:cxn ang="0">
                      <a:pos x="3589" y="190"/>
                    </a:cxn>
                    <a:cxn ang="0">
                      <a:pos x="3446" y="154"/>
                    </a:cxn>
                    <a:cxn ang="0">
                      <a:pos x="3280" y="107"/>
                    </a:cxn>
                    <a:cxn ang="0">
                      <a:pos x="3078" y="190"/>
                    </a:cxn>
                    <a:cxn ang="0">
                      <a:pos x="2959" y="190"/>
                    </a:cxn>
                    <a:cxn ang="0">
                      <a:pos x="2626" y="202"/>
                    </a:cxn>
                    <a:cxn ang="0">
                      <a:pos x="2531" y="344"/>
                    </a:cxn>
                    <a:cxn ang="0">
                      <a:pos x="2388" y="463"/>
                    </a:cxn>
                    <a:cxn ang="0">
                      <a:pos x="2246" y="582"/>
                    </a:cxn>
                    <a:cxn ang="0">
                      <a:pos x="2068" y="618"/>
                    </a:cxn>
                    <a:cxn ang="0">
                      <a:pos x="1961" y="724"/>
                    </a:cxn>
                    <a:cxn ang="0">
                      <a:pos x="1640" y="618"/>
                    </a:cxn>
                    <a:cxn ang="0">
                      <a:pos x="1545" y="724"/>
                    </a:cxn>
                    <a:cxn ang="0">
                      <a:pos x="1414" y="606"/>
                    </a:cxn>
                    <a:cxn ang="0">
                      <a:pos x="1343" y="570"/>
                    </a:cxn>
                    <a:cxn ang="0">
                      <a:pos x="1212" y="511"/>
                    </a:cxn>
                    <a:cxn ang="0">
                      <a:pos x="962" y="237"/>
                    </a:cxn>
                    <a:cxn ang="0">
                      <a:pos x="796" y="237"/>
                    </a:cxn>
                    <a:cxn ang="0">
                      <a:pos x="665" y="95"/>
                    </a:cxn>
                    <a:cxn ang="0">
                      <a:pos x="546" y="35"/>
                    </a:cxn>
                    <a:cxn ang="0">
                      <a:pos x="487" y="178"/>
                    </a:cxn>
                    <a:cxn ang="0">
                      <a:pos x="273" y="380"/>
                    </a:cxn>
                    <a:cxn ang="0">
                      <a:pos x="12" y="594"/>
                    </a:cxn>
                    <a:cxn ang="0">
                      <a:pos x="59" y="689"/>
                    </a:cxn>
                    <a:cxn ang="0">
                      <a:pos x="178" y="772"/>
                    </a:cxn>
                    <a:cxn ang="0">
                      <a:pos x="273" y="831"/>
                    </a:cxn>
                    <a:cxn ang="0">
                      <a:pos x="535" y="986"/>
                    </a:cxn>
                    <a:cxn ang="0">
                      <a:pos x="725" y="1093"/>
                    </a:cxn>
                    <a:cxn ang="0">
                      <a:pos x="962" y="1176"/>
                    </a:cxn>
                    <a:cxn ang="0">
                      <a:pos x="1283" y="1378"/>
                    </a:cxn>
                    <a:cxn ang="0">
                      <a:pos x="1485" y="1521"/>
                    </a:cxn>
                    <a:cxn ang="0">
                      <a:pos x="1771" y="1770"/>
                    </a:cxn>
                    <a:cxn ang="0">
                      <a:pos x="1925" y="1925"/>
                    </a:cxn>
                    <a:cxn ang="0">
                      <a:pos x="2091" y="2020"/>
                    </a:cxn>
                  </a:cxnLst>
                  <a:rect l="0" t="0" r="r" b="b"/>
                  <a:pathLst>
                    <a:path w="3719" h="2067">
                      <a:moveTo>
                        <a:pt x="2091" y="2020"/>
                      </a:moveTo>
                      <a:lnTo>
                        <a:pt x="2103" y="2020"/>
                      </a:lnTo>
                      <a:lnTo>
                        <a:pt x="2103" y="2055"/>
                      </a:lnTo>
                      <a:lnTo>
                        <a:pt x="2127" y="2067"/>
                      </a:lnTo>
                      <a:lnTo>
                        <a:pt x="2175" y="2008"/>
                      </a:lnTo>
                      <a:lnTo>
                        <a:pt x="2246" y="1949"/>
                      </a:lnTo>
                      <a:lnTo>
                        <a:pt x="2258" y="1877"/>
                      </a:lnTo>
                      <a:lnTo>
                        <a:pt x="2270" y="1853"/>
                      </a:lnTo>
                      <a:lnTo>
                        <a:pt x="2329" y="1794"/>
                      </a:lnTo>
                      <a:lnTo>
                        <a:pt x="2388" y="1711"/>
                      </a:lnTo>
                      <a:lnTo>
                        <a:pt x="2424" y="1711"/>
                      </a:lnTo>
                      <a:lnTo>
                        <a:pt x="2436" y="1711"/>
                      </a:lnTo>
                      <a:lnTo>
                        <a:pt x="2460" y="1699"/>
                      </a:lnTo>
                      <a:lnTo>
                        <a:pt x="2507" y="1651"/>
                      </a:lnTo>
                      <a:lnTo>
                        <a:pt x="2567" y="1628"/>
                      </a:lnTo>
                      <a:lnTo>
                        <a:pt x="2590" y="1604"/>
                      </a:lnTo>
                      <a:lnTo>
                        <a:pt x="2638" y="1509"/>
                      </a:lnTo>
                      <a:lnTo>
                        <a:pt x="2686" y="1473"/>
                      </a:lnTo>
                      <a:lnTo>
                        <a:pt x="2709" y="1449"/>
                      </a:lnTo>
                      <a:lnTo>
                        <a:pt x="2733" y="1438"/>
                      </a:lnTo>
                      <a:lnTo>
                        <a:pt x="2745" y="1426"/>
                      </a:lnTo>
                      <a:lnTo>
                        <a:pt x="2757" y="1390"/>
                      </a:lnTo>
                      <a:lnTo>
                        <a:pt x="2733" y="1366"/>
                      </a:lnTo>
                      <a:lnTo>
                        <a:pt x="2709" y="1366"/>
                      </a:lnTo>
                      <a:lnTo>
                        <a:pt x="2686" y="1366"/>
                      </a:lnTo>
                      <a:lnTo>
                        <a:pt x="2662" y="1366"/>
                      </a:lnTo>
                      <a:lnTo>
                        <a:pt x="2662" y="1354"/>
                      </a:lnTo>
                      <a:lnTo>
                        <a:pt x="2674" y="1331"/>
                      </a:lnTo>
                      <a:lnTo>
                        <a:pt x="2697" y="1342"/>
                      </a:lnTo>
                      <a:lnTo>
                        <a:pt x="2721" y="1342"/>
                      </a:lnTo>
                      <a:lnTo>
                        <a:pt x="2733" y="1354"/>
                      </a:lnTo>
                      <a:lnTo>
                        <a:pt x="2757" y="1366"/>
                      </a:lnTo>
                      <a:lnTo>
                        <a:pt x="2781" y="1354"/>
                      </a:lnTo>
                      <a:lnTo>
                        <a:pt x="2804" y="1319"/>
                      </a:lnTo>
                      <a:lnTo>
                        <a:pt x="2876" y="1259"/>
                      </a:lnTo>
                      <a:lnTo>
                        <a:pt x="2864" y="1236"/>
                      </a:lnTo>
                      <a:lnTo>
                        <a:pt x="2804" y="1259"/>
                      </a:lnTo>
                      <a:lnTo>
                        <a:pt x="2804" y="1236"/>
                      </a:lnTo>
                      <a:lnTo>
                        <a:pt x="2852" y="1212"/>
                      </a:lnTo>
                      <a:lnTo>
                        <a:pt x="2899" y="1176"/>
                      </a:lnTo>
                      <a:lnTo>
                        <a:pt x="2911" y="1152"/>
                      </a:lnTo>
                      <a:lnTo>
                        <a:pt x="2923" y="1152"/>
                      </a:lnTo>
                      <a:lnTo>
                        <a:pt x="2911" y="1200"/>
                      </a:lnTo>
                      <a:lnTo>
                        <a:pt x="2923" y="1212"/>
                      </a:lnTo>
                      <a:lnTo>
                        <a:pt x="3018" y="1200"/>
                      </a:lnTo>
                      <a:lnTo>
                        <a:pt x="3030" y="1188"/>
                      </a:lnTo>
                      <a:lnTo>
                        <a:pt x="3042" y="1140"/>
                      </a:lnTo>
                      <a:lnTo>
                        <a:pt x="3113" y="1045"/>
                      </a:lnTo>
                      <a:lnTo>
                        <a:pt x="3232" y="927"/>
                      </a:lnTo>
                      <a:lnTo>
                        <a:pt x="3244" y="855"/>
                      </a:lnTo>
                      <a:lnTo>
                        <a:pt x="3280" y="855"/>
                      </a:lnTo>
                      <a:lnTo>
                        <a:pt x="3292" y="843"/>
                      </a:lnTo>
                      <a:lnTo>
                        <a:pt x="3327" y="808"/>
                      </a:lnTo>
                      <a:lnTo>
                        <a:pt x="3351" y="772"/>
                      </a:lnTo>
                      <a:lnTo>
                        <a:pt x="3399" y="748"/>
                      </a:lnTo>
                      <a:lnTo>
                        <a:pt x="3422" y="736"/>
                      </a:lnTo>
                      <a:lnTo>
                        <a:pt x="3446" y="713"/>
                      </a:lnTo>
                      <a:lnTo>
                        <a:pt x="3458" y="689"/>
                      </a:lnTo>
                      <a:lnTo>
                        <a:pt x="3470" y="665"/>
                      </a:lnTo>
                      <a:lnTo>
                        <a:pt x="3494" y="641"/>
                      </a:lnTo>
                      <a:lnTo>
                        <a:pt x="3506" y="629"/>
                      </a:lnTo>
                      <a:lnTo>
                        <a:pt x="3517" y="606"/>
                      </a:lnTo>
                      <a:lnTo>
                        <a:pt x="3553" y="534"/>
                      </a:lnTo>
                      <a:lnTo>
                        <a:pt x="3613" y="451"/>
                      </a:lnTo>
                      <a:lnTo>
                        <a:pt x="3660" y="380"/>
                      </a:lnTo>
                      <a:lnTo>
                        <a:pt x="3696" y="332"/>
                      </a:lnTo>
                      <a:lnTo>
                        <a:pt x="3719" y="273"/>
                      </a:lnTo>
                      <a:lnTo>
                        <a:pt x="3719" y="225"/>
                      </a:lnTo>
                      <a:lnTo>
                        <a:pt x="3719" y="178"/>
                      </a:lnTo>
                      <a:lnTo>
                        <a:pt x="3696" y="166"/>
                      </a:lnTo>
                      <a:lnTo>
                        <a:pt x="3684" y="166"/>
                      </a:lnTo>
                      <a:lnTo>
                        <a:pt x="3672" y="178"/>
                      </a:lnTo>
                      <a:lnTo>
                        <a:pt x="3648" y="178"/>
                      </a:lnTo>
                      <a:lnTo>
                        <a:pt x="3636" y="166"/>
                      </a:lnTo>
                      <a:lnTo>
                        <a:pt x="3613" y="154"/>
                      </a:lnTo>
                      <a:lnTo>
                        <a:pt x="3589" y="190"/>
                      </a:lnTo>
                      <a:lnTo>
                        <a:pt x="3529" y="178"/>
                      </a:lnTo>
                      <a:lnTo>
                        <a:pt x="3470" y="166"/>
                      </a:lnTo>
                      <a:lnTo>
                        <a:pt x="3458" y="154"/>
                      </a:lnTo>
                      <a:lnTo>
                        <a:pt x="3446" y="154"/>
                      </a:lnTo>
                      <a:lnTo>
                        <a:pt x="3434" y="142"/>
                      </a:lnTo>
                      <a:lnTo>
                        <a:pt x="3327" y="95"/>
                      </a:lnTo>
                      <a:lnTo>
                        <a:pt x="3327" y="107"/>
                      </a:lnTo>
                      <a:lnTo>
                        <a:pt x="3280" y="107"/>
                      </a:lnTo>
                      <a:lnTo>
                        <a:pt x="3220" y="130"/>
                      </a:lnTo>
                      <a:lnTo>
                        <a:pt x="3161" y="166"/>
                      </a:lnTo>
                      <a:lnTo>
                        <a:pt x="3113" y="190"/>
                      </a:lnTo>
                      <a:lnTo>
                        <a:pt x="3078" y="190"/>
                      </a:lnTo>
                      <a:lnTo>
                        <a:pt x="3054" y="190"/>
                      </a:lnTo>
                      <a:lnTo>
                        <a:pt x="3030" y="202"/>
                      </a:lnTo>
                      <a:lnTo>
                        <a:pt x="2983" y="190"/>
                      </a:lnTo>
                      <a:lnTo>
                        <a:pt x="2959" y="190"/>
                      </a:lnTo>
                      <a:lnTo>
                        <a:pt x="2935" y="166"/>
                      </a:lnTo>
                      <a:lnTo>
                        <a:pt x="2852" y="154"/>
                      </a:lnTo>
                      <a:lnTo>
                        <a:pt x="2745" y="190"/>
                      </a:lnTo>
                      <a:lnTo>
                        <a:pt x="2626" y="202"/>
                      </a:lnTo>
                      <a:lnTo>
                        <a:pt x="2590" y="225"/>
                      </a:lnTo>
                      <a:lnTo>
                        <a:pt x="2567" y="249"/>
                      </a:lnTo>
                      <a:lnTo>
                        <a:pt x="2543" y="273"/>
                      </a:lnTo>
                      <a:lnTo>
                        <a:pt x="2531" y="344"/>
                      </a:lnTo>
                      <a:lnTo>
                        <a:pt x="2495" y="392"/>
                      </a:lnTo>
                      <a:lnTo>
                        <a:pt x="2472" y="416"/>
                      </a:lnTo>
                      <a:lnTo>
                        <a:pt x="2412" y="439"/>
                      </a:lnTo>
                      <a:lnTo>
                        <a:pt x="2388" y="463"/>
                      </a:lnTo>
                      <a:lnTo>
                        <a:pt x="2353" y="511"/>
                      </a:lnTo>
                      <a:lnTo>
                        <a:pt x="2293" y="522"/>
                      </a:lnTo>
                      <a:lnTo>
                        <a:pt x="2293" y="534"/>
                      </a:lnTo>
                      <a:lnTo>
                        <a:pt x="2246" y="582"/>
                      </a:lnTo>
                      <a:lnTo>
                        <a:pt x="2210" y="606"/>
                      </a:lnTo>
                      <a:lnTo>
                        <a:pt x="2186" y="594"/>
                      </a:lnTo>
                      <a:lnTo>
                        <a:pt x="2079" y="606"/>
                      </a:lnTo>
                      <a:lnTo>
                        <a:pt x="2068" y="618"/>
                      </a:lnTo>
                      <a:lnTo>
                        <a:pt x="2044" y="665"/>
                      </a:lnTo>
                      <a:lnTo>
                        <a:pt x="1996" y="701"/>
                      </a:lnTo>
                      <a:lnTo>
                        <a:pt x="1961" y="701"/>
                      </a:lnTo>
                      <a:lnTo>
                        <a:pt x="1961" y="724"/>
                      </a:lnTo>
                      <a:lnTo>
                        <a:pt x="1901" y="689"/>
                      </a:lnTo>
                      <a:lnTo>
                        <a:pt x="1818" y="629"/>
                      </a:lnTo>
                      <a:lnTo>
                        <a:pt x="1687" y="606"/>
                      </a:lnTo>
                      <a:lnTo>
                        <a:pt x="1640" y="618"/>
                      </a:lnTo>
                      <a:lnTo>
                        <a:pt x="1592" y="677"/>
                      </a:lnTo>
                      <a:lnTo>
                        <a:pt x="1580" y="713"/>
                      </a:lnTo>
                      <a:lnTo>
                        <a:pt x="1568" y="724"/>
                      </a:lnTo>
                      <a:lnTo>
                        <a:pt x="1545" y="724"/>
                      </a:lnTo>
                      <a:lnTo>
                        <a:pt x="1509" y="689"/>
                      </a:lnTo>
                      <a:lnTo>
                        <a:pt x="1462" y="665"/>
                      </a:lnTo>
                      <a:lnTo>
                        <a:pt x="1426" y="618"/>
                      </a:lnTo>
                      <a:lnTo>
                        <a:pt x="1414" y="606"/>
                      </a:lnTo>
                      <a:lnTo>
                        <a:pt x="1414" y="558"/>
                      </a:lnTo>
                      <a:lnTo>
                        <a:pt x="1402" y="546"/>
                      </a:lnTo>
                      <a:lnTo>
                        <a:pt x="1355" y="546"/>
                      </a:lnTo>
                      <a:lnTo>
                        <a:pt x="1343" y="570"/>
                      </a:lnTo>
                      <a:lnTo>
                        <a:pt x="1331" y="582"/>
                      </a:lnTo>
                      <a:lnTo>
                        <a:pt x="1295" y="582"/>
                      </a:lnTo>
                      <a:lnTo>
                        <a:pt x="1248" y="558"/>
                      </a:lnTo>
                      <a:lnTo>
                        <a:pt x="1212" y="511"/>
                      </a:lnTo>
                      <a:lnTo>
                        <a:pt x="1164" y="380"/>
                      </a:lnTo>
                      <a:lnTo>
                        <a:pt x="1117" y="332"/>
                      </a:lnTo>
                      <a:lnTo>
                        <a:pt x="1010" y="285"/>
                      </a:lnTo>
                      <a:lnTo>
                        <a:pt x="962" y="237"/>
                      </a:lnTo>
                      <a:lnTo>
                        <a:pt x="927" y="213"/>
                      </a:lnTo>
                      <a:lnTo>
                        <a:pt x="903" y="213"/>
                      </a:lnTo>
                      <a:lnTo>
                        <a:pt x="867" y="213"/>
                      </a:lnTo>
                      <a:lnTo>
                        <a:pt x="796" y="237"/>
                      </a:lnTo>
                      <a:lnTo>
                        <a:pt x="749" y="213"/>
                      </a:lnTo>
                      <a:lnTo>
                        <a:pt x="725" y="202"/>
                      </a:lnTo>
                      <a:lnTo>
                        <a:pt x="689" y="130"/>
                      </a:lnTo>
                      <a:lnTo>
                        <a:pt x="665" y="95"/>
                      </a:lnTo>
                      <a:lnTo>
                        <a:pt x="630" y="59"/>
                      </a:lnTo>
                      <a:lnTo>
                        <a:pt x="606" y="11"/>
                      </a:lnTo>
                      <a:lnTo>
                        <a:pt x="582" y="0"/>
                      </a:lnTo>
                      <a:lnTo>
                        <a:pt x="546" y="35"/>
                      </a:lnTo>
                      <a:lnTo>
                        <a:pt x="535" y="59"/>
                      </a:lnTo>
                      <a:lnTo>
                        <a:pt x="523" y="95"/>
                      </a:lnTo>
                      <a:lnTo>
                        <a:pt x="511" y="130"/>
                      </a:lnTo>
                      <a:lnTo>
                        <a:pt x="487" y="178"/>
                      </a:lnTo>
                      <a:lnTo>
                        <a:pt x="451" y="225"/>
                      </a:lnTo>
                      <a:lnTo>
                        <a:pt x="392" y="261"/>
                      </a:lnTo>
                      <a:lnTo>
                        <a:pt x="333" y="332"/>
                      </a:lnTo>
                      <a:lnTo>
                        <a:pt x="273" y="380"/>
                      </a:lnTo>
                      <a:lnTo>
                        <a:pt x="190" y="404"/>
                      </a:lnTo>
                      <a:lnTo>
                        <a:pt x="119" y="439"/>
                      </a:lnTo>
                      <a:lnTo>
                        <a:pt x="35" y="534"/>
                      </a:lnTo>
                      <a:lnTo>
                        <a:pt x="12" y="594"/>
                      </a:lnTo>
                      <a:lnTo>
                        <a:pt x="0" y="618"/>
                      </a:lnTo>
                      <a:lnTo>
                        <a:pt x="24" y="641"/>
                      </a:lnTo>
                      <a:lnTo>
                        <a:pt x="47" y="665"/>
                      </a:lnTo>
                      <a:lnTo>
                        <a:pt x="59" y="689"/>
                      </a:lnTo>
                      <a:lnTo>
                        <a:pt x="83" y="701"/>
                      </a:lnTo>
                      <a:lnTo>
                        <a:pt x="107" y="724"/>
                      </a:lnTo>
                      <a:lnTo>
                        <a:pt x="131" y="748"/>
                      </a:lnTo>
                      <a:lnTo>
                        <a:pt x="178" y="772"/>
                      </a:lnTo>
                      <a:lnTo>
                        <a:pt x="226" y="796"/>
                      </a:lnTo>
                      <a:lnTo>
                        <a:pt x="226" y="796"/>
                      </a:lnTo>
                      <a:lnTo>
                        <a:pt x="226" y="796"/>
                      </a:lnTo>
                      <a:lnTo>
                        <a:pt x="273" y="831"/>
                      </a:lnTo>
                      <a:lnTo>
                        <a:pt x="333" y="855"/>
                      </a:lnTo>
                      <a:lnTo>
                        <a:pt x="440" y="891"/>
                      </a:lnTo>
                      <a:lnTo>
                        <a:pt x="475" y="938"/>
                      </a:lnTo>
                      <a:lnTo>
                        <a:pt x="535" y="986"/>
                      </a:lnTo>
                      <a:lnTo>
                        <a:pt x="606" y="998"/>
                      </a:lnTo>
                      <a:lnTo>
                        <a:pt x="665" y="1022"/>
                      </a:lnTo>
                      <a:lnTo>
                        <a:pt x="689" y="1057"/>
                      </a:lnTo>
                      <a:lnTo>
                        <a:pt x="725" y="1093"/>
                      </a:lnTo>
                      <a:lnTo>
                        <a:pt x="784" y="1129"/>
                      </a:lnTo>
                      <a:lnTo>
                        <a:pt x="844" y="1152"/>
                      </a:lnTo>
                      <a:lnTo>
                        <a:pt x="927" y="1164"/>
                      </a:lnTo>
                      <a:lnTo>
                        <a:pt x="962" y="1176"/>
                      </a:lnTo>
                      <a:lnTo>
                        <a:pt x="1046" y="1236"/>
                      </a:lnTo>
                      <a:lnTo>
                        <a:pt x="1117" y="1271"/>
                      </a:lnTo>
                      <a:lnTo>
                        <a:pt x="1188" y="1331"/>
                      </a:lnTo>
                      <a:lnTo>
                        <a:pt x="1283" y="1378"/>
                      </a:lnTo>
                      <a:lnTo>
                        <a:pt x="1355" y="1438"/>
                      </a:lnTo>
                      <a:lnTo>
                        <a:pt x="1438" y="1473"/>
                      </a:lnTo>
                      <a:lnTo>
                        <a:pt x="1473" y="1485"/>
                      </a:lnTo>
                      <a:lnTo>
                        <a:pt x="1485" y="1521"/>
                      </a:lnTo>
                      <a:lnTo>
                        <a:pt x="1509" y="1604"/>
                      </a:lnTo>
                      <a:lnTo>
                        <a:pt x="1640" y="1711"/>
                      </a:lnTo>
                      <a:lnTo>
                        <a:pt x="1711" y="1735"/>
                      </a:lnTo>
                      <a:lnTo>
                        <a:pt x="1771" y="1770"/>
                      </a:lnTo>
                      <a:lnTo>
                        <a:pt x="1854" y="1794"/>
                      </a:lnTo>
                      <a:lnTo>
                        <a:pt x="1901" y="1830"/>
                      </a:lnTo>
                      <a:lnTo>
                        <a:pt x="1925" y="1901"/>
                      </a:lnTo>
                      <a:lnTo>
                        <a:pt x="1925" y="1925"/>
                      </a:lnTo>
                      <a:lnTo>
                        <a:pt x="1937" y="1960"/>
                      </a:lnTo>
                      <a:lnTo>
                        <a:pt x="1961" y="1972"/>
                      </a:lnTo>
                      <a:lnTo>
                        <a:pt x="2044" y="1996"/>
                      </a:lnTo>
                      <a:lnTo>
                        <a:pt x="2091" y="202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13" name="Freeform 250"/>
                <p:cNvSpPr>
                  <a:spLocks/>
                </p:cNvSpPr>
                <p:nvPr/>
              </p:nvSpPr>
              <p:spPr bwMode="auto">
                <a:xfrm>
                  <a:off x="34515429" y="-11634798"/>
                  <a:ext cx="7453309" cy="4491031"/>
                </a:xfrm>
                <a:custGeom>
                  <a:avLst/>
                  <a:gdLst/>
                  <a:ahLst/>
                  <a:cxnLst>
                    <a:cxn ang="0">
                      <a:pos x="4671" y="1510"/>
                    </a:cxn>
                    <a:cxn ang="0">
                      <a:pos x="4623" y="1486"/>
                    </a:cxn>
                    <a:cxn ang="0">
                      <a:pos x="4623" y="1296"/>
                    </a:cxn>
                    <a:cxn ang="0">
                      <a:pos x="4504" y="880"/>
                    </a:cxn>
                    <a:cxn ang="0">
                      <a:pos x="4302" y="737"/>
                    </a:cxn>
                    <a:cxn ang="0">
                      <a:pos x="3827" y="654"/>
                    </a:cxn>
                    <a:cxn ang="0">
                      <a:pos x="3423" y="630"/>
                    </a:cxn>
                    <a:cxn ang="0">
                      <a:pos x="3233" y="547"/>
                    </a:cxn>
                    <a:cxn ang="0">
                      <a:pos x="2971" y="476"/>
                    </a:cxn>
                    <a:cxn ang="0">
                      <a:pos x="2853" y="381"/>
                    </a:cxn>
                    <a:cxn ang="0">
                      <a:pos x="2710" y="630"/>
                    </a:cxn>
                    <a:cxn ang="0">
                      <a:pos x="2686" y="725"/>
                    </a:cxn>
                    <a:cxn ang="0">
                      <a:pos x="2698" y="951"/>
                    </a:cxn>
                    <a:cxn ang="0">
                      <a:pos x="2449" y="1129"/>
                    </a:cxn>
                    <a:cxn ang="0">
                      <a:pos x="2401" y="1022"/>
                    </a:cxn>
                    <a:cxn ang="0">
                      <a:pos x="2187" y="927"/>
                    </a:cxn>
                    <a:cxn ang="0">
                      <a:pos x="1985" y="999"/>
                    </a:cxn>
                    <a:cxn ang="0">
                      <a:pos x="1783" y="1022"/>
                    </a:cxn>
                    <a:cxn ang="0">
                      <a:pos x="1664" y="880"/>
                    </a:cxn>
                    <a:cxn ang="0">
                      <a:pos x="1474" y="678"/>
                    </a:cxn>
                    <a:cxn ang="0">
                      <a:pos x="1712" y="345"/>
                    </a:cxn>
                    <a:cxn ang="0">
                      <a:pos x="1961" y="48"/>
                    </a:cxn>
                    <a:cxn ang="0">
                      <a:pos x="1688" y="60"/>
                    </a:cxn>
                    <a:cxn ang="0">
                      <a:pos x="1296" y="250"/>
                    </a:cxn>
                    <a:cxn ang="0">
                      <a:pos x="963" y="428"/>
                    </a:cxn>
                    <a:cxn ang="0">
                      <a:pos x="785" y="559"/>
                    </a:cxn>
                    <a:cxn ang="0">
                      <a:pos x="618" y="535"/>
                    </a:cxn>
                    <a:cxn ang="0">
                      <a:pos x="416" y="404"/>
                    </a:cxn>
                    <a:cxn ang="0">
                      <a:pos x="309" y="369"/>
                    </a:cxn>
                    <a:cxn ang="0">
                      <a:pos x="155" y="678"/>
                    </a:cxn>
                    <a:cxn ang="0">
                      <a:pos x="0" y="1022"/>
                    </a:cxn>
                    <a:cxn ang="0">
                      <a:pos x="96" y="1260"/>
                    </a:cxn>
                    <a:cxn ang="0">
                      <a:pos x="238" y="1510"/>
                    </a:cxn>
                    <a:cxn ang="0">
                      <a:pos x="24" y="1925"/>
                    </a:cxn>
                    <a:cxn ang="0">
                      <a:pos x="226" y="2080"/>
                    </a:cxn>
                    <a:cxn ang="0">
                      <a:pos x="523" y="2175"/>
                    </a:cxn>
                    <a:cxn ang="0">
                      <a:pos x="773" y="2151"/>
                    </a:cxn>
                    <a:cxn ang="0">
                      <a:pos x="1177" y="1878"/>
                    </a:cxn>
                    <a:cxn ang="0">
                      <a:pos x="1391" y="1783"/>
                    </a:cxn>
                    <a:cxn ang="0">
                      <a:pos x="1700" y="1533"/>
                    </a:cxn>
                    <a:cxn ang="0">
                      <a:pos x="2021" y="1700"/>
                    </a:cxn>
                    <a:cxn ang="0">
                      <a:pos x="1902" y="1878"/>
                    </a:cxn>
                    <a:cxn ang="0">
                      <a:pos x="1842" y="2187"/>
                    </a:cxn>
                    <a:cxn ang="0">
                      <a:pos x="1629" y="2377"/>
                    </a:cxn>
                    <a:cxn ang="0">
                      <a:pos x="1771" y="2413"/>
                    </a:cxn>
                    <a:cxn ang="0">
                      <a:pos x="1854" y="2698"/>
                    </a:cxn>
                    <a:cxn ang="0">
                      <a:pos x="2175" y="2745"/>
                    </a:cxn>
                    <a:cxn ang="0">
                      <a:pos x="2674" y="2365"/>
                    </a:cxn>
                    <a:cxn ang="0">
                      <a:pos x="2900" y="2282"/>
                    </a:cxn>
                    <a:cxn ang="0">
                      <a:pos x="3090" y="2234"/>
                    </a:cxn>
                    <a:cxn ang="0">
                      <a:pos x="3328" y="2318"/>
                    </a:cxn>
                    <a:cxn ang="0">
                      <a:pos x="3399" y="2175"/>
                    </a:cxn>
                    <a:cxn ang="0">
                      <a:pos x="3732" y="2104"/>
                    </a:cxn>
                    <a:cxn ang="0">
                      <a:pos x="3851" y="1854"/>
                    </a:cxn>
                    <a:cxn ang="0">
                      <a:pos x="4291" y="1795"/>
                    </a:cxn>
                    <a:cxn ang="0">
                      <a:pos x="4576" y="1997"/>
                    </a:cxn>
                  </a:cxnLst>
                  <a:rect l="0" t="0" r="r" b="b"/>
                  <a:pathLst>
                    <a:path w="4695" h="2829">
                      <a:moveTo>
                        <a:pt x="4659" y="1997"/>
                      </a:moveTo>
                      <a:lnTo>
                        <a:pt x="4659" y="1985"/>
                      </a:lnTo>
                      <a:lnTo>
                        <a:pt x="4671" y="1961"/>
                      </a:lnTo>
                      <a:lnTo>
                        <a:pt x="4683" y="1676"/>
                      </a:lnTo>
                      <a:lnTo>
                        <a:pt x="4695" y="1545"/>
                      </a:lnTo>
                      <a:lnTo>
                        <a:pt x="4671" y="1510"/>
                      </a:lnTo>
                      <a:lnTo>
                        <a:pt x="4671" y="1462"/>
                      </a:lnTo>
                      <a:lnTo>
                        <a:pt x="4671" y="1355"/>
                      </a:lnTo>
                      <a:lnTo>
                        <a:pt x="4659" y="1355"/>
                      </a:lnTo>
                      <a:lnTo>
                        <a:pt x="4635" y="1414"/>
                      </a:lnTo>
                      <a:lnTo>
                        <a:pt x="4623" y="1450"/>
                      </a:lnTo>
                      <a:lnTo>
                        <a:pt x="4623" y="1486"/>
                      </a:lnTo>
                      <a:lnTo>
                        <a:pt x="4600" y="1486"/>
                      </a:lnTo>
                      <a:lnTo>
                        <a:pt x="4588" y="1486"/>
                      </a:lnTo>
                      <a:lnTo>
                        <a:pt x="4576" y="1474"/>
                      </a:lnTo>
                      <a:lnTo>
                        <a:pt x="4600" y="1414"/>
                      </a:lnTo>
                      <a:lnTo>
                        <a:pt x="4600" y="1343"/>
                      </a:lnTo>
                      <a:lnTo>
                        <a:pt x="4623" y="1296"/>
                      </a:lnTo>
                      <a:lnTo>
                        <a:pt x="4623" y="1260"/>
                      </a:lnTo>
                      <a:lnTo>
                        <a:pt x="4588" y="1189"/>
                      </a:lnTo>
                      <a:lnTo>
                        <a:pt x="4576" y="1153"/>
                      </a:lnTo>
                      <a:lnTo>
                        <a:pt x="4564" y="1082"/>
                      </a:lnTo>
                      <a:lnTo>
                        <a:pt x="4552" y="1022"/>
                      </a:lnTo>
                      <a:lnTo>
                        <a:pt x="4504" y="880"/>
                      </a:lnTo>
                      <a:lnTo>
                        <a:pt x="4516" y="690"/>
                      </a:lnTo>
                      <a:lnTo>
                        <a:pt x="4445" y="713"/>
                      </a:lnTo>
                      <a:lnTo>
                        <a:pt x="4362" y="690"/>
                      </a:lnTo>
                      <a:lnTo>
                        <a:pt x="4350" y="701"/>
                      </a:lnTo>
                      <a:lnTo>
                        <a:pt x="4302" y="713"/>
                      </a:lnTo>
                      <a:lnTo>
                        <a:pt x="4302" y="737"/>
                      </a:lnTo>
                      <a:lnTo>
                        <a:pt x="4255" y="701"/>
                      </a:lnTo>
                      <a:lnTo>
                        <a:pt x="4207" y="701"/>
                      </a:lnTo>
                      <a:lnTo>
                        <a:pt x="4148" y="725"/>
                      </a:lnTo>
                      <a:lnTo>
                        <a:pt x="4112" y="725"/>
                      </a:lnTo>
                      <a:lnTo>
                        <a:pt x="3958" y="666"/>
                      </a:lnTo>
                      <a:lnTo>
                        <a:pt x="3827" y="654"/>
                      </a:lnTo>
                      <a:lnTo>
                        <a:pt x="3732" y="630"/>
                      </a:lnTo>
                      <a:lnTo>
                        <a:pt x="3649" y="594"/>
                      </a:lnTo>
                      <a:lnTo>
                        <a:pt x="3542" y="594"/>
                      </a:lnTo>
                      <a:lnTo>
                        <a:pt x="3506" y="606"/>
                      </a:lnTo>
                      <a:lnTo>
                        <a:pt x="3494" y="618"/>
                      </a:lnTo>
                      <a:lnTo>
                        <a:pt x="3423" y="630"/>
                      </a:lnTo>
                      <a:lnTo>
                        <a:pt x="3399" y="630"/>
                      </a:lnTo>
                      <a:lnTo>
                        <a:pt x="3364" y="630"/>
                      </a:lnTo>
                      <a:lnTo>
                        <a:pt x="3328" y="618"/>
                      </a:lnTo>
                      <a:lnTo>
                        <a:pt x="3304" y="583"/>
                      </a:lnTo>
                      <a:lnTo>
                        <a:pt x="3269" y="571"/>
                      </a:lnTo>
                      <a:lnTo>
                        <a:pt x="3233" y="547"/>
                      </a:lnTo>
                      <a:lnTo>
                        <a:pt x="3162" y="523"/>
                      </a:lnTo>
                      <a:lnTo>
                        <a:pt x="3078" y="523"/>
                      </a:lnTo>
                      <a:lnTo>
                        <a:pt x="3031" y="511"/>
                      </a:lnTo>
                      <a:lnTo>
                        <a:pt x="3019" y="511"/>
                      </a:lnTo>
                      <a:lnTo>
                        <a:pt x="2995" y="499"/>
                      </a:lnTo>
                      <a:lnTo>
                        <a:pt x="2971" y="476"/>
                      </a:lnTo>
                      <a:lnTo>
                        <a:pt x="2983" y="428"/>
                      </a:lnTo>
                      <a:lnTo>
                        <a:pt x="2960" y="381"/>
                      </a:lnTo>
                      <a:lnTo>
                        <a:pt x="2948" y="357"/>
                      </a:lnTo>
                      <a:lnTo>
                        <a:pt x="2936" y="345"/>
                      </a:lnTo>
                      <a:lnTo>
                        <a:pt x="2900" y="357"/>
                      </a:lnTo>
                      <a:lnTo>
                        <a:pt x="2853" y="381"/>
                      </a:lnTo>
                      <a:lnTo>
                        <a:pt x="2793" y="476"/>
                      </a:lnTo>
                      <a:lnTo>
                        <a:pt x="2746" y="440"/>
                      </a:lnTo>
                      <a:lnTo>
                        <a:pt x="2710" y="440"/>
                      </a:lnTo>
                      <a:lnTo>
                        <a:pt x="2686" y="547"/>
                      </a:lnTo>
                      <a:lnTo>
                        <a:pt x="2686" y="583"/>
                      </a:lnTo>
                      <a:lnTo>
                        <a:pt x="2710" y="630"/>
                      </a:lnTo>
                      <a:lnTo>
                        <a:pt x="2758" y="666"/>
                      </a:lnTo>
                      <a:lnTo>
                        <a:pt x="2769" y="713"/>
                      </a:lnTo>
                      <a:lnTo>
                        <a:pt x="2769" y="737"/>
                      </a:lnTo>
                      <a:lnTo>
                        <a:pt x="2758" y="761"/>
                      </a:lnTo>
                      <a:lnTo>
                        <a:pt x="2722" y="737"/>
                      </a:lnTo>
                      <a:lnTo>
                        <a:pt x="2686" y="725"/>
                      </a:lnTo>
                      <a:lnTo>
                        <a:pt x="2662" y="785"/>
                      </a:lnTo>
                      <a:lnTo>
                        <a:pt x="2662" y="832"/>
                      </a:lnTo>
                      <a:lnTo>
                        <a:pt x="2627" y="868"/>
                      </a:lnTo>
                      <a:lnTo>
                        <a:pt x="2639" y="903"/>
                      </a:lnTo>
                      <a:lnTo>
                        <a:pt x="2698" y="915"/>
                      </a:lnTo>
                      <a:lnTo>
                        <a:pt x="2698" y="951"/>
                      </a:lnTo>
                      <a:lnTo>
                        <a:pt x="2674" y="987"/>
                      </a:lnTo>
                      <a:lnTo>
                        <a:pt x="2627" y="1046"/>
                      </a:lnTo>
                      <a:lnTo>
                        <a:pt x="2603" y="1105"/>
                      </a:lnTo>
                      <a:lnTo>
                        <a:pt x="2579" y="1129"/>
                      </a:lnTo>
                      <a:lnTo>
                        <a:pt x="2520" y="1117"/>
                      </a:lnTo>
                      <a:lnTo>
                        <a:pt x="2449" y="1129"/>
                      </a:lnTo>
                      <a:lnTo>
                        <a:pt x="2413" y="1177"/>
                      </a:lnTo>
                      <a:lnTo>
                        <a:pt x="2401" y="1177"/>
                      </a:lnTo>
                      <a:lnTo>
                        <a:pt x="2389" y="1141"/>
                      </a:lnTo>
                      <a:lnTo>
                        <a:pt x="2377" y="1105"/>
                      </a:lnTo>
                      <a:lnTo>
                        <a:pt x="2377" y="1082"/>
                      </a:lnTo>
                      <a:lnTo>
                        <a:pt x="2401" y="1022"/>
                      </a:lnTo>
                      <a:lnTo>
                        <a:pt x="2389" y="975"/>
                      </a:lnTo>
                      <a:lnTo>
                        <a:pt x="2330" y="951"/>
                      </a:lnTo>
                      <a:lnTo>
                        <a:pt x="2306" y="892"/>
                      </a:lnTo>
                      <a:lnTo>
                        <a:pt x="2270" y="880"/>
                      </a:lnTo>
                      <a:lnTo>
                        <a:pt x="2235" y="915"/>
                      </a:lnTo>
                      <a:lnTo>
                        <a:pt x="2187" y="927"/>
                      </a:lnTo>
                      <a:lnTo>
                        <a:pt x="2163" y="915"/>
                      </a:lnTo>
                      <a:lnTo>
                        <a:pt x="2116" y="868"/>
                      </a:lnTo>
                      <a:lnTo>
                        <a:pt x="2068" y="915"/>
                      </a:lnTo>
                      <a:lnTo>
                        <a:pt x="2056" y="903"/>
                      </a:lnTo>
                      <a:lnTo>
                        <a:pt x="2033" y="963"/>
                      </a:lnTo>
                      <a:lnTo>
                        <a:pt x="1985" y="999"/>
                      </a:lnTo>
                      <a:lnTo>
                        <a:pt x="1973" y="999"/>
                      </a:lnTo>
                      <a:lnTo>
                        <a:pt x="1938" y="963"/>
                      </a:lnTo>
                      <a:lnTo>
                        <a:pt x="1890" y="963"/>
                      </a:lnTo>
                      <a:lnTo>
                        <a:pt x="1842" y="1022"/>
                      </a:lnTo>
                      <a:lnTo>
                        <a:pt x="1807" y="1034"/>
                      </a:lnTo>
                      <a:lnTo>
                        <a:pt x="1783" y="1022"/>
                      </a:lnTo>
                      <a:lnTo>
                        <a:pt x="1759" y="999"/>
                      </a:lnTo>
                      <a:lnTo>
                        <a:pt x="1759" y="975"/>
                      </a:lnTo>
                      <a:lnTo>
                        <a:pt x="1771" y="927"/>
                      </a:lnTo>
                      <a:lnTo>
                        <a:pt x="1771" y="903"/>
                      </a:lnTo>
                      <a:lnTo>
                        <a:pt x="1736" y="880"/>
                      </a:lnTo>
                      <a:lnTo>
                        <a:pt x="1664" y="880"/>
                      </a:lnTo>
                      <a:lnTo>
                        <a:pt x="1581" y="856"/>
                      </a:lnTo>
                      <a:lnTo>
                        <a:pt x="1557" y="856"/>
                      </a:lnTo>
                      <a:lnTo>
                        <a:pt x="1522" y="856"/>
                      </a:lnTo>
                      <a:lnTo>
                        <a:pt x="1486" y="832"/>
                      </a:lnTo>
                      <a:lnTo>
                        <a:pt x="1474" y="808"/>
                      </a:lnTo>
                      <a:lnTo>
                        <a:pt x="1474" y="678"/>
                      </a:lnTo>
                      <a:lnTo>
                        <a:pt x="1510" y="606"/>
                      </a:lnTo>
                      <a:lnTo>
                        <a:pt x="1605" y="583"/>
                      </a:lnTo>
                      <a:lnTo>
                        <a:pt x="1617" y="571"/>
                      </a:lnTo>
                      <a:lnTo>
                        <a:pt x="1652" y="452"/>
                      </a:lnTo>
                      <a:lnTo>
                        <a:pt x="1664" y="392"/>
                      </a:lnTo>
                      <a:lnTo>
                        <a:pt x="1712" y="345"/>
                      </a:lnTo>
                      <a:lnTo>
                        <a:pt x="1736" y="321"/>
                      </a:lnTo>
                      <a:lnTo>
                        <a:pt x="1795" y="274"/>
                      </a:lnTo>
                      <a:lnTo>
                        <a:pt x="1807" y="274"/>
                      </a:lnTo>
                      <a:lnTo>
                        <a:pt x="1890" y="190"/>
                      </a:lnTo>
                      <a:lnTo>
                        <a:pt x="1949" y="83"/>
                      </a:lnTo>
                      <a:lnTo>
                        <a:pt x="1961" y="48"/>
                      </a:lnTo>
                      <a:lnTo>
                        <a:pt x="1938" y="12"/>
                      </a:lnTo>
                      <a:lnTo>
                        <a:pt x="1914" y="24"/>
                      </a:lnTo>
                      <a:lnTo>
                        <a:pt x="1866" y="0"/>
                      </a:lnTo>
                      <a:lnTo>
                        <a:pt x="1759" y="12"/>
                      </a:lnTo>
                      <a:lnTo>
                        <a:pt x="1700" y="36"/>
                      </a:lnTo>
                      <a:lnTo>
                        <a:pt x="1688" y="60"/>
                      </a:lnTo>
                      <a:lnTo>
                        <a:pt x="1629" y="83"/>
                      </a:lnTo>
                      <a:lnTo>
                        <a:pt x="1510" y="72"/>
                      </a:lnTo>
                      <a:lnTo>
                        <a:pt x="1438" y="95"/>
                      </a:lnTo>
                      <a:lnTo>
                        <a:pt x="1367" y="167"/>
                      </a:lnTo>
                      <a:lnTo>
                        <a:pt x="1331" y="214"/>
                      </a:lnTo>
                      <a:lnTo>
                        <a:pt x="1296" y="250"/>
                      </a:lnTo>
                      <a:lnTo>
                        <a:pt x="1129" y="321"/>
                      </a:lnTo>
                      <a:lnTo>
                        <a:pt x="1070" y="369"/>
                      </a:lnTo>
                      <a:lnTo>
                        <a:pt x="1070" y="369"/>
                      </a:lnTo>
                      <a:lnTo>
                        <a:pt x="1046" y="392"/>
                      </a:lnTo>
                      <a:lnTo>
                        <a:pt x="975" y="440"/>
                      </a:lnTo>
                      <a:lnTo>
                        <a:pt x="963" y="428"/>
                      </a:lnTo>
                      <a:lnTo>
                        <a:pt x="939" y="440"/>
                      </a:lnTo>
                      <a:lnTo>
                        <a:pt x="927" y="440"/>
                      </a:lnTo>
                      <a:lnTo>
                        <a:pt x="820" y="488"/>
                      </a:lnTo>
                      <a:lnTo>
                        <a:pt x="797" y="511"/>
                      </a:lnTo>
                      <a:lnTo>
                        <a:pt x="797" y="535"/>
                      </a:lnTo>
                      <a:lnTo>
                        <a:pt x="785" y="559"/>
                      </a:lnTo>
                      <a:lnTo>
                        <a:pt x="737" y="559"/>
                      </a:lnTo>
                      <a:lnTo>
                        <a:pt x="690" y="511"/>
                      </a:lnTo>
                      <a:lnTo>
                        <a:pt x="654" y="499"/>
                      </a:lnTo>
                      <a:lnTo>
                        <a:pt x="642" y="499"/>
                      </a:lnTo>
                      <a:lnTo>
                        <a:pt x="630" y="523"/>
                      </a:lnTo>
                      <a:lnTo>
                        <a:pt x="618" y="535"/>
                      </a:lnTo>
                      <a:lnTo>
                        <a:pt x="595" y="535"/>
                      </a:lnTo>
                      <a:lnTo>
                        <a:pt x="571" y="523"/>
                      </a:lnTo>
                      <a:lnTo>
                        <a:pt x="571" y="488"/>
                      </a:lnTo>
                      <a:lnTo>
                        <a:pt x="547" y="464"/>
                      </a:lnTo>
                      <a:lnTo>
                        <a:pt x="440" y="452"/>
                      </a:lnTo>
                      <a:lnTo>
                        <a:pt x="416" y="404"/>
                      </a:lnTo>
                      <a:lnTo>
                        <a:pt x="369" y="392"/>
                      </a:lnTo>
                      <a:lnTo>
                        <a:pt x="357" y="369"/>
                      </a:lnTo>
                      <a:lnTo>
                        <a:pt x="369" y="345"/>
                      </a:lnTo>
                      <a:lnTo>
                        <a:pt x="357" y="321"/>
                      </a:lnTo>
                      <a:lnTo>
                        <a:pt x="333" y="333"/>
                      </a:lnTo>
                      <a:lnTo>
                        <a:pt x="309" y="369"/>
                      </a:lnTo>
                      <a:lnTo>
                        <a:pt x="309" y="392"/>
                      </a:lnTo>
                      <a:lnTo>
                        <a:pt x="238" y="440"/>
                      </a:lnTo>
                      <a:lnTo>
                        <a:pt x="191" y="511"/>
                      </a:lnTo>
                      <a:lnTo>
                        <a:pt x="167" y="606"/>
                      </a:lnTo>
                      <a:lnTo>
                        <a:pt x="155" y="678"/>
                      </a:lnTo>
                      <a:lnTo>
                        <a:pt x="155" y="678"/>
                      </a:lnTo>
                      <a:lnTo>
                        <a:pt x="119" y="785"/>
                      </a:lnTo>
                      <a:lnTo>
                        <a:pt x="119" y="903"/>
                      </a:lnTo>
                      <a:lnTo>
                        <a:pt x="107" y="963"/>
                      </a:lnTo>
                      <a:lnTo>
                        <a:pt x="60" y="975"/>
                      </a:lnTo>
                      <a:lnTo>
                        <a:pt x="60" y="987"/>
                      </a:lnTo>
                      <a:lnTo>
                        <a:pt x="0" y="1022"/>
                      </a:lnTo>
                      <a:lnTo>
                        <a:pt x="0" y="1046"/>
                      </a:lnTo>
                      <a:lnTo>
                        <a:pt x="12" y="1177"/>
                      </a:lnTo>
                      <a:lnTo>
                        <a:pt x="24" y="1189"/>
                      </a:lnTo>
                      <a:lnTo>
                        <a:pt x="60" y="1201"/>
                      </a:lnTo>
                      <a:lnTo>
                        <a:pt x="72" y="1224"/>
                      </a:lnTo>
                      <a:lnTo>
                        <a:pt x="96" y="1260"/>
                      </a:lnTo>
                      <a:lnTo>
                        <a:pt x="96" y="1331"/>
                      </a:lnTo>
                      <a:lnTo>
                        <a:pt x="72" y="1355"/>
                      </a:lnTo>
                      <a:lnTo>
                        <a:pt x="72" y="1379"/>
                      </a:lnTo>
                      <a:lnTo>
                        <a:pt x="84" y="1391"/>
                      </a:lnTo>
                      <a:lnTo>
                        <a:pt x="167" y="1414"/>
                      </a:lnTo>
                      <a:lnTo>
                        <a:pt x="238" y="1510"/>
                      </a:lnTo>
                      <a:lnTo>
                        <a:pt x="238" y="1545"/>
                      </a:lnTo>
                      <a:lnTo>
                        <a:pt x="238" y="1593"/>
                      </a:lnTo>
                      <a:lnTo>
                        <a:pt x="191" y="1652"/>
                      </a:lnTo>
                      <a:lnTo>
                        <a:pt x="24" y="1902"/>
                      </a:lnTo>
                      <a:lnTo>
                        <a:pt x="24" y="1925"/>
                      </a:lnTo>
                      <a:lnTo>
                        <a:pt x="24" y="1925"/>
                      </a:lnTo>
                      <a:lnTo>
                        <a:pt x="84" y="1961"/>
                      </a:lnTo>
                      <a:lnTo>
                        <a:pt x="131" y="2032"/>
                      </a:lnTo>
                      <a:lnTo>
                        <a:pt x="143" y="2032"/>
                      </a:lnTo>
                      <a:lnTo>
                        <a:pt x="155" y="2068"/>
                      </a:lnTo>
                      <a:lnTo>
                        <a:pt x="179" y="2092"/>
                      </a:lnTo>
                      <a:lnTo>
                        <a:pt x="226" y="2080"/>
                      </a:lnTo>
                      <a:lnTo>
                        <a:pt x="345" y="2032"/>
                      </a:lnTo>
                      <a:lnTo>
                        <a:pt x="393" y="2021"/>
                      </a:lnTo>
                      <a:lnTo>
                        <a:pt x="428" y="2021"/>
                      </a:lnTo>
                      <a:lnTo>
                        <a:pt x="476" y="2056"/>
                      </a:lnTo>
                      <a:lnTo>
                        <a:pt x="500" y="2139"/>
                      </a:lnTo>
                      <a:lnTo>
                        <a:pt x="523" y="2175"/>
                      </a:lnTo>
                      <a:lnTo>
                        <a:pt x="571" y="2199"/>
                      </a:lnTo>
                      <a:lnTo>
                        <a:pt x="595" y="2199"/>
                      </a:lnTo>
                      <a:lnTo>
                        <a:pt x="630" y="2163"/>
                      </a:lnTo>
                      <a:lnTo>
                        <a:pt x="654" y="2151"/>
                      </a:lnTo>
                      <a:lnTo>
                        <a:pt x="737" y="2175"/>
                      </a:lnTo>
                      <a:lnTo>
                        <a:pt x="773" y="2151"/>
                      </a:lnTo>
                      <a:lnTo>
                        <a:pt x="785" y="2104"/>
                      </a:lnTo>
                      <a:lnTo>
                        <a:pt x="880" y="2104"/>
                      </a:lnTo>
                      <a:lnTo>
                        <a:pt x="916" y="2092"/>
                      </a:lnTo>
                      <a:lnTo>
                        <a:pt x="963" y="2009"/>
                      </a:lnTo>
                      <a:lnTo>
                        <a:pt x="1165" y="1890"/>
                      </a:lnTo>
                      <a:lnTo>
                        <a:pt x="1177" y="1878"/>
                      </a:lnTo>
                      <a:lnTo>
                        <a:pt x="1236" y="1878"/>
                      </a:lnTo>
                      <a:lnTo>
                        <a:pt x="1236" y="1866"/>
                      </a:lnTo>
                      <a:lnTo>
                        <a:pt x="1272" y="1854"/>
                      </a:lnTo>
                      <a:lnTo>
                        <a:pt x="1272" y="1830"/>
                      </a:lnTo>
                      <a:lnTo>
                        <a:pt x="1355" y="1819"/>
                      </a:lnTo>
                      <a:lnTo>
                        <a:pt x="1391" y="1783"/>
                      </a:lnTo>
                      <a:lnTo>
                        <a:pt x="1427" y="1747"/>
                      </a:lnTo>
                      <a:lnTo>
                        <a:pt x="1486" y="1664"/>
                      </a:lnTo>
                      <a:lnTo>
                        <a:pt x="1569" y="1664"/>
                      </a:lnTo>
                      <a:lnTo>
                        <a:pt x="1617" y="1640"/>
                      </a:lnTo>
                      <a:lnTo>
                        <a:pt x="1652" y="1569"/>
                      </a:lnTo>
                      <a:lnTo>
                        <a:pt x="1700" y="1533"/>
                      </a:lnTo>
                      <a:lnTo>
                        <a:pt x="1747" y="1533"/>
                      </a:lnTo>
                      <a:lnTo>
                        <a:pt x="1771" y="1545"/>
                      </a:lnTo>
                      <a:lnTo>
                        <a:pt x="1831" y="1581"/>
                      </a:lnTo>
                      <a:lnTo>
                        <a:pt x="1890" y="1640"/>
                      </a:lnTo>
                      <a:lnTo>
                        <a:pt x="1997" y="1676"/>
                      </a:lnTo>
                      <a:lnTo>
                        <a:pt x="2021" y="1700"/>
                      </a:lnTo>
                      <a:lnTo>
                        <a:pt x="2068" y="1783"/>
                      </a:lnTo>
                      <a:lnTo>
                        <a:pt x="2068" y="1830"/>
                      </a:lnTo>
                      <a:lnTo>
                        <a:pt x="2056" y="1854"/>
                      </a:lnTo>
                      <a:lnTo>
                        <a:pt x="1997" y="1842"/>
                      </a:lnTo>
                      <a:lnTo>
                        <a:pt x="1961" y="1842"/>
                      </a:lnTo>
                      <a:lnTo>
                        <a:pt x="1902" y="1878"/>
                      </a:lnTo>
                      <a:lnTo>
                        <a:pt x="1866" y="1890"/>
                      </a:lnTo>
                      <a:lnTo>
                        <a:pt x="1819" y="1925"/>
                      </a:lnTo>
                      <a:lnTo>
                        <a:pt x="1819" y="2021"/>
                      </a:lnTo>
                      <a:lnTo>
                        <a:pt x="1854" y="2104"/>
                      </a:lnTo>
                      <a:lnTo>
                        <a:pt x="1854" y="2139"/>
                      </a:lnTo>
                      <a:lnTo>
                        <a:pt x="1842" y="2187"/>
                      </a:lnTo>
                      <a:lnTo>
                        <a:pt x="1819" y="2223"/>
                      </a:lnTo>
                      <a:lnTo>
                        <a:pt x="1783" y="2234"/>
                      </a:lnTo>
                      <a:lnTo>
                        <a:pt x="1688" y="2330"/>
                      </a:lnTo>
                      <a:lnTo>
                        <a:pt x="1640" y="2353"/>
                      </a:lnTo>
                      <a:lnTo>
                        <a:pt x="1640" y="2365"/>
                      </a:lnTo>
                      <a:lnTo>
                        <a:pt x="1629" y="2377"/>
                      </a:lnTo>
                      <a:lnTo>
                        <a:pt x="1629" y="2401"/>
                      </a:lnTo>
                      <a:lnTo>
                        <a:pt x="1640" y="2425"/>
                      </a:lnTo>
                      <a:lnTo>
                        <a:pt x="1664" y="2436"/>
                      </a:lnTo>
                      <a:lnTo>
                        <a:pt x="1700" y="2425"/>
                      </a:lnTo>
                      <a:lnTo>
                        <a:pt x="1747" y="2413"/>
                      </a:lnTo>
                      <a:lnTo>
                        <a:pt x="1771" y="2413"/>
                      </a:lnTo>
                      <a:lnTo>
                        <a:pt x="1831" y="2448"/>
                      </a:lnTo>
                      <a:lnTo>
                        <a:pt x="1866" y="2508"/>
                      </a:lnTo>
                      <a:lnTo>
                        <a:pt x="1842" y="2591"/>
                      </a:lnTo>
                      <a:lnTo>
                        <a:pt x="1854" y="2615"/>
                      </a:lnTo>
                      <a:lnTo>
                        <a:pt x="1878" y="2638"/>
                      </a:lnTo>
                      <a:lnTo>
                        <a:pt x="1854" y="2698"/>
                      </a:lnTo>
                      <a:lnTo>
                        <a:pt x="1866" y="2722"/>
                      </a:lnTo>
                      <a:lnTo>
                        <a:pt x="1902" y="2757"/>
                      </a:lnTo>
                      <a:lnTo>
                        <a:pt x="1949" y="2769"/>
                      </a:lnTo>
                      <a:lnTo>
                        <a:pt x="1997" y="2817"/>
                      </a:lnTo>
                      <a:lnTo>
                        <a:pt x="2033" y="2829"/>
                      </a:lnTo>
                      <a:lnTo>
                        <a:pt x="2175" y="2745"/>
                      </a:lnTo>
                      <a:lnTo>
                        <a:pt x="2425" y="2638"/>
                      </a:lnTo>
                      <a:lnTo>
                        <a:pt x="2508" y="2377"/>
                      </a:lnTo>
                      <a:lnTo>
                        <a:pt x="2520" y="2353"/>
                      </a:lnTo>
                      <a:lnTo>
                        <a:pt x="2567" y="2341"/>
                      </a:lnTo>
                      <a:lnTo>
                        <a:pt x="2615" y="2365"/>
                      </a:lnTo>
                      <a:lnTo>
                        <a:pt x="2674" y="2365"/>
                      </a:lnTo>
                      <a:lnTo>
                        <a:pt x="2710" y="2330"/>
                      </a:lnTo>
                      <a:lnTo>
                        <a:pt x="2722" y="2270"/>
                      </a:lnTo>
                      <a:lnTo>
                        <a:pt x="2746" y="2234"/>
                      </a:lnTo>
                      <a:lnTo>
                        <a:pt x="2769" y="2223"/>
                      </a:lnTo>
                      <a:lnTo>
                        <a:pt x="2817" y="2234"/>
                      </a:lnTo>
                      <a:lnTo>
                        <a:pt x="2900" y="2282"/>
                      </a:lnTo>
                      <a:lnTo>
                        <a:pt x="2924" y="2282"/>
                      </a:lnTo>
                      <a:lnTo>
                        <a:pt x="2936" y="2258"/>
                      </a:lnTo>
                      <a:lnTo>
                        <a:pt x="2936" y="2234"/>
                      </a:lnTo>
                      <a:lnTo>
                        <a:pt x="2948" y="2223"/>
                      </a:lnTo>
                      <a:lnTo>
                        <a:pt x="3031" y="2223"/>
                      </a:lnTo>
                      <a:lnTo>
                        <a:pt x="3090" y="2234"/>
                      </a:lnTo>
                      <a:lnTo>
                        <a:pt x="3114" y="2223"/>
                      </a:lnTo>
                      <a:lnTo>
                        <a:pt x="3150" y="2246"/>
                      </a:lnTo>
                      <a:lnTo>
                        <a:pt x="3209" y="2270"/>
                      </a:lnTo>
                      <a:lnTo>
                        <a:pt x="3280" y="2341"/>
                      </a:lnTo>
                      <a:lnTo>
                        <a:pt x="3304" y="2341"/>
                      </a:lnTo>
                      <a:lnTo>
                        <a:pt x="3328" y="2318"/>
                      </a:lnTo>
                      <a:lnTo>
                        <a:pt x="3364" y="2306"/>
                      </a:lnTo>
                      <a:lnTo>
                        <a:pt x="3375" y="2294"/>
                      </a:lnTo>
                      <a:lnTo>
                        <a:pt x="3364" y="2258"/>
                      </a:lnTo>
                      <a:lnTo>
                        <a:pt x="3340" y="2223"/>
                      </a:lnTo>
                      <a:lnTo>
                        <a:pt x="3352" y="2175"/>
                      </a:lnTo>
                      <a:lnTo>
                        <a:pt x="3399" y="2175"/>
                      </a:lnTo>
                      <a:lnTo>
                        <a:pt x="3435" y="2223"/>
                      </a:lnTo>
                      <a:lnTo>
                        <a:pt x="3471" y="2211"/>
                      </a:lnTo>
                      <a:lnTo>
                        <a:pt x="3530" y="2175"/>
                      </a:lnTo>
                      <a:lnTo>
                        <a:pt x="3589" y="2163"/>
                      </a:lnTo>
                      <a:lnTo>
                        <a:pt x="3637" y="2151"/>
                      </a:lnTo>
                      <a:lnTo>
                        <a:pt x="3732" y="2104"/>
                      </a:lnTo>
                      <a:lnTo>
                        <a:pt x="3768" y="2080"/>
                      </a:lnTo>
                      <a:lnTo>
                        <a:pt x="3791" y="2056"/>
                      </a:lnTo>
                      <a:lnTo>
                        <a:pt x="3803" y="2009"/>
                      </a:lnTo>
                      <a:lnTo>
                        <a:pt x="3815" y="1937"/>
                      </a:lnTo>
                      <a:lnTo>
                        <a:pt x="3803" y="1925"/>
                      </a:lnTo>
                      <a:lnTo>
                        <a:pt x="3851" y="1854"/>
                      </a:lnTo>
                      <a:lnTo>
                        <a:pt x="3875" y="1842"/>
                      </a:lnTo>
                      <a:lnTo>
                        <a:pt x="3982" y="1842"/>
                      </a:lnTo>
                      <a:lnTo>
                        <a:pt x="4053" y="1807"/>
                      </a:lnTo>
                      <a:lnTo>
                        <a:pt x="4100" y="1783"/>
                      </a:lnTo>
                      <a:lnTo>
                        <a:pt x="4172" y="1759"/>
                      </a:lnTo>
                      <a:lnTo>
                        <a:pt x="4291" y="1795"/>
                      </a:lnTo>
                      <a:lnTo>
                        <a:pt x="4302" y="1795"/>
                      </a:lnTo>
                      <a:lnTo>
                        <a:pt x="4350" y="1783"/>
                      </a:lnTo>
                      <a:lnTo>
                        <a:pt x="4433" y="1830"/>
                      </a:lnTo>
                      <a:lnTo>
                        <a:pt x="4469" y="1925"/>
                      </a:lnTo>
                      <a:lnTo>
                        <a:pt x="4493" y="1961"/>
                      </a:lnTo>
                      <a:lnTo>
                        <a:pt x="4576" y="1997"/>
                      </a:lnTo>
                      <a:lnTo>
                        <a:pt x="4659" y="1997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14" name="Freeform 252"/>
                <p:cNvSpPr>
                  <a:spLocks/>
                </p:cNvSpPr>
                <p:nvPr/>
              </p:nvSpPr>
              <p:spPr bwMode="auto">
                <a:xfrm>
                  <a:off x="34874208" y="-14011272"/>
                  <a:ext cx="6848466" cy="4244982"/>
                </a:xfrm>
                <a:custGeom>
                  <a:avLst/>
                  <a:gdLst/>
                  <a:ahLst/>
                  <a:cxnLst>
                    <a:cxn ang="0">
                      <a:pos x="4267" y="1973"/>
                    </a:cxn>
                    <a:cxn ang="0">
                      <a:pos x="4195" y="1806"/>
                    </a:cxn>
                    <a:cxn ang="0">
                      <a:pos x="4100" y="1402"/>
                    </a:cxn>
                    <a:cxn ang="0">
                      <a:pos x="4029" y="1010"/>
                    </a:cxn>
                    <a:cxn ang="0">
                      <a:pos x="3934" y="784"/>
                    </a:cxn>
                    <a:cxn ang="0">
                      <a:pos x="3803" y="523"/>
                    </a:cxn>
                    <a:cxn ang="0">
                      <a:pos x="3399" y="380"/>
                    </a:cxn>
                    <a:cxn ang="0">
                      <a:pos x="2995" y="345"/>
                    </a:cxn>
                    <a:cxn ang="0">
                      <a:pos x="2555" y="309"/>
                    </a:cxn>
                    <a:cxn ang="0">
                      <a:pos x="2318" y="345"/>
                    </a:cxn>
                    <a:cxn ang="0">
                      <a:pos x="2068" y="143"/>
                    </a:cxn>
                    <a:cxn ang="0">
                      <a:pos x="1759" y="131"/>
                    </a:cxn>
                    <a:cxn ang="0">
                      <a:pos x="1177" y="131"/>
                    </a:cxn>
                    <a:cxn ang="0">
                      <a:pos x="963" y="535"/>
                    </a:cxn>
                    <a:cxn ang="0">
                      <a:pos x="654" y="974"/>
                    </a:cxn>
                    <a:cxn ang="0">
                      <a:pos x="630" y="1165"/>
                    </a:cxn>
                    <a:cxn ang="0">
                      <a:pos x="547" y="1283"/>
                    </a:cxn>
                    <a:cxn ang="0">
                      <a:pos x="428" y="1390"/>
                    </a:cxn>
                    <a:cxn ang="0">
                      <a:pos x="321" y="1509"/>
                    </a:cxn>
                    <a:cxn ang="0">
                      <a:pos x="143" y="1604"/>
                    </a:cxn>
                    <a:cxn ang="0">
                      <a:pos x="0" y="1866"/>
                    </a:cxn>
                    <a:cxn ang="0">
                      <a:pos x="83" y="1866"/>
                    </a:cxn>
                    <a:cxn ang="0">
                      <a:pos x="143" y="1889"/>
                    </a:cxn>
                    <a:cxn ang="0">
                      <a:pos x="345" y="2020"/>
                    </a:cxn>
                    <a:cxn ang="0">
                      <a:pos x="428" y="1996"/>
                    </a:cxn>
                    <a:cxn ang="0">
                      <a:pos x="571" y="2008"/>
                    </a:cxn>
                    <a:cxn ang="0">
                      <a:pos x="749" y="1937"/>
                    </a:cxn>
                    <a:cxn ang="0">
                      <a:pos x="1070" y="1747"/>
                    </a:cxn>
                    <a:cxn ang="0">
                      <a:pos x="1403" y="1580"/>
                    </a:cxn>
                    <a:cxn ang="0">
                      <a:pos x="1688" y="1521"/>
                    </a:cxn>
                    <a:cxn ang="0">
                      <a:pos x="1581" y="1771"/>
                    </a:cxn>
                    <a:cxn ang="0">
                      <a:pos x="1426" y="1949"/>
                    </a:cxn>
                    <a:cxn ang="0">
                      <a:pos x="1248" y="2305"/>
                    </a:cxn>
                    <a:cxn ang="0">
                      <a:pos x="1438" y="2377"/>
                    </a:cxn>
                    <a:cxn ang="0">
                      <a:pos x="1533" y="2496"/>
                    </a:cxn>
                    <a:cxn ang="0">
                      <a:pos x="1712" y="2460"/>
                    </a:cxn>
                    <a:cxn ang="0">
                      <a:pos x="1842" y="2412"/>
                    </a:cxn>
                    <a:cxn ang="0">
                      <a:pos x="2044" y="2377"/>
                    </a:cxn>
                    <a:cxn ang="0">
                      <a:pos x="2151" y="2579"/>
                    </a:cxn>
                    <a:cxn ang="0">
                      <a:pos x="2223" y="2626"/>
                    </a:cxn>
                    <a:cxn ang="0">
                      <a:pos x="2448" y="2484"/>
                    </a:cxn>
                    <a:cxn ang="0">
                      <a:pos x="2436" y="2329"/>
                    </a:cxn>
                    <a:cxn ang="0">
                      <a:pos x="2543" y="2234"/>
                    </a:cxn>
                    <a:cxn ang="0">
                      <a:pos x="2460" y="2044"/>
                    </a:cxn>
                    <a:cxn ang="0">
                      <a:pos x="2674" y="1854"/>
                    </a:cxn>
                    <a:cxn ang="0">
                      <a:pos x="2745" y="1973"/>
                    </a:cxn>
                    <a:cxn ang="0">
                      <a:pos x="2936" y="2020"/>
                    </a:cxn>
                    <a:cxn ang="0">
                      <a:pos x="3138" y="2127"/>
                    </a:cxn>
                    <a:cxn ang="0">
                      <a:pos x="3316" y="2091"/>
                    </a:cxn>
                    <a:cxn ang="0">
                      <a:pos x="3886" y="2222"/>
                    </a:cxn>
                    <a:cxn ang="0">
                      <a:pos x="4076" y="2210"/>
                    </a:cxn>
                  </a:cxnLst>
                  <a:rect l="0" t="0" r="r" b="b"/>
                  <a:pathLst>
                    <a:path w="4314" h="2674">
                      <a:moveTo>
                        <a:pt x="4290" y="2187"/>
                      </a:moveTo>
                      <a:lnTo>
                        <a:pt x="4290" y="2187"/>
                      </a:lnTo>
                      <a:lnTo>
                        <a:pt x="4314" y="2091"/>
                      </a:lnTo>
                      <a:lnTo>
                        <a:pt x="4314" y="2056"/>
                      </a:lnTo>
                      <a:lnTo>
                        <a:pt x="4267" y="1973"/>
                      </a:lnTo>
                      <a:lnTo>
                        <a:pt x="4207" y="1949"/>
                      </a:lnTo>
                      <a:lnTo>
                        <a:pt x="4243" y="1901"/>
                      </a:lnTo>
                      <a:lnTo>
                        <a:pt x="4255" y="1866"/>
                      </a:lnTo>
                      <a:lnTo>
                        <a:pt x="4231" y="1842"/>
                      </a:lnTo>
                      <a:lnTo>
                        <a:pt x="4195" y="1806"/>
                      </a:lnTo>
                      <a:lnTo>
                        <a:pt x="4183" y="1771"/>
                      </a:lnTo>
                      <a:lnTo>
                        <a:pt x="4160" y="1652"/>
                      </a:lnTo>
                      <a:lnTo>
                        <a:pt x="4160" y="1592"/>
                      </a:lnTo>
                      <a:lnTo>
                        <a:pt x="4124" y="1474"/>
                      </a:lnTo>
                      <a:lnTo>
                        <a:pt x="4100" y="1402"/>
                      </a:lnTo>
                      <a:lnTo>
                        <a:pt x="4076" y="1355"/>
                      </a:lnTo>
                      <a:lnTo>
                        <a:pt x="4076" y="1248"/>
                      </a:lnTo>
                      <a:lnTo>
                        <a:pt x="4076" y="1212"/>
                      </a:lnTo>
                      <a:lnTo>
                        <a:pt x="4053" y="1117"/>
                      </a:lnTo>
                      <a:lnTo>
                        <a:pt x="4029" y="1010"/>
                      </a:lnTo>
                      <a:lnTo>
                        <a:pt x="3993" y="927"/>
                      </a:lnTo>
                      <a:lnTo>
                        <a:pt x="4005" y="879"/>
                      </a:lnTo>
                      <a:lnTo>
                        <a:pt x="3969" y="844"/>
                      </a:lnTo>
                      <a:lnTo>
                        <a:pt x="3969" y="808"/>
                      </a:lnTo>
                      <a:lnTo>
                        <a:pt x="3934" y="784"/>
                      </a:lnTo>
                      <a:lnTo>
                        <a:pt x="3934" y="749"/>
                      </a:lnTo>
                      <a:lnTo>
                        <a:pt x="3886" y="713"/>
                      </a:lnTo>
                      <a:lnTo>
                        <a:pt x="3874" y="618"/>
                      </a:lnTo>
                      <a:lnTo>
                        <a:pt x="3851" y="570"/>
                      </a:lnTo>
                      <a:lnTo>
                        <a:pt x="3803" y="523"/>
                      </a:lnTo>
                      <a:lnTo>
                        <a:pt x="3767" y="511"/>
                      </a:lnTo>
                      <a:lnTo>
                        <a:pt x="3744" y="463"/>
                      </a:lnTo>
                      <a:lnTo>
                        <a:pt x="3696" y="440"/>
                      </a:lnTo>
                      <a:lnTo>
                        <a:pt x="3613" y="416"/>
                      </a:lnTo>
                      <a:lnTo>
                        <a:pt x="3399" y="380"/>
                      </a:lnTo>
                      <a:lnTo>
                        <a:pt x="3268" y="321"/>
                      </a:lnTo>
                      <a:lnTo>
                        <a:pt x="3114" y="297"/>
                      </a:lnTo>
                      <a:lnTo>
                        <a:pt x="3090" y="309"/>
                      </a:lnTo>
                      <a:lnTo>
                        <a:pt x="3031" y="321"/>
                      </a:lnTo>
                      <a:lnTo>
                        <a:pt x="2995" y="345"/>
                      </a:lnTo>
                      <a:lnTo>
                        <a:pt x="2936" y="345"/>
                      </a:lnTo>
                      <a:lnTo>
                        <a:pt x="2686" y="345"/>
                      </a:lnTo>
                      <a:lnTo>
                        <a:pt x="2567" y="297"/>
                      </a:lnTo>
                      <a:lnTo>
                        <a:pt x="2555" y="297"/>
                      </a:lnTo>
                      <a:lnTo>
                        <a:pt x="2555" y="309"/>
                      </a:lnTo>
                      <a:lnTo>
                        <a:pt x="2543" y="321"/>
                      </a:lnTo>
                      <a:lnTo>
                        <a:pt x="2448" y="321"/>
                      </a:lnTo>
                      <a:lnTo>
                        <a:pt x="2413" y="333"/>
                      </a:lnTo>
                      <a:lnTo>
                        <a:pt x="2365" y="345"/>
                      </a:lnTo>
                      <a:lnTo>
                        <a:pt x="2318" y="345"/>
                      </a:lnTo>
                      <a:lnTo>
                        <a:pt x="2234" y="309"/>
                      </a:lnTo>
                      <a:lnTo>
                        <a:pt x="2139" y="249"/>
                      </a:lnTo>
                      <a:lnTo>
                        <a:pt x="2116" y="214"/>
                      </a:lnTo>
                      <a:lnTo>
                        <a:pt x="2104" y="178"/>
                      </a:lnTo>
                      <a:lnTo>
                        <a:pt x="2068" y="143"/>
                      </a:lnTo>
                      <a:lnTo>
                        <a:pt x="1961" y="119"/>
                      </a:lnTo>
                      <a:lnTo>
                        <a:pt x="1878" y="131"/>
                      </a:lnTo>
                      <a:lnTo>
                        <a:pt x="1818" y="131"/>
                      </a:lnTo>
                      <a:lnTo>
                        <a:pt x="1807" y="119"/>
                      </a:lnTo>
                      <a:lnTo>
                        <a:pt x="1759" y="131"/>
                      </a:lnTo>
                      <a:lnTo>
                        <a:pt x="1723" y="119"/>
                      </a:lnTo>
                      <a:lnTo>
                        <a:pt x="1628" y="0"/>
                      </a:lnTo>
                      <a:lnTo>
                        <a:pt x="1355" y="36"/>
                      </a:lnTo>
                      <a:lnTo>
                        <a:pt x="1260" y="71"/>
                      </a:lnTo>
                      <a:lnTo>
                        <a:pt x="1177" y="131"/>
                      </a:lnTo>
                      <a:lnTo>
                        <a:pt x="1129" y="178"/>
                      </a:lnTo>
                      <a:lnTo>
                        <a:pt x="1046" y="356"/>
                      </a:lnTo>
                      <a:lnTo>
                        <a:pt x="987" y="440"/>
                      </a:lnTo>
                      <a:lnTo>
                        <a:pt x="963" y="487"/>
                      </a:lnTo>
                      <a:lnTo>
                        <a:pt x="963" y="535"/>
                      </a:lnTo>
                      <a:lnTo>
                        <a:pt x="915" y="642"/>
                      </a:lnTo>
                      <a:lnTo>
                        <a:pt x="856" y="725"/>
                      </a:lnTo>
                      <a:lnTo>
                        <a:pt x="844" y="784"/>
                      </a:lnTo>
                      <a:lnTo>
                        <a:pt x="832" y="808"/>
                      </a:lnTo>
                      <a:lnTo>
                        <a:pt x="654" y="974"/>
                      </a:lnTo>
                      <a:lnTo>
                        <a:pt x="630" y="1022"/>
                      </a:lnTo>
                      <a:lnTo>
                        <a:pt x="606" y="1069"/>
                      </a:lnTo>
                      <a:lnTo>
                        <a:pt x="606" y="1093"/>
                      </a:lnTo>
                      <a:lnTo>
                        <a:pt x="642" y="1153"/>
                      </a:lnTo>
                      <a:lnTo>
                        <a:pt x="630" y="1165"/>
                      </a:lnTo>
                      <a:lnTo>
                        <a:pt x="618" y="1212"/>
                      </a:lnTo>
                      <a:lnTo>
                        <a:pt x="618" y="1212"/>
                      </a:lnTo>
                      <a:lnTo>
                        <a:pt x="571" y="1248"/>
                      </a:lnTo>
                      <a:lnTo>
                        <a:pt x="571" y="1260"/>
                      </a:lnTo>
                      <a:lnTo>
                        <a:pt x="547" y="1283"/>
                      </a:lnTo>
                      <a:lnTo>
                        <a:pt x="499" y="1331"/>
                      </a:lnTo>
                      <a:lnTo>
                        <a:pt x="476" y="1343"/>
                      </a:lnTo>
                      <a:lnTo>
                        <a:pt x="452" y="1355"/>
                      </a:lnTo>
                      <a:lnTo>
                        <a:pt x="440" y="1367"/>
                      </a:lnTo>
                      <a:lnTo>
                        <a:pt x="428" y="1390"/>
                      </a:lnTo>
                      <a:lnTo>
                        <a:pt x="404" y="1402"/>
                      </a:lnTo>
                      <a:lnTo>
                        <a:pt x="369" y="1450"/>
                      </a:lnTo>
                      <a:lnTo>
                        <a:pt x="381" y="1474"/>
                      </a:lnTo>
                      <a:lnTo>
                        <a:pt x="345" y="1497"/>
                      </a:lnTo>
                      <a:lnTo>
                        <a:pt x="321" y="1509"/>
                      </a:lnTo>
                      <a:lnTo>
                        <a:pt x="274" y="1509"/>
                      </a:lnTo>
                      <a:lnTo>
                        <a:pt x="202" y="1509"/>
                      </a:lnTo>
                      <a:lnTo>
                        <a:pt x="179" y="1509"/>
                      </a:lnTo>
                      <a:lnTo>
                        <a:pt x="155" y="1545"/>
                      </a:lnTo>
                      <a:lnTo>
                        <a:pt x="143" y="1604"/>
                      </a:lnTo>
                      <a:lnTo>
                        <a:pt x="83" y="1699"/>
                      </a:lnTo>
                      <a:lnTo>
                        <a:pt x="36" y="1735"/>
                      </a:lnTo>
                      <a:lnTo>
                        <a:pt x="24" y="1782"/>
                      </a:lnTo>
                      <a:lnTo>
                        <a:pt x="24" y="1818"/>
                      </a:lnTo>
                      <a:lnTo>
                        <a:pt x="0" y="1866"/>
                      </a:lnTo>
                      <a:lnTo>
                        <a:pt x="0" y="1878"/>
                      </a:lnTo>
                      <a:lnTo>
                        <a:pt x="24" y="1878"/>
                      </a:lnTo>
                      <a:lnTo>
                        <a:pt x="48" y="1866"/>
                      </a:lnTo>
                      <a:lnTo>
                        <a:pt x="83" y="1866"/>
                      </a:lnTo>
                      <a:lnTo>
                        <a:pt x="83" y="1866"/>
                      </a:lnTo>
                      <a:lnTo>
                        <a:pt x="107" y="1830"/>
                      </a:lnTo>
                      <a:lnTo>
                        <a:pt x="131" y="1818"/>
                      </a:lnTo>
                      <a:lnTo>
                        <a:pt x="143" y="1842"/>
                      </a:lnTo>
                      <a:lnTo>
                        <a:pt x="131" y="1866"/>
                      </a:lnTo>
                      <a:lnTo>
                        <a:pt x="143" y="1889"/>
                      </a:lnTo>
                      <a:lnTo>
                        <a:pt x="190" y="1901"/>
                      </a:lnTo>
                      <a:lnTo>
                        <a:pt x="214" y="1949"/>
                      </a:lnTo>
                      <a:lnTo>
                        <a:pt x="321" y="1961"/>
                      </a:lnTo>
                      <a:lnTo>
                        <a:pt x="345" y="1985"/>
                      </a:lnTo>
                      <a:lnTo>
                        <a:pt x="345" y="2020"/>
                      </a:lnTo>
                      <a:lnTo>
                        <a:pt x="369" y="2032"/>
                      </a:lnTo>
                      <a:lnTo>
                        <a:pt x="392" y="2032"/>
                      </a:lnTo>
                      <a:lnTo>
                        <a:pt x="404" y="2020"/>
                      </a:lnTo>
                      <a:lnTo>
                        <a:pt x="416" y="1996"/>
                      </a:lnTo>
                      <a:lnTo>
                        <a:pt x="428" y="1996"/>
                      </a:lnTo>
                      <a:lnTo>
                        <a:pt x="464" y="2008"/>
                      </a:lnTo>
                      <a:lnTo>
                        <a:pt x="511" y="2056"/>
                      </a:lnTo>
                      <a:lnTo>
                        <a:pt x="559" y="2056"/>
                      </a:lnTo>
                      <a:lnTo>
                        <a:pt x="571" y="2032"/>
                      </a:lnTo>
                      <a:lnTo>
                        <a:pt x="571" y="2008"/>
                      </a:lnTo>
                      <a:lnTo>
                        <a:pt x="594" y="1985"/>
                      </a:lnTo>
                      <a:lnTo>
                        <a:pt x="701" y="1937"/>
                      </a:lnTo>
                      <a:lnTo>
                        <a:pt x="713" y="1937"/>
                      </a:lnTo>
                      <a:lnTo>
                        <a:pt x="737" y="1925"/>
                      </a:lnTo>
                      <a:lnTo>
                        <a:pt x="749" y="1937"/>
                      </a:lnTo>
                      <a:lnTo>
                        <a:pt x="820" y="1889"/>
                      </a:lnTo>
                      <a:lnTo>
                        <a:pt x="844" y="1866"/>
                      </a:lnTo>
                      <a:lnTo>
                        <a:pt x="844" y="1866"/>
                      </a:lnTo>
                      <a:lnTo>
                        <a:pt x="903" y="1818"/>
                      </a:lnTo>
                      <a:lnTo>
                        <a:pt x="1070" y="1747"/>
                      </a:lnTo>
                      <a:lnTo>
                        <a:pt x="1105" y="1711"/>
                      </a:lnTo>
                      <a:lnTo>
                        <a:pt x="1141" y="1664"/>
                      </a:lnTo>
                      <a:lnTo>
                        <a:pt x="1212" y="1592"/>
                      </a:lnTo>
                      <a:lnTo>
                        <a:pt x="1284" y="1569"/>
                      </a:lnTo>
                      <a:lnTo>
                        <a:pt x="1403" y="1580"/>
                      </a:lnTo>
                      <a:lnTo>
                        <a:pt x="1462" y="1557"/>
                      </a:lnTo>
                      <a:lnTo>
                        <a:pt x="1474" y="1533"/>
                      </a:lnTo>
                      <a:lnTo>
                        <a:pt x="1533" y="1509"/>
                      </a:lnTo>
                      <a:lnTo>
                        <a:pt x="1640" y="1497"/>
                      </a:lnTo>
                      <a:lnTo>
                        <a:pt x="1688" y="1521"/>
                      </a:lnTo>
                      <a:lnTo>
                        <a:pt x="1712" y="1509"/>
                      </a:lnTo>
                      <a:lnTo>
                        <a:pt x="1735" y="1545"/>
                      </a:lnTo>
                      <a:lnTo>
                        <a:pt x="1723" y="1580"/>
                      </a:lnTo>
                      <a:lnTo>
                        <a:pt x="1664" y="1687"/>
                      </a:lnTo>
                      <a:lnTo>
                        <a:pt x="1581" y="1771"/>
                      </a:lnTo>
                      <a:lnTo>
                        <a:pt x="1569" y="1771"/>
                      </a:lnTo>
                      <a:lnTo>
                        <a:pt x="1510" y="1818"/>
                      </a:lnTo>
                      <a:lnTo>
                        <a:pt x="1486" y="1842"/>
                      </a:lnTo>
                      <a:lnTo>
                        <a:pt x="1438" y="1889"/>
                      </a:lnTo>
                      <a:lnTo>
                        <a:pt x="1426" y="1949"/>
                      </a:lnTo>
                      <a:lnTo>
                        <a:pt x="1391" y="2068"/>
                      </a:lnTo>
                      <a:lnTo>
                        <a:pt x="1379" y="2080"/>
                      </a:lnTo>
                      <a:lnTo>
                        <a:pt x="1284" y="2103"/>
                      </a:lnTo>
                      <a:lnTo>
                        <a:pt x="1248" y="2175"/>
                      </a:lnTo>
                      <a:lnTo>
                        <a:pt x="1248" y="2305"/>
                      </a:lnTo>
                      <a:lnTo>
                        <a:pt x="1260" y="2329"/>
                      </a:lnTo>
                      <a:lnTo>
                        <a:pt x="1296" y="2353"/>
                      </a:lnTo>
                      <a:lnTo>
                        <a:pt x="1331" y="2353"/>
                      </a:lnTo>
                      <a:lnTo>
                        <a:pt x="1355" y="2353"/>
                      </a:lnTo>
                      <a:lnTo>
                        <a:pt x="1438" y="2377"/>
                      </a:lnTo>
                      <a:lnTo>
                        <a:pt x="1510" y="2377"/>
                      </a:lnTo>
                      <a:lnTo>
                        <a:pt x="1545" y="2400"/>
                      </a:lnTo>
                      <a:lnTo>
                        <a:pt x="1545" y="2424"/>
                      </a:lnTo>
                      <a:lnTo>
                        <a:pt x="1533" y="2472"/>
                      </a:lnTo>
                      <a:lnTo>
                        <a:pt x="1533" y="2496"/>
                      </a:lnTo>
                      <a:lnTo>
                        <a:pt x="1557" y="2519"/>
                      </a:lnTo>
                      <a:lnTo>
                        <a:pt x="1581" y="2531"/>
                      </a:lnTo>
                      <a:lnTo>
                        <a:pt x="1616" y="2519"/>
                      </a:lnTo>
                      <a:lnTo>
                        <a:pt x="1664" y="2460"/>
                      </a:lnTo>
                      <a:lnTo>
                        <a:pt x="1712" y="2460"/>
                      </a:lnTo>
                      <a:lnTo>
                        <a:pt x="1747" y="2496"/>
                      </a:lnTo>
                      <a:lnTo>
                        <a:pt x="1759" y="2496"/>
                      </a:lnTo>
                      <a:lnTo>
                        <a:pt x="1807" y="2460"/>
                      </a:lnTo>
                      <a:lnTo>
                        <a:pt x="1830" y="2400"/>
                      </a:lnTo>
                      <a:lnTo>
                        <a:pt x="1842" y="2412"/>
                      </a:lnTo>
                      <a:lnTo>
                        <a:pt x="1890" y="2365"/>
                      </a:lnTo>
                      <a:lnTo>
                        <a:pt x="1937" y="2412"/>
                      </a:lnTo>
                      <a:lnTo>
                        <a:pt x="1961" y="2424"/>
                      </a:lnTo>
                      <a:lnTo>
                        <a:pt x="2009" y="2412"/>
                      </a:lnTo>
                      <a:lnTo>
                        <a:pt x="2044" y="2377"/>
                      </a:lnTo>
                      <a:lnTo>
                        <a:pt x="2080" y="2389"/>
                      </a:lnTo>
                      <a:lnTo>
                        <a:pt x="2104" y="2448"/>
                      </a:lnTo>
                      <a:lnTo>
                        <a:pt x="2163" y="2472"/>
                      </a:lnTo>
                      <a:lnTo>
                        <a:pt x="2175" y="2519"/>
                      </a:lnTo>
                      <a:lnTo>
                        <a:pt x="2151" y="2579"/>
                      </a:lnTo>
                      <a:lnTo>
                        <a:pt x="2151" y="2602"/>
                      </a:lnTo>
                      <a:lnTo>
                        <a:pt x="2163" y="2638"/>
                      </a:lnTo>
                      <a:lnTo>
                        <a:pt x="2175" y="2674"/>
                      </a:lnTo>
                      <a:lnTo>
                        <a:pt x="2187" y="2674"/>
                      </a:lnTo>
                      <a:lnTo>
                        <a:pt x="2223" y="2626"/>
                      </a:lnTo>
                      <a:lnTo>
                        <a:pt x="2294" y="2614"/>
                      </a:lnTo>
                      <a:lnTo>
                        <a:pt x="2353" y="2626"/>
                      </a:lnTo>
                      <a:lnTo>
                        <a:pt x="2377" y="2602"/>
                      </a:lnTo>
                      <a:lnTo>
                        <a:pt x="2401" y="2543"/>
                      </a:lnTo>
                      <a:lnTo>
                        <a:pt x="2448" y="2484"/>
                      </a:lnTo>
                      <a:lnTo>
                        <a:pt x="2472" y="2448"/>
                      </a:lnTo>
                      <a:lnTo>
                        <a:pt x="2472" y="2412"/>
                      </a:lnTo>
                      <a:lnTo>
                        <a:pt x="2413" y="2400"/>
                      </a:lnTo>
                      <a:lnTo>
                        <a:pt x="2401" y="2365"/>
                      </a:lnTo>
                      <a:lnTo>
                        <a:pt x="2436" y="2329"/>
                      </a:lnTo>
                      <a:lnTo>
                        <a:pt x="2436" y="2282"/>
                      </a:lnTo>
                      <a:lnTo>
                        <a:pt x="2460" y="2222"/>
                      </a:lnTo>
                      <a:lnTo>
                        <a:pt x="2496" y="2234"/>
                      </a:lnTo>
                      <a:lnTo>
                        <a:pt x="2532" y="2258"/>
                      </a:lnTo>
                      <a:lnTo>
                        <a:pt x="2543" y="2234"/>
                      </a:lnTo>
                      <a:lnTo>
                        <a:pt x="2543" y="2210"/>
                      </a:lnTo>
                      <a:lnTo>
                        <a:pt x="2532" y="2163"/>
                      </a:lnTo>
                      <a:lnTo>
                        <a:pt x="2484" y="2127"/>
                      </a:lnTo>
                      <a:lnTo>
                        <a:pt x="2460" y="2080"/>
                      </a:lnTo>
                      <a:lnTo>
                        <a:pt x="2460" y="2044"/>
                      </a:lnTo>
                      <a:lnTo>
                        <a:pt x="2484" y="1937"/>
                      </a:lnTo>
                      <a:lnTo>
                        <a:pt x="2520" y="1937"/>
                      </a:lnTo>
                      <a:lnTo>
                        <a:pt x="2567" y="1973"/>
                      </a:lnTo>
                      <a:lnTo>
                        <a:pt x="2627" y="1878"/>
                      </a:lnTo>
                      <a:lnTo>
                        <a:pt x="2674" y="1854"/>
                      </a:lnTo>
                      <a:lnTo>
                        <a:pt x="2710" y="1842"/>
                      </a:lnTo>
                      <a:lnTo>
                        <a:pt x="2722" y="1854"/>
                      </a:lnTo>
                      <a:lnTo>
                        <a:pt x="2734" y="1878"/>
                      </a:lnTo>
                      <a:lnTo>
                        <a:pt x="2757" y="1925"/>
                      </a:lnTo>
                      <a:lnTo>
                        <a:pt x="2745" y="1973"/>
                      </a:lnTo>
                      <a:lnTo>
                        <a:pt x="2769" y="1996"/>
                      </a:lnTo>
                      <a:lnTo>
                        <a:pt x="2793" y="2008"/>
                      </a:lnTo>
                      <a:lnTo>
                        <a:pt x="2805" y="2008"/>
                      </a:lnTo>
                      <a:lnTo>
                        <a:pt x="2852" y="2020"/>
                      </a:lnTo>
                      <a:lnTo>
                        <a:pt x="2936" y="2020"/>
                      </a:lnTo>
                      <a:lnTo>
                        <a:pt x="3007" y="2044"/>
                      </a:lnTo>
                      <a:lnTo>
                        <a:pt x="3043" y="2068"/>
                      </a:lnTo>
                      <a:lnTo>
                        <a:pt x="3078" y="2080"/>
                      </a:lnTo>
                      <a:lnTo>
                        <a:pt x="3102" y="2115"/>
                      </a:lnTo>
                      <a:lnTo>
                        <a:pt x="3138" y="2127"/>
                      </a:lnTo>
                      <a:lnTo>
                        <a:pt x="3173" y="2127"/>
                      </a:lnTo>
                      <a:lnTo>
                        <a:pt x="3197" y="2127"/>
                      </a:lnTo>
                      <a:lnTo>
                        <a:pt x="3268" y="2115"/>
                      </a:lnTo>
                      <a:lnTo>
                        <a:pt x="3280" y="2103"/>
                      </a:lnTo>
                      <a:lnTo>
                        <a:pt x="3316" y="2091"/>
                      </a:lnTo>
                      <a:lnTo>
                        <a:pt x="3423" y="2091"/>
                      </a:lnTo>
                      <a:lnTo>
                        <a:pt x="3506" y="2127"/>
                      </a:lnTo>
                      <a:lnTo>
                        <a:pt x="3601" y="2151"/>
                      </a:lnTo>
                      <a:lnTo>
                        <a:pt x="3732" y="2163"/>
                      </a:lnTo>
                      <a:lnTo>
                        <a:pt x="3886" y="2222"/>
                      </a:lnTo>
                      <a:lnTo>
                        <a:pt x="3922" y="2222"/>
                      </a:lnTo>
                      <a:lnTo>
                        <a:pt x="3981" y="2198"/>
                      </a:lnTo>
                      <a:lnTo>
                        <a:pt x="4029" y="2198"/>
                      </a:lnTo>
                      <a:lnTo>
                        <a:pt x="4076" y="2234"/>
                      </a:lnTo>
                      <a:lnTo>
                        <a:pt x="4076" y="2210"/>
                      </a:lnTo>
                      <a:lnTo>
                        <a:pt x="4124" y="2198"/>
                      </a:lnTo>
                      <a:lnTo>
                        <a:pt x="4136" y="2187"/>
                      </a:lnTo>
                      <a:lnTo>
                        <a:pt x="4219" y="2210"/>
                      </a:lnTo>
                      <a:lnTo>
                        <a:pt x="4290" y="2187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15" name="Freeform 254"/>
                <p:cNvSpPr>
                  <a:spLocks/>
                </p:cNvSpPr>
                <p:nvPr/>
              </p:nvSpPr>
              <p:spPr bwMode="auto">
                <a:xfrm>
                  <a:off x="29648158" y="-18105450"/>
                  <a:ext cx="7810491" cy="9904417"/>
                </a:xfrm>
                <a:custGeom>
                  <a:avLst/>
                  <a:gdLst/>
                  <a:ahLst/>
                  <a:cxnLst>
                    <a:cxn ang="0">
                      <a:pos x="4635" y="2317"/>
                    </a:cxn>
                    <a:cxn ang="0">
                      <a:pos x="4338" y="2080"/>
                    </a:cxn>
                    <a:cxn ang="0">
                      <a:pos x="3958" y="1759"/>
                    </a:cxn>
                    <a:cxn ang="0">
                      <a:pos x="3720" y="1438"/>
                    </a:cxn>
                    <a:cxn ang="0">
                      <a:pos x="3268" y="1082"/>
                    </a:cxn>
                    <a:cxn ang="0">
                      <a:pos x="2983" y="868"/>
                    </a:cxn>
                    <a:cxn ang="0">
                      <a:pos x="2948" y="773"/>
                    </a:cxn>
                    <a:cxn ang="0">
                      <a:pos x="2603" y="523"/>
                    </a:cxn>
                    <a:cxn ang="0">
                      <a:pos x="2425" y="452"/>
                    </a:cxn>
                    <a:cxn ang="0">
                      <a:pos x="2068" y="273"/>
                    </a:cxn>
                    <a:cxn ang="0">
                      <a:pos x="1545" y="83"/>
                    </a:cxn>
                    <a:cxn ang="0">
                      <a:pos x="1106" y="0"/>
                    </a:cxn>
                    <a:cxn ang="0">
                      <a:pos x="797" y="60"/>
                    </a:cxn>
                    <a:cxn ang="0">
                      <a:pos x="761" y="262"/>
                    </a:cxn>
                    <a:cxn ang="0">
                      <a:pos x="690" y="95"/>
                    </a:cxn>
                    <a:cxn ang="0">
                      <a:pos x="404" y="119"/>
                    </a:cxn>
                    <a:cxn ang="0">
                      <a:pos x="179" y="119"/>
                    </a:cxn>
                    <a:cxn ang="0">
                      <a:pos x="202" y="285"/>
                    </a:cxn>
                    <a:cxn ang="0">
                      <a:pos x="96" y="464"/>
                    </a:cxn>
                    <a:cxn ang="0">
                      <a:pos x="0" y="725"/>
                    </a:cxn>
                    <a:cxn ang="0">
                      <a:pos x="84" y="1070"/>
                    </a:cxn>
                    <a:cxn ang="0">
                      <a:pos x="262" y="1533"/>
                    </a:cxn>
                    <a:cxn ang="0">
                      <a:pos x="511" y="1925"/>
                    </a:cxn>
                    <a:cxn ang="0">
                      <a:pos x="500" y="2353"/>
                    </a:cxn>
                    <a:cxn ang="0">
                      <a:pos x="452" y="2615"/>
                    </a:cxn>
                    <a:cxn ang="0">
                      <a:pos x="535" y="3090"/>
                    </a:cxn>
                    <a:cxn ang="0">
                      <a:pos x="523" y="3233"/>
                    </a:cxn>
                    <a:cxn ang="0">
                      <a:pos x="559" y="3720"/>
                    </a:cxn>
                    <a:cxn ang="0">
                      <a:pos x="583" y="4005"/>
                    </a:cxn>
                    <a:cxn ang="0">
                      <a:pos x="630" y="4445"/>
                    </a:cxn>
                    <a:cxn ang="0">
                      <a:pos x="761" y="4766"/>
                    </a:cxn>
                    <a:cxn ang="0">
                      <a:pos x="1118" y="4872"/>
                    </a:cxn>
                    <a:cxn ang="0">
                      <a:pos x="1022" y="5277"/>
                    </a:cxn>
                    <a:cxn ang="0">
                      <a:pos x="987" y="5550"/>
                    </a:cxn>
                    <a:cxn ang="0">
                      <a:pos x="1189" y="5562"/>
                    </a:cxn>
                    <a:cxn ang="0">
                      <a:pos x="1462" y="5645"/>
                    </a:cxn>
                    <a:cxn ang="0">
                      <a:pos x="1938" y="5562"/>
                    </a:cxn>
                    <a:cxn ang="0">
                      <a:pos x="2163" y="5764"/>
                    </a:cxn>
                    <a:cxn ang="0">
                      <a:pos x="2342" y="5871"/>
                    </a:cxn>
                    <a:cxn ang="0">
                      <a:pos x="2508" y="6049"/>
                    </a:cxn>
                    <a:cxn ang="0">
                      <a:pos x="2722" y="6215"/>
                    </a:cxn>
                    <a:cxn ang="0">
                      <a:pos x="2900" y="6120"/>
                    </a:cxn>
                    <a:cxn ang="0">
                      <a:pos x="3090" y="6001"/>
                    </a:cxn>
                    <a:cxn ang="0">
                      <a:pos x="3233" y="5490"/>
                    </a:cxn>
                    <a:cxn ang="0">
                      <a:pos x="3138" y="5300"/>
                    </a:cxn>
                    <a:cxn ang="0">
                      <a:pos x="3126" y="5063"/>
                    </a:cxn>
                    <a:cxn ang="0">
                      <a:pos x="3221" y="4754"/>
                    </a:cxn>
                    <a:cxn ang="0">
                      <a:pos x="3340" y="4445"/>
                    </a:cxn>
                    <a:cxn ang="0">
                      <a:pos x="3328" y="4314"/>
                    </a:cxn>
                    <a:cxn ang="0">
                      <a:pos x="3566" y="4088"/>
                    </a:cxn>
                    <a:cxn ang="0">
                      <a:pos x="3720" y="3969"/>
                    </a:cxn>
                    <a:cxn ang="0">
                      <a:pos x="3863" y="3839"/>
                    </a:cxn>
                    <a:cxn ang="0">
                      <a:pos x="3898" y="3672"/>
                    </a:cxn>
                    <a:cxn ang="0">
                      <a:pos x="4148" y="3304"/>
                    </a:cxn>
                    <a:cxn ang="0">
                      <a:pos x="4421" y="2757"/>
                    </a:cxn>
                  </a:cxnLst>
                  <a:rect l="0" t="0" r="r" b="b"/>
                  <a:pathLst>
                    <a:path w="4920" h="6239">
                      <a:moveTo>
                        <a:pt x="4920" y="2579"/>
                      </a:moveTo>
                      <a:lnTo>
                        <a:pt x="4920" y="2579"/>
                      </a:lnTo>
                      <a:lnTo>
                        <a:pt x="4873" y="2472"/>
                      </a:lnTo>
                      <a:lnTo>
                        <a:pt x="4837" y="2424"/>
                      </a:lnTo>
                      <a:lnTo>
                        <a:pt x="4671" y="2353"/>
                      </a:lnTo>
                      <a:lnTo>
                        <a:pt x="4635" y="2317"/>
                      </a:lnTo>
                      <a:lnTo>
                        <a:pt x="4611" y="2317"/>
                      </a:lnTo>
                      <a:lnTo>
                        <a:pt x="4588" y="2329"/>
                      </a:lnTo>
                      <a:lnTo>
                        <a:pt x="4516" y="2294"/>
                      </a:lnTo>
                      <a:lnTo>
                        <a:pt x="4409" y="2199"/>
                      </a:lnTo>
                      <a:lnTo>
                        <a:pt x="4397" y="2175"/>
                      </a:lnTo>
                      <a:lnTo>
                        <a:pt x="4338" y="2080"/>
                      </a:lnTo>
                      <a:lnTo>
                        <a:pt x="4291" y="2068"/>
                      </a:lnTo>
                      <a:lnTo>
                        <a:pt x="4279" y="2056"/>
                      </a:lnTo>
                      <a:lnTo>
                        <a:pt x="4302" y="2020"/>
                      </a:lnTo>
                      <a:lnTo>
                        <a:pt x="4231" y="1997"/>
                      </a:lnTo>
                      <a:lnTo>
                        <a:pt x="4148" y="1949"/>
                      </a:lnTo>
                      <a:lnTo>
                        <a:pt x="3958" y="1759"/>
                      </a:lnTo>
                      <a:lnTo>
                        <a:pt x="3886" y="1676"/>
                      </a:lnTo>
                      <a:lnTo>
                        <a:pt x="3851" y="1664"/>
                      </a:lnTo>
                      <a:lnTo>
                        <a:pt x="3839" y="1604"/>
                      </a:lnTo>
                      <a:lnTo>
                        <a:pt x="3803" y="1557"/>
                      </a:lnTo>
                      <a:lnTo>
                        <a:pt x="3756" y="1509"/>
                      </a:lnTo>
                      <a:lnTo>
                        <a:pt x="3720" y="1438"/>
                      </a:lnTo>
                      <a:lnTo>
                        <a:pt x="3625" y="1343"/>
                      </a:lnTo>
                      <a:lnTo>
                        <a:pt x="3566" y="1284"/>
                      </a:lnTo>
                      <a:lnTo>
                        <a:pt x="3482" y="1165"/>
                      </a:lnTo>
                      <a:lnTo>
                        <a:pt x="3411" y="1129"/>
                      </a:lnTo>
                      <a:lnTo>
                        <a:pt x="3328" y="1117"/>
                      </a:lnTo>
                      <a:lnTo>
                        <a:pt x="3268" y="1082"/>
                      </a:lnTo>
                      <a:lnTo>
                        <a:pt x="3209" y="1034"/>
                      </a:lnTo>
                      <a:lnTo>
                        <a:pt x="3126" y="975"/>
                      </a:lnTo>
                      <a:lnTo>
                        <a:pt x="3043" y="868"/>
                      </a:lnTo>
                      <a:lnTo>
                        <a:pt x="2995" y="832"/>
                      </a:lnTo>
                      <a:lnTo>
                        <a:pt x="2983" y="832"/>
                      </a:lnTo>
                      <a:lnTo>
                        <a:pt x="2983" y="868"/>
                      </a:lnTo>
                      <a:lnTo>
                        <a:pt x="2971" y="880"/>
                      </a:lnTo>
                      <a:lnTo>
                        <a:pt x="2995" y="963"/>
                      </a:lnTo>
                      <a:lnTo>
                        <a:pt x="2971" y="963"/>
                      </a:lnTo>
                      <a:lnTo>
                        <a:pt x="2936" y="927"/>
                      </a:lnTo>
                      <a:lnTo>
                        <a:pt x="2948" y="880"/>
                      </a:lnTo>
                      <a:lnTo>
                        <a:pt x="2948" y="773"/>
                      </a:lnTo>
                      <a:lnTo>
                        <a:pt x="2936" y="749"/>
                      </a:lnTo>
                      <a:lnTo>
                        <a:pt x="2888" y="749"/>
                      </a:lnTo>
                      <a:lnTo>
                        <a:pt x="2817" y="737"/>
                      </a:lnTo>
                      <a:lnTo>
                        <a:pt x="2734" y="678"/>
                      </a:lnTo>
                      <a:lnTo>
                        <a:pt x="2662" y="559"/>
                      </a:lnTo>
                      <a:lnTo>
                        <a:pt x="2603" y="523"/>
                      </a:lnTo>
                      <a:lnTo>
                        <a:pt x="2579" y="511"/>
                      </a:lnTo>
                      <a:lnTo>
                        <a:pt x="2520" y="499"/>
                      </a:lnTo>
                      <a:lnTo>
                        <a:pt x="2437" y="499"/>
                      </a:lnTo>
                      <a:lnTo>
                        <a:pt x="2425" y="487"/>
                      </a:lnTo>
                      <a:lnTo>
                        <a:pt x="2437" y="452"/>
                      </a:lnTo>
                      <a:lnTo>
                        <a:pt x="2425" y="452"/>
                      </a:lnTo>
                      <a:lnTo>
                        <a:pt x="2294" y="416"/>
                      </a:lnTo>
                      <a:lnTo>
                        <a:pt x="2235" y="357"/>
                      </a:lnTo>
                      <a:lnTo>
                        <a:pt x="2163" y="321"/>
                      </a:lnTo>
                      <a:lnTo>
                        <a:pt x="2104" y="262"/>
                      </a:lnTo>
                      <a:lnTo>
                        <a:pt x="2080" y="262"/>
                      </a:lnTo>
                      <a:lnTo>
                        <a:pt x="2068" y="273"/>
                      </a:lnTo>
                      <a:lnTo>
                        <a:pt x="2033" y="273"/>
                      </a:lnTo>
                      <a:lnTo>
                        <a:pt x="1902" y="167"/>
                      </a:lnTo>
                      <a:lnTo>
                        <a:pt x="1795" y="107"/>
                      </a:lnTo>
                      <a:lnTo>
                        <a:pt x="1581" y="48"/>
                      </a:lnTo>
                      <a:lnTo>
                        <a:pt x="1557" y="60"/>
                      </a:lnTo>
                      <a:lnTo>
                        <a:pt x="1545" y="83"/>
                      </a:lnTo>
                      <a:lnTo>
                        <a:pt x="1474" y="48"/>
                      </a:lnTo>
                      <a:lnTo>
                        <a:pt x="1367" y="48"/>
                      </a:lnTo>
                      <a:lnTo>
                        <a:pt x="1308" y="36"/>
                      </a:lnTo>
                      <a:lnTo>
                        <a:pt x="1189" y="36"/>
                      </a:lnTo>
                      <a:lnTo>
                        <a:pt x="1153" y="24"/>
                      </a:lnTo>
                      <a:lnTo>
                        <a:pt x="1106" y="0"/>
                      </a:lnTo>
                      <a:lnTo>
                        <a:pt x="1082" y="0"/>
                      </a:lnTo>
                      <a:lnTo>
                        <a:pt x="1046" y="48"/>
                      </a:lnTo>
                      <a:lnTo>
                        <a:pt x="999" y="60"/>
                      </a:lnTo>
                      <a:lnTo>
                        <a:pt x="939" y="60"/>
                      </a:lnTo>
                      <a:lnTo>
                        <a:pt x="832" y="36"/>
                      </a:lnTo>
                      <a:lnTo>
                        <a:pt x="797" y="60"/>
                      </a:lnTo>
                      <a:lnTo>
                        <a:pt x="749" y="83"/>
                      </a:lnTo>
                      <a:lnTo>
                        <a:pt x="725" y="107"/>
                      </a:lnTo>
                      <a:lnTo>
                        <a:pt x="725" y="119"/>
                      </a:lnTo>
                      <a:lnTo>
                        <a:pt x="761" y="190"/>
                      </a:lnTo>
                      <a:lnTo>
                        <a:pt x="761" y="214"/>
                      </a:lnTo>
                      <a:lnTo>
                        <a:pt x="761" y="262"/>
                      </a:lnTo>
                      <a:lnTo>
                        <a:pt x="749" y="285"/>
                      </a:lnTo>
                      <a:lnTo>
                        <a:pt x="737" y="273"/>
                      </a:lnTo>
                      <a:lnTo>
                        <a:pt x="737" y="262"/>
                      </a:lnTo>
                      <a:lnTo>
                        <a:pt x="737" y="167"/>
                      </a:lnTo>
                      <a:lnTo>
                        <a:pt x="702" y="131"/>
                      </a:lnTo>
                      <a:lnTo>
                        <a:pt x="690" y="95"/>
                      </a:lnTo>
                      <a:lnTo>
                        <a:pt x="678" y="83"/>
                      </a:lnTo>
                      <a:lnTo>
                        <a:pt x="630" y="83"/>
                      </a:lnTo>
                      <a:lnTo>
                        <a:pt x="571" y="95"/>
                      </a:lnTo>
                      <a:lnTo>
                        <a:pt x="476" y="95"/>
                      </a:lnTo>
                      <a:lnTo>
                        <a:pt x="452" y="107"/>
                      </a:lnTo>
                      <a:lnTo>
                        <a:pt x="404" y="119"/>
                      </a:lnTo>
                      <a:lnTo>
                        <a:pt x="393" y="143"/>
                      </a:lnTo>
                      <a:lnTo>
                        <a:pt x="357" y="131"/>
                      </a:lnTo>
                      <a:lnTo>
                        <a:pt x="298" y="107"/>
                      </a:lnTo>
                      <a:lnTo>
                        <a:pt x="250" y="95"/>
                      </a:lnTo>
                      <a:lnTo>
                        <a:pt x="191" y="107"/>
                      </a:lnTo>
                      <a:lnTo>
                        <a:pt x="179" y="119"/>
                      </a:lnTo>
                      <a:lnTo>
                        <a:pt x="179" y="131"/>
                      </a:lnTo>
                      <a:lnTo>
                        <a:pt x="214" y="143"/>
                      </a:lnTo>
                      <a:lnTo>
                        <a:pt x="226" y="167"/>
                      </a:lnTo>
                      <a:lnTo>
                        <a:pt x="179" y="214"/>
                      </a:lnTo>
                      <a:lnTo>
                        <a:pt x="167" y="238"/>
                      </a:lnTo>
                      <a:lnTo>
                        <a:pt x="202" y="285"/>
                      </a:lnTo>
                      <a:lnTo>
                        <a:pt x="202" y="345"/>
                      </a:lnTo>
                      <a:lnTo>
                        <a:pt x="179" y="380"/>
                      </a:lnTo>
                      <a:lnTo>
                        <a:pt x="131" y="380"/>
                      </a:lnTo>
                      <a:lnTo>
                        <a:pt x="96" y="428"/>
                      </a:lnTo>
                      <a:lnTo>
                        <a:pt x="107" y="464"/>
                      </a:lnTo>
                      <a:lnTo>
                        <a:pt x="96" y="464"/>
                      </a:lnTo>
                      <a:lnTo>
                        <a:pt x="84" y="487"/>
                      </a:lnTo>
                      <a:lnTo>
                        <a:pt x="72" y="535"/>
                      </a:lnTo>
                      <a:lnTo>
                        <a:pt x="36" y="594"/>
                      </a:lnTo>
                      <a:lnTo>
                        <a:pt x="36" y="630"/>
                      </a:lnTo>
                      <a:lnTo>
                        <a:pt x="12" y="666"/>
                      </a:lnTo>
                      <a:lnTo>
                        <a:pt x="0" y="725"/>
                      </a:lnTo>
                      <a:lnTo>
                        <a:pt x="0" y="749"/>
                      </a:lnTo>
                      <a:lnTo>
                        <a:pt x="24" y="832"/>
                      </a:lnTo>
                      <a:lnTo>
                        <a:pt x="60" y="880"/>
                      </a:lnTo>
                      <a:lnTo>
                        <a:pt x="60" y="986"/>
                      </a:lnTo>
                      <a:lnTo>
                        <a:pt x="96" y="1070"/>
                      </a:lnTo>
                      <a:lnTo>
                        <a:pt x="84" y="1070"/>
                      </a:lnTo>
                      <a:lnTo>
                        <a:pt x="107" y="1117"/>
                      </a:lnTo>
                      <a:lnTo>
                        <a:pt x="155" y="1224"/>
                      </a:lnTo>
                      <a:lnTo>
                        <a:pt x="155" y="1295"/>
                      </a:lnTo>
                      <a:lnTo>
                        <a:pt x="155" y="1379"/>
                      </a:lnTo>
                      <a:lnTo>
                        <a:pt x="214" y="1462"/>
                      </a:lnTo>
                      <a:lnTo>
                        <a:pt x="262" y="1533"/>
                      </a:lnTo>
                      <a:lnTo>
                        <a:pt x="321" y="1628"/>
                      </a:lnTo>
                      <a:lnTo>
                        <a:pt x="345" y="1664"/>
                      </a:lnTo>
                      <a:lnTo>
                        <a:pt x="357" y="1664"/>
                      </a:lnTo>
                      <a:lnTo>
                        <a:pt x="393" y="1806"/>
                      </a:lnTo>
                      <a:lnTo>
                        <a:pt x="440" y="1866"/>
                      </a:lnTo>
                      <a:lnTo>
                        <a:pt x="511" y="1925"/>
                      </a:lnTo>
                      <a:lnTo>
                        <a:pt x="523" y="1973"/>
                      </a:lnTo>
                      <a:lnTo>
                        <a:pt x="511" y="2020"/>
                      </a:lnTo>
                      <a:lnTo>
                        <a:pt x="464" y="2104"/>
                      </a:lnTo>
                      <a:lnTo>
                        <a:pt x="452" y="2175"/>
                      </a:lnTo>
                      <a:lnTo>
                        <a:pt x="464" y="2222"/>
                      </a:lnTo>
                      <a:lnTo>
                        <a:pt x="500" y="2353"/>
                      </a:lnTo>
                      <a:lnTo>
                        <a:pt x="500" y="2401"/>
                      </a:lnTo>
                      <a:lnTo>
                        <a:pt x="488" y="2448"/>
                      </a:lnTo>
                      <a:lnTo>
                        <a:pt x="488" y="2520"/>
                      </a:lnTo>
                      <a:lnTo>
                        <a:pt x="464" y="2555"/>
                      </a:lnTo>
                      <a:lnTo>
                        <a:pt x="476" y="2555"/>
                      </a:lnTo>
                      <a:lnTo>
                        <a:pt x="452" y="2615"/>
                      </a:lnTo>
                      <a:lnTo>
                        <a:pt x="500" y="2781"/>
                      </a:lnTo>
                      <a:lnTo>
                        <a:pt x="535" y="2840"/>
                      </a:lnTo>
                      <a:lnTo>
                        <a:pt x="535" y="2924"/>
                      </a:lnTo>
                      <a:lnTo>
                        <a:pt x="559" y="3031"/>
                      </a:lnTo>
                      <a:lnTo>
                        <a:pt x="547" y="3078"/>
                      </a:lnTo>
                      <a:lnTo>
                        <a:pt x="535" y="3090"/>
                      </a:lnTo>
                      <a:lnTo>
                        <a:pt x="488" y="3114"/>
                      </a:lnTo>
                      <a:lnTo>
                        <a:pt x="500" y="3126"/>
                      </a:lnTo>
                      <a:lnTo>
                        <a:pt x="488" y="3149"/>
                      </a:lnTo>
                      <a:lnTo>
                        <a:pt x="476" y="3173"/>
                      </a:lnTo>
                      <a:lnTo>
                        <a:pt x="511" y="3197"/>
                      </a:lnTo>
                      <a:lnTo>
                        <a:pt x="523" y="3233"/>
                      </a:lnTo>
                      <a:lnTo>
                        <a:pt x="535" y="3280"/>
                      </a:lnTo>
                      <a:lnTo>
                        <a:pt x="523" y="3518"/>
                      </a:lnTo>
                      <a:lnTo>
                        <a:pt x="523" y="3542"/>
                      </a:lnTo>
                      <a:lnTo>
                        <a:pt x="547" y="3577"/>
                      </a:lnTo>
                      <a:lnTo>
                        <a:pt x="571" y="3625"/>
                      </a:lnTo>
                      <a:lnTo>
                        <a:pt x="559" y="3720"/>
                      </a:lnTo>
                      <a:lnTo>
                        <a:pt x="595" y="3755"/>
                      </a:lnTo>
                      <a:lnTo>
                        <a:pt x="607" y="3791"/>
                      </a:lnTo>
                      <a:lnTo>
                        <a:pt x="595" y="3886"/>
                      </a:lnTo>
                      <a:lnTo>
                        <a:pt x="571" y="3922"/>
                      </a:lnTo>
                      <a:lnTo>
                        <a:pt x="559" y="3946"/>
                      </a:lnTo>
                      <a:lnTo>
                        <a:pt x="583" y="4005"/>
                      </a:lnTo>
                      <a:lnTo>
                        <a:pt x="583" y="4005"/>
                      </a:lnTo>
                      <a:lnTo>
                        <a:pt x="607" y="4076"/>
                      </a:lnTo>
                      <a:lnTo>
                        <a:pt x="618" y="4195"/>
                      </a:lnTo>
                      <a:lnTo>
                        <a:pt x="654" y="4326"/>
                      </a:lnTo>
                      <a:lnTo>
                        <a:pt x="654" y="4373"/>
                      </a:lnTo>
                      <a:lnTo>
                        <a:pt x="630" y="4445"/>
                      </a:lnTo>
                      <a:lnTo>
                        <a:pt x="678" y="4504"/>
                      </a:lnTo>
                      <a:lnTo>
                        <a:pt x="725" y="4552"/>
                      </a:lnTo>
                      <a:lnTo>
                        <a:pt x="749" y="4611"/>
                      </a:lnTo>
                      <a:lnTo>
                        <a:pt x="761" y="4706"/>
                      </a:lnTo>
                      <a:lnTo>
                        <a:pt x="749" y="4718"/>
                      </a:lnTo>
                      <a:lnTo>
                        <a:pt x="761" y="4766"/>
                      </a:lnTo>
                      <a:lnTo>
                        <a:pt x="820" y="4789"/>
                      </a:lnTo>
                      <a:lnTo>
                        <a:pt x="904" y="4801"/>
                      </a:lnTo>
                      <a:lnTo>
                        <a:pt x="987" y="4837"/>
                      </a:lnTo>
                      <a:lnTo>
                        <a:pt x="1058" y="4849"/>
                      </a:lnTo>
                      <a:lnTo>
                        <a:pt x="1106" y="4872"/>
                      </a:lnTo>
                      <a:lnTo>
                        <a:pt x="1118" y="4872"/>
                      </a:lnTo>
                      <a:lnTo>
                        <a:pt x="1129" y="4896"/>
                      </a:lnTo>
                      <a:lnTo>
                        <a:pt x="1129" y="4932"/>
                      </a:lnTo>
                      <a:lnTo>
                        <a:pt x="1082" y="5027"/>
                      </a:lnTo>
                      <a:lnTo>
                        <a:pt x="1082" y="5134"/>
                      </a:lnTo>
                      <a:lnTo>
                        <a:pt x="1070" y="5170"/>
                      </a:lnTo>
                      <a:lnTo>
                        <a:pt x="1022" y="5277"/>
                      </a:lnTo>
                      <a:lnTo>
                        <a:pt x="999" y="5312"/>
                      </a:lnTo>
                      <a:lnTo>
                        <a:pt x="1011" y="5324"/>
                      </a:lnTo>
                      <a:lnTo>
                        <a:pt x="987" y="5372"/>
                      </a:lnTo>
                      <a:lnTo>
                        <a:pt x="987" y="5455"/>
                      </a:lnTo>
                      <a:lnTo>
                        <a:pt x="987" y="5550"/>
                      </a:lnTo>
                      <a:lnTo>
                        <a:pt x="987" y="5550"/>
                      </a:lnTo>
                      <a:lnTo>
                        <a:pt x="987" y="5550"/>
                      </a:lnTo>
                      <a:lnTo>
                        <a:pt x="1046" y="5562"/>
                      </a:lnTo>
                      <a:lnTo>
                        <a:pt x="1082" y="5609"/>
                      </a:lnTo>
                      <a:lnTo>
                        <a:pt x="1129" y="5621"/>
                      </a:lnTo>
                      <a:lnTo>
                        <a:pt x="1189" y="5574"/>
                      </a:lnTo>
                      <a:lnTo>
                        <a:pt x="1189" y="5562"/>
                      </a:lnTo>
                      <a:lnTo>
                        <a:pt x="1201" y="5538"/>
                      </a:lnTo>
                      <a:lnTo>
                        <a:pt x="1236" y="5526"/>
                      </a:lnTo>
                      <a:lnTo>
                        <a:pt x="1260" y="5597"/>
                      </a:lnTo>
                      <a:lnTo>
                        <a:pt x="1296" y="5621"/>
                      </a:lnTo>
                      <a:lnTo>
                        <a:pt x="1320" y="5633"/>
                      </a:lnTo>
                      <a:lnTo>
                        <a:pt x="1462" y="5645"/>
                      </a:lnTo>
                      <a:lnTo>
                        <a:pt x="1462" y="5633"/>
                      </a:lnTo>
                      <a:lnTo>
                        <a:pt x="1533" y="5633"/>
                      </a:lnTo>
                      <a:lnTo>
                        <a:pt x="1617" y="5597"/>
                      </a:lnTo>
                      <a:lnTo>
                        <a:pt x="1664" y="5586"/>
                      </a:lnTo>
                      <a:lnTo>
                        <a:pt x="1807" y="5609"/>
                      </a:lnTo>
                      <a:lnTo>
                        <a:pt x="1938" y="5562"/>
                      </a:lnTo>
                      <a:lnTo>
                        <a:pt x="1973" y="5574"/>
                      </a:lnTo>
                      <a:lnTo>
                        <a:pt x="2044" y="5621"/>
                      </a:lnTo>
                      <a:lnTo>
                        <a:pt x="2092" y="5669"/>
                      </a:lnTo>
                      <a:lnTo>
                        <a:pt x="2104" y="5704"/>
                      </a:lnTo>
                      <a:lnTo>
                        <a:pt x="2151" y="5752"/>
                      </a:lnTo>
                      <a:lnTo>
                        <a:pt x="2163" y="5764"/>
                      </a:lnTo>
                      <a:lnTo>
                        <a:pt x="2199" y="5752"/>
                      </a:lnTo>
                      <a:lnTo>
                        <a:pt x="2199" y="5740"/>
                      </a:lnTo>
                      <a:lnTo>
                        <a:pt x="2270" y="5764"/>
                      </a:lnTo>
                      <a:lnTo>
                        <a:pt x="2294" y="5788"/>
                      </a:lnTo>
                      <a:lnTo>
                        <a:pt x="2306" y="5788"/>
                      </a:lnTo>
                      <a:lnTo>
                        <a:pt x="2342" y="5871"/>
                      </a:lnTo>
                      <a:lnTo>
                        <a:pt x="2353" y="5918"/>
                      </a:lnTo>
                      <a:lnTo>
                        <a:pt x="2342" y="5966"/>
                      </a:lnTo>
                      <a:lnTo>
                        <a:pt x="2365" y="6013"/>
                      </a:lnTo>
                      <a:lnTo>
                        <a:pt x="2401" y="6037"/>
                      </a:lnTo>
                      <a:lnTo>
                        <a:pt x="2460" y="6025"/>
                      </a:lnTo>
                      <a:lnTo>
                        <a:pt x="2508" y="6049"/>
                      </a:lnTo>
                      <a:lnTo>
                        <a:pt x="2544" y="6085"/>
                      </a:lnTo>
                      <a:lnTo>
                        <a:pt x="2544" y="6108"/>
                      </a:lnTo>
                      <a:lnTo>
                        <a:pt x="2651" y="6227"/>
                      </a:lnTo>
                      <a:lnTo>
                        <a:pt x="2674" y="6227"/>
                      </a:lnTo>
                      <a:lnTo>
                        <a:pt x="2698" y="6203"/>
                      </a:lnTo>
                      <a:lnTo>
                        <a:pt x="2722" y="6215"/>
                      </a:lnTo>
                      <a:lnTo>
                        <a:pt x="2746" y="6239"/>
                      </a:lnTo>
                      <a:lnTo>
                        <a:pt x="2769" y="6227"/>
                      </a:lnTo>
                      <a:lnTo>
                        <a:pt x="2769" y="6215"/>
                      </a:lnTo>
                      <a:lnTo>
                        <a:pt x="2781" y="6168"/>
                      </a:lnTo>
                      <a:lnTo>
                        <a:pt x="2781" y="6144"/>
                      </a:lnTo>
                      <a:lnTo>
                        <a:pt x="2900" y="6120"/>
                      </a:lnTo>
                      <a:lnTo>
                        <a:pt x="2912" y="6108"/>
                      </a:lnTo>
                      <a:lnTo>
                        <a:pt x="2948" y="6025"/>
                      </a:lnTo>
                      <a:lnTo>
                        <a:pt x="2971" y="6001"/>
                      </a:lnTo>
                      <a:lnTo>
                        <a:pt x="3031" y="5990"/>
                      </a:lnTo>
                      <a:lnTo>
                        <a:pt x="3090" y="6001"/>
                      </a:lnTo>
                      <a:lnTo>
                        <a:pt x="3090" y="6001"/>
                      </a:lnTo>
                      <a:lnTo>
                        <a:pt x="3090" y="5978"/>
                      </a:lnTo>
                      <a:lnTo>
                        <a:pt x="3257" y="5728"/>
                      </a:lnTo>
                      <a:lnTo>
                        <a:pt x="3304" y="5669"/>
                      </a:lnTo>
                      <a:lnTo>
                        <a:pt x="3304" y="5621"/>
                      </a:lnTo>
                      <a:lnTo>
                        <a:pt x="3304" y="5586"/>
                      </a:lnTo>
                      <a:lnTo>
                        <a:pt x="3233" y="5490"/>
                      </a:lnTo>
                      <a:lnTo>
                        <a:pt x="3150" y="5467"/>
                      </a:lnTo>
                      <a:lnTo>
                        <a:pt x="3138" y="5455"/>
                      </a:lnTo>
                      <a:lnTo>
                        <a:pt x="3138" y="5431"/>
                      </a:lnTo>
                      <a:lnTo>
                        <a:pt x="3162" y="5407"/>
                      </a:lnTo>
                      <a:lnTo>
                        <a:pt x="3162" y="5336"/>
                      </a:lnTo>
                      <a:lnTo>
                        <a:pt x="3138" y="5300"/>
                      </a:lnTo>
                      <a:lnTo>
                        <a:pt x="3126" y="5277"/>
                      </a:lnTo>
                      <a:lnTo>
                        <a:pt x="3090" y="5265"/>
                      </a:lnTo>
                      <a:lnTo>
                        <a:pt x="3078" y="5253"/>
                      </a:lnTo>
                      <a:lnTo>
                        <a:pt x="3066" y="5122"/>
                      </a:lnTo>
                      <a:lnTo>
                        <a:pt x="3066" y="5098"/>
                      </a:lnTo>
                      <a:lnTo>
                        <a:pt x="3126" y="5063"/>
                      </a:lnTo>
                      <a:lnTo>
                        <a:pt x="3126" y="5051"/>
                      </a:lnTo>
                      <a:lnTo>
                        <a:pt x="3173" y="5039"/>
                      </a:lnTo>
                      <a:lnTo>
                        <a:pt x="3185" y="4979"/>
                      </a:lnTo>
                      <a:lnTo>
                        <a:pt x="3185" y="4861"/>
                      </a:lnTo>
                      <a:lnTo>
                        <a:pt x="3221" y="4754"/>
                      </a:lnTo>
                      <a:lnTo>
                        <a:pt x="3221" y="4754"/>
                      </a:lnTo>
                      <a:lnTo>
                        <a:pt x="3233" y="4682"/>
                      </a:lnTo>
                      <a:lnTo>
                        <a:pt x="3257" y="4587"/>
                      </a:lnTo>
                      <a:lnTo>
                        <a:pt x="3304" y="4516"/>
                      </a:lnTo>
                      <a:lnTo>
                        <a:pt x="3375" y="4468"/>
                      </a:lnTo>
                      <a:lnTo>
                        <a:pt x="3375" y="4445"/>
                      </a:lnTo>
                      <a:lnTo>
                        <a:pt x="3340" y="4445"/>
                      </a:lnTo>
                      <a:lnTo>
                        <a:pt x="3316" y="4457"/>
                      </a:lnTo>
                      <a:lnTo>
                        <a:pt x="3292" y="4457"/>
                      </a:lnTo>
                      <a:lnTo>
                        <a:pt x="3292" y="4445"/>
                      </a:lnTo>
                      <a:lnTo>
                        <a:pt x="3316" y="4397"/>
                      </a:lnTo>
                      <a:lnTo>
                        <a:pt x="3316" y="4361"/>
                      </a:lnTo>
                      <a:lnTo>
                        <a:pt x="3328" y="4314"/>
                      </a:lnTo>
                      <a:lnTo>
                        <a:pt x="3375" y="4278"/>
                      </a:lnTo>
                      <a:lnTo>
                        <a:pt x="3435" y="4183"/>
                      </a:lnTo>
                      <a:lnTo>
                        <a:pt x="3447" y="4124"/>
                      </a:lnTo>
                      <a:lnTo>
                        <a:pt x="3471" y="4088"/>
                      </a:lnTo>
                      <a:lnTo>
                        <a:pt x="3494" y="4088"/>
                      </a:lnTo>
                      <a:lnTo>
                        <a:pt x="3566" y="4088"/>
                      </a:lnTo>
                      <a:lnTo>
                        <a:pt x="3613" y="4088"/>
                      </a:lnTo>
                      <a:lnTo>
                        <a:pt x="3637" y="4076"/>
                      </a:lnTo>
                      <a:lnTo>
                        <a:pt x="3673" y="4053"/>
                      </a:lnTo>
                      <a:lnTo>
                        <a:pt x="3661" y="4029"/>
                      </a:lnTo>
                      <a:lnTo>
                        <a:pt x="3696" y="3981"/>
                      </a:lnTo>
                      <a:lnTo>
                        <a:pt x="3720" y="3969"/>
                      </a:lnTo>
                      <a:lnTo>
                        <a:pt x="3732" y="3946"/>
                      </a:lnTo>
                      <a:lnTo>
                        <a:pt x="3744" y="3934"/>
                      </a:lnTo>
                      <a:lnTo>
                        <a:pt x="3768" y="3922"/>
                      </a:lnTo>
                      <a:lnTo>
                        <a:pt x="3791" y="3910"/>
                      </a:lnTo>
                      <a:lnTo>
                        <a:pt x="3839" y="3862"/>
                      </a:lnTo>
                      <a:lnTo>
                        <a:pt x="3863" y="3839"/>
                      </a:lnTo>
                      <a:lnTo>
                        <a:pt x="3863" y="3827"/>
                      </a:lnTo>
                      <a:lnTo>
                        <a:pt x="3910" y="3791"/>
                      </a:lnTo>
                      <a:lnTo>
                        <a:pt x="3910" y="3791"/>
                      </a:lnTo>
                      <a:lnTo>
                        <a:pt x="3922" y="3744"/>
                      </a:lnTo>
                      <a:lnTo>
                        <a:pt x="3934" y="3732"/>
                      </a:lnTo>
                      <a:lnTo>
                        <a:pt x="3898" y="3672"/>
                      </a:lnTo>
                      <a:lnTo>
                        <a:pt x="3898" y="3648"/>
                      </a:lnTo>
                      <a:lnTo>
                        <a:pt x="3922" y="3601"/>
                      </a:lnTo>
                      <a:lnTo>
                        <a:pt x="3946" y="3553"/>
                      </a:lnTo>
                      <a:lnTo>
                        <a:pt x="4124" y="3387"/>
                      </a:lnTo>
                      <a:lnTo>
                        <a:pt x="4136" y="3363"/>
                      </a:lnTo>
                      <a:lnTo>
                        <a:pt x="4148" y="3304"/>
                      </a:lnTo>
                      <a:lnTo>
                        <a:pt x="4207" y="3221"/>
                      </a:lnTo>
                      <a:lnTo>
                        <a:pt x="4255" y="3114"/>
                      </a:lnTo>
                      <a:lnTo>
                        <a:pt x="4255" y="3066"/>
                      </a:lnTo>
                      <a:lnTo>
                        <a:pt x="4279" y="3019"/>
                      </a:lnTo>
                      <a:lnTo>
                        <a:pt x="4338" y="2935"/>
                      </a:lnTo>
                      <a:lnTo>
                        <a:pt x="4421" y="2757"/>
                      </a:lnTo>
                      <a:lnTo>
                        <a:pt x="4469" y="2710"/>
                      </a:lnTo>
                      <a:lnTo>
                        <a:pt x="4552" y="2650"/>
                      </a:lnTo>
                      <a:lnTo>
                        <a:pt x="4647" y="2615"/>
                      </a:lnTo>
                      <a:lnTo>
                        <a:pt x="4920" y="2579"/>
                      </a:lnTo>
                      <a:lnTo>
                        <a:pt x="4920" y="2579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16" name="Freeform 256"/>
                <p:cNvSpPr>
                  <a:spLocks/>
                </p:cNvSpPr>
                <p:nvPr/>
              </p:nvSpPr>
              <p:spPr bwMode="auto">
                <a:xfrm>
                  <a:off x="20650212" y="-18218160"/>
                  <a:ext cx="10790243" cy="15582911"/>
                </a:xfrm>
                <a:custGeom>
                  <a:avLst/>
                  <a:gdLst/>
                  <a:ahLst/>
                  <a:cxnLst>
                    <a:cxn ang="0">
                      <a:pos x="5668" y="285"/>
                    </a:cxn>
                    <a:cxn ang="0">
                      <a:pos x="5336" y="47"/>
                    </a:cxn>
                    <a:cxn ang="0">
                      <a:pos x="5229" y="261"/>
                    </a:cxn>
                    <a:cxn ang="0">
                      <a:pos x="5003" y="570"/>
                    </a:cxn>
                    <a:cxn ang="0">
                      <a:pos x="4813" y="689"/>
                    </a:cxn>
                    <a:cxn ang="0">
                      <a:pos x="4516" y="832"/>
                    </a:cxn>
                    <a:cxn ang="0">
                      <a:pos x="4361" y="808"/>
                    </a:cxn>
                    <a:cxn ang="0">
                      <a:pos x="4135" y="1093"/>
                    </a:cxn>
                    <a:cxn ang="0">
                      <a:pos x="3862" y="1616"/>
                    </a:cxn>
                    <a:cxn ang="0">
                      <a:pos x="3803" y="1925"/>
                    </a:cxn>
                    <a:cxn ang="0">
                      <a:pos x="3803" y="2329"/>
                    </a:cxn>
                    <a:cxn ang="0">
                      <a:pos x="3910" y="2781"/>
                    </a:cxn>
                    <a:cxn ang="0">
                      <a:pos x="3945" y="2995"/>
                    </a:cxn>
                    <a:cxn ang="0">
                      <a:pos x="3660" y="3410"/>
                    </a:cxn>
                    <a:cxn ang="0">
                      <a:pos x="3624" y="3862"/>
                    </a:cxn>
                    <a:cxn ang="0">
                      <a:pos x="3826" y="4183"/>
                    </a:cxn>
                    <a:cxn ang="0">
                      <a:pos x="3791" y="4623"/>
                    </a:cxn>
                    <a:cxn ang="0">
                      <a:pos x="3363" y="4837"/>
                    </a:cxn>
                    <a:cxn ang="0">
                      <a:pos x="2769" y="4741"/>
                    </a:cxn>
                    <a:cxn ang="0">
                      <a:pos x="2317" y="4920"/>
                    </a:cxn>
                    <a:cxn ang="0">
                      <a:pos x="2056" y="5217"/>
                    </a:cxn>
                    <a:cxn ang="0">
                      <a:pos x="1545" y="5490"/>
                    </a:cxn>
                    <a:cxn ang="0">
                      <a:pos x="974" y="5752"/>
                    </a:cxn>
                    <a:cxn ang="0">
                      <a:pos x="630" y="6191"/>
                    </a:cxn>
                    <a:cxn ang="0">
                      <a:pos x="392" y="6797"/>
                    </a:cxn>
                    <a:cxn ang="0">
                      <a:pos x="142" y="7629"/>
                    </a:cxn>
                    <a:cxn ang="0">
                      <a:pos x="249" y="8140"/>
                    </a:cxn>
                    <a:cxn ang="0">
                      <a:pos x="166" y="8770"/>
                    </a:cxn>
                    <a:cxn ang="0">
                      <a:pos x="202" y="8984"/>
                    </a:cxn>
                    <a:cxn ang="0">
                      <a:pos x="570" y="8877"/>
                    </a:cxn>
                    <a:cxn ang="0">
                      <a:pos x="820" y="9519"/>
                    </a:cxn>
                    <a:cxn ang="0">
                      <a:pos x="1414" y="9756"/>
                    </a:cxn>
                    <a:cxn ang="0">
                      <a:pos x="1735" y="9471"/>
                    </a:cxn>
                    <a:cxn ang="0">
                      <a:pos x="2163" y="9483"/>
                    </a:cxn>
                    <a:cxn ang="0">
                      <a:pos x="2484" y="9222"/>
                    </a:cxn>
                    <a:cxn ang="0">
                      <a:pos x="2745" y="8830"/>
                    </a:cxn>
                    <a:cxn ang="0">
                      <a:pos x="2662" y="8437"/>
                    </a:cxn>
                    <a:cxn ang="0">
                      <a:pos x="2983" y="7879"/>
                    </a:cxn>
                    <a:cxn ang="0">
                      <a:pos x="3327" y="8045"/>
                    </a:cxn>
                    <a:cxn ang="0">
                      <a:pos x="3743" y="8152"/>
                    </a:cxn>
                    <a:cxn ang="0">
                      <a:pos x="4005" y="8188"/>
                    </a:cxn>
                    <a:cxn ang="0">
                      <a:pos x="4516" y="7914"/>
                    </a:cxn>
                    <a:cxn ang="0">
                      <a:pos x="5169" y="7605"/>
                    </a:cxn>
                    <a:cxn ang="0">
                      <a:pos x="5692" y="7213"/>
                    </a:cxn>
                    <a:cxn ang="0">
                      <a:pos x="6120" y="6940"/>
                    </a:cxn>
                    <a:cxn ang="0">
                      <a:pos x="6453" y="6619"/>
                    </a:cxn>
                    <a:cxn ang="0">
                      <a:pos x="6607" y="6203"/>
                    </a:cxn>
                    <a:cxn ang="0">
                      <a:pos x="6429" y="5728"/>
                    </a:cxn>
                    <a:cxn ang="0">
                      <a:pos x="6655" y="5621"/>
                    </a:cxn>
                    <a:cxn ang="0">
                      <a:pos x="6797" y="5003"/>
                    </a:cxn>
                    <a:cxn ang="0">
                      <a:pos x="6417" y="4789"/>
                    </a:cxn>
                    <a:cxn ang="0">
                      <a:pos x="6275" y="4147"/>
                    </a:cxn>
                    <a:cxn ang="0">
                      <a:pos x="6239" y="3696"/>
                    </a:cxn>
                    <a:cxn ang="0">
                      <a:pos x="6168" y="3197"/>
                    </a:cxn>
                    <a:cxn ang="0">
                      <a:pos x="6144" y="2626"/>
                    </a:cxn>
                    <a:cxn ang="0">
                      <a:pos x="6179" y="2091"/>
                    </a:cxn>
                    <a:cxn ang="0">
                      <a:pos x="5882" y="1533"/>
                    </a:cxn>
                    <a:cxn ang="0">
                      <a:pos x="5692" y="903"/>
                    </a:cxn>
                    <a:cxn ang="0">
                      <a:pos x="5775" y="535"/>
                    </a:cxn>
                  </a:cxnLst>
                  <a:rect l="0" t="0" r="r" b="b"/>
                  <a:pathLst>
                    <a:path w="6797" h="9816">
                      <a:moveTo>
                        <a:pt x="5835" y="309"/>
                      </a:moveTo>
                      <a:lnTo>
                        <a:pt x="5835" y="309"/>
                      </a:lnTo>
                      <a:lnTo>
                        <a:pt x="5799" y="297"/>
                      </a:lnTo>
                      <a:lnTo>
                        <a:pt x="5775" y="285"/>
                      </a:lnTo>
                      <a:lnTo>
                        <a:pt x="5775" y="261"/>
                      </a:lnTo>
                      <a:lnTo>
                        <a:pt x="5764" y="238"/>
                      </a:lnTo>
                      <a:lnTo>
                        <a:pt x="5692" y="214"/>
                      </a:lnTo>
                      <a:lnTo>
                        <a:pt x="5668" y="238"/>
                      </a:lnTo>
                      <a:lnTo>
                        <a:pt x="5668" y="285"/>
                      </a:lnTo>
                      <a:lnTo>
                        <a:pt x="5657" y="297"/>
                      </a:lnTo>
                      <a:lnTo>
                        <a:pt x="5645" y="285"/>
                      </a:lnTo>
                      <a:lnTo>
                        <a:pt x="5633" y="214"/>
                      </a:lnTo>
                      <a:lnTo>
                        <a:pt x="5573" y="178"/>
                      </a:lnTo>
                      <a:lnTo>
                        <a:pt x="5419" y="166"/>
                      </a:lnTo>
                      <a:lnTo>
                        <a:pt x="5383" y="119"/>
                      </a:lnTo>
                      <a:lnTo>
                        <a:pt x="5371" y="107"/>
                      </a:lnTo>
                      <a:lnTo>
                        <a:pt x="5348" y="95"/>
                      </a:lnTo>
                      <a:lnTo>
                        <a:pt x="5336" y="47"/>
                      </a:lnTo>
                      <a:lnTo>
                        <a:pt x="5300" y="35"/>
                      </a:lnTo>
                      <a:lnTo>
                        <a:pt x="5241" y="0"/>
                      </a:lnTo>
                      <a:lnTo>
                        <a:pt x="5217" y="0"/>
                      </a:lnTo>
                      <a:lnTo>
                        <a:pt x="5205" y="12"/>
                      </a:lnTo>
                      <a:lnTo>
                        <a:pt x="5157" y="107"/>
                      </a:lnTo>
                      <a:lnTo>
                        <a:pt x="5157" y="142"/>
                      </a:lnTo>
                      <a:lnTo>
                        <a:pt x="5205" y="202"/>
                      </a:lnTo>
                      <a:lnTo>
                        <a:pt x="5229" y="238"/>
                      </a:lnTo>
                      <a:lnTo>
                        <a:pt x="5229" y="261"/>
                      </a:lnTo>
                      <a:lnTo>
                        <a:pt x="5205" y="285"/>
                      </a:lnTo>
                      <a:lnTo>
                        <a:pt x="5193" y="321"/>
                      </a:lnTo>
                      <a:lnTo>
                        <a:pt x="5146" y="380"/>
                      </a:lnTo>
                      <a:lnTo>
                        <a:pt x="5086" y="404"/>
                      </a:lnTo>
                      <a:lnTo>
                        <a:pt x="5062" y="416"/>
                      </a:lnTo>
                      <a:lnTo>
                        <a:pt x="5050" y="463"/>
                      </a:lnTo>
                      <a:lnTo>
                        <a:pt x="5050" y="499"/>
                      </a:lnTo>
                      <a:lnTo>
                        <a:pt x="5003" y="511"/>
                      </a:lnTo>
                      <a:lnTo>
                        <a:pt x="5003" y="570"/>
                      </a:lnTo>
                      <a:lnTo>
                        <a:pt x="4979" y="582"/>
                      </a:lnTo>
                      <a:lnTo>
                        <a:pt x="4932" y="594"/>
                      </a:lnTo>
                      <a:lnTo>
                        <a:pt x="4813" y="606"/>
                      </a:lnTo>
                      <a:lnTo>
                        <a:pt x="4813" y="630"/>
                      </a:lnTo>
                      <a:lnTo>
                        <a:pt x="4848" y="642"/>
                      </a:lnTo>
                      <a:lnTo>
                        <a:pt x="4848" y="653"/>
                      </a:lnTo>
                      <a:lnTo>
                        <a:pt x="4825" y="653"/>
                      </a:lnTo>
                      <a:lnTo>
                        <a:pt x="4813" y="665"/>
                      </a:lnTo>
                      <a:lnTo>
                        <a:pt x="4813" y="689"/>
                      </a:lnTo>
                      <a:lnTo>
                        <a:pt x="4801" y="713"/>
                      </a:lnTo>
                      <a:lnTo>
                        <a:pt x="4789" y="749"/>
                      </a:lnTo>
                      <a:lnTo>
                        <a:pt x="4718" y="784"/>
                      </a:lnTo>
                      <a:lnTo>
                        <a:pt x="4706" y="808"/>
                      </a:lnTo>
                      <a:lnTo>
                        <a:pt x="4646" y="832"/>
                      </a:lnTo>
                      <a:lnTo>
                        <a:pt x="4623" y="844"/>
                      </a:lnTo>
                      <a:lnTo>
                        <a:pt x="4611" y="844"/>
                      </a:lnTo>
                      <a:lnTo>
                        <a:pt x="4575" y="820"/>
                      </a:lnTo>
                      <a:lnTo>
                        <a:pt x="4516" y="832"/>
                      </a:lnTo>
                      <a:lnTo>
                        <a:pt x="4480" y="808"/>
                      </a:lnTo>
                      <a:lnTo>
                        <a:pt x="4456" y="844"/>
                      </a:lnTo>
                      <a:lnTo>
                        <a:pt x="4444" y="844"/>
                      </a:lnTo>
                      <a:lnTo>
                        <a:pt x="4421" y="832"/>
                      </a:lnTo>
                      <a:lnTo>
                        <a:pt x="4397" y="867"/>
                      </a:lnTo>
                      <a:lnTo>
                        <a:pt x="4385" y="867"/>
                      </a:lnTo>
                      <a:lnTo>
                        <a:pt x="4373" y="855"/>
                      </a:lnTo>
                      <a:lnTo>
                        <a:pt x="4373" y="820"/>
                      </a:lnTo>
                      <a:lnTo>
                        <a:pt x="4361" y="808"/>
                      </a:lnTo>
                      <a:lnTo>
                        <a:pt x="4337" y="832"/>
                      </a:lnTo>
                      <a:lnTo>
                        <a:pt x="4337" y="855"/>
                      </a:lnTo>
                      <a:lnTo>
                        <a:pt x="4302" y="879"/>
                      </a:lnTo>
                      <a:lnTo>
                        <a:pt x="4290" y="939"/>
                      </a:lnTo>
                      <a:lnTo>
                        <a:pt x="4278" y="951"/>
                      </a:lnTo>
                      <a:lnTo>
                        <a:pt x="4230" y="962"/>
                      </a:lnTo>
                      <a:lnTo>
                        <a:pt x="4230" y="1010"/>
                      </a:lnTo>
                      <a:lnTo>
                        <a:pt x="4183" y="1034"/>
                      </a:lnTo>
                      <a:lnTo>
                        <a:pt x="4135" y="1093"/>
                      </a:lnTo>
                      <a:lnTo>
                        <a:pt x="4147" y="1212"/>
                      </a:lnTo>
                      <a:lnTo>
                        <a:pt x="4135" y="1248"/>
                      </a:lnTo>
                      <a:lnTo>
                        <a:pt x="4088" y="1283"/>
                      </a:lnTo>
                      <a:lnTo>
                        <a:pt x="4064" y="1378"/>
                      </a:lnTo>
                      <a:lnTo>
                        <a:pt x="4017" y="1390"/>
                      </a:lnTo>
                      <a:lnTo>
                        <a:pt x="3981" y="1462"/>
                      </a:lnTo>
                      <a:lnTo>
                        <a:pt x="3945" y="1473"/>
                      </a:lnTo>
                      <a:lnTo>
                        <a:pt x="3910" y="1580"/>
                      </a:lnTo>
                      <a:lnTo>
                        <a:pt x="3862" y="1616"/>
                      </a:lnTo>
                      <a:lnTo>
                        <a:pt x="3862" y="1640"/>
                      </a:lnTo>
                      <a:lnTo>
                        <a:pt x="3874" y="1652"/>
                      </a:lnTo>
                      <a:lnTo>
                        <a:pt x="3862" y="1675"/>
                      </a:lnTo>
                      <a:lnTo>
                        <a:pt x="3791" y="1687"/>
                      </a:lnTo>
                      <a:lnTo>
                        <a:pt x="3755" y="1735"/>
                      </a:lnTo>
                      <a:lnTo>
                        <a:pt x="3743" y="1794"/>
                      </a:lnTo>
                      <a:lnTo>
                        <a:pt x="3791" y="1877"/>
                      </a:lnTo>
                      <a:lnTo>
                        <a:pt x="3803" y="1913"/>
                      </a:lnTo>
                      <a:lnTo>
                        <a:pt x="3803" y="1925"/>
                      </a:lnTo>
                      <a:lnTo>
                        <a:pt x="3862" y="1949"/>
                      </a:lnTo>
                      <a:lnTo>
                        <a:pt x="3898" y="2008"/>
                      </a:lnTo>
                      <a:lnTo>
                        <a:pt x="3898" y="2068"/>
                      </a:lnTo>
                      <a:lnTo>
                        <a:pt x="3922" y="2115"/>
                      </a:lnTo>
                      <a:lnTo>
                        <a:pt x="3910" y="2139"/>
                      </a:lnTo>
                      <a:lnTo>
                        <a:pt x="3886" y="2175"/>
                      </a:lnTo>
                      <a:lnTo>
                        <a:pt x="3874" y="2246"/>
                      </a:lnTo>
                      <a:lnTo>
                        <a:pt x="3826" y="2282"/>
                      </a:lnTo>
                      <a:lnTo>
                        <a:pt x="3803" y="2329"/>
                      </a:lnTo>
                      <a:lnTo>
                        <a:pt x="3803" y="2353"/>
                      </a:lnTo>
                      <a:lnTo>
                        <a:pt x="3826" y="2400"/>
                      </a:lnTo>
                      <a:lnTo>
                        <a:pt x="3815" y="2448"/>
                      </a:lnTo>
                      <a:lnTo>
                        <a:pt x="3850" y="2495"/>
                      </a:lnTo>
                      <a:lnTo>
                        <a:pt x="3874" y="2579"/>
                      </a:lnTo>
                      <a:lnTo>
                        <a:pt x="3910" y="2638"/>
                      </a:lnTo>
                      <a:lnTo>
                        <a:pt x="3910" y="2686"/>
                      </a:lnTo>
                      <a:lnTo>
                        <a:pt x="3922" y="2709"/>
                      </a:lnTo>
                      <a:lnTo>
                        <a:pt x="3910" y="2781"/>
                      </a:lnTo>
                      <a:lnTo>
                        <a:pt x="3922" y="2804"/>
                      </a:lnTo>
                      <a:lnTo>
                        <a:pt x="3945" y="2828"/>
                      </a:lnTo>
                      <a:lnTo>
                        <a:pt x="3957" y="2840"/>
                      </a:lnTo>
                      <a:lnTo>
                        <a:pt x="3957" y="2864"/>
                      </a:lnTo>
                      <a:lnTo>
                        <a:pt x="3957" y="2876"/>
                      </a:lnTo>
                      <a:lnTo>
                        <a:pt x="3945" y="2888"/>
                      </a:lnTo>
                      <a:lnTo>
                        <a:pt x="3957" y="2899"/>
                      </a:lnTo>
                      <a:lnTo>
                        <a:pt x="3969" y="2959"/>
                      </a:lnTo>
                      <a:lnTo>
                        <a:pt x="3945" y="2995"/>
                      </a:lnTo>
                      <a:lnTo>
                        <a:pt x="3945" y="3078"/>
                      </a:lnTo>
                      <a:lnTo>
                        <a:pt x="3933" y="3113"/>
                      </a:lnTo>
                      <a:lnTo>
                        <a:pt x="3910" y="3137"/>
                      </a:lnTo>
                      <a:lnTo>
                        <a:pt x="3815" y="3197"/>
                      </a:lnTo>
                      <a:lnTo>
                        <a:pt x="3791" y="3244"/>
                      </a:lnTo>
                      <a:lnTo>
                        <a:pt x="3743" y="3256"/>
                      </a:lnTo>
                      <a:lnTo>
                        <a:pt x="3719" y="3327"/>
                      </a:lnTo>
                      <a:lnTo>
                        <a:pt x="3696" y="3351"/>
                      </a:lnTo>
                      <a:lnTo>
                        <a:pt x="3660" y="3410"/>
                      </a:lnTo>
                      <a:lnTo>
                        <a:pt x="3601" y="3458"/>
                      </a:lnTo>
                      <a:lnTo>
                        <a:pt x="3601" y="3506"/>
                      </a:lnTo>
                      <a:lnTo>
                        <a:pt x="3624" y="3565"/>
                      </a:lnTo>
                      <a:lnTo>
                        <a:pt x="3624" y="3589"/>
                      </a:lnTo>
                      <a:lnTo>
                        <a:pt x="3601" y="3613"/>
                      </a:lnTo>
                      <a:lnTo>
                        <a:pt x="3601" y="3684"/>
                      </a:lnTo>
                      <a:lnTo>
                        <a:pt x="3624" y="3731"/>
                      </a:lnTo>
                      <a:lnTo>
                        <a:pt x="3601" y="3791"/>
                      </a:lnTo>
                      <a:lnTo>
                        <a:pt x="3624" y="3862"/>
                      </a:lnTo>
                      <a:lnTo>
                        <a:pt x="3636" y="3874"/>
                      </a:lnTo>
                      <a:lnTo>
                        <a:pt x="3648" y="3898"/>
                      </a:lnTo>
                      <a:lnTo>
                        <a:pt x="3648" y="3933"/>
                      </a:lnTo>
                      <a:lnTo>
                        <a:pt x="3636" y="3969"/>
                      </a:lnTo>
                      <a:lnTo>
                        <a:pt x="3660" y="4017"/>
                      </a:lnTo>
                      <a:lnTo>
                        <a:pt x="3731" y="4064"/>
                      </a:lnTo>
                      <a:lnTo>
                        <a:pt x="3755" y="4112"/>
                      </a:lnTo>
                      <a:lnTo>
                        <a:pt x="3803" y="4135"/>
                      </a:lnTo>
                      <a:lnTo>
                        <a:pt x="3826" y="4183"/>
                      </a:lnTo>
                      <a:lnTo>
                        <a:pt x="3874" y="4183"/>
                      </a:lnTo>
                      <a:lnTo>
                        <a:pt x="3886" y="4219"/>
                      </a:lnTo>
                      <a:lnTo>
                        <a:pt x="3886" y="4278"/>
                      </a:lnTo>
                      <a:lnTo>
                        <a:pt x="3910" y="4326"/>
                      </a:lnTo>
                      <a:lnTo>
                        <a:pt x="3862" y="4444"/>
                      </a:lnTo>
                      <a:lnTo>
                        <a:pt x="3850" y="4480"/>
                      </a:lnTo>
                      <a:lnTo>
                        <a:pt x="3838" y="4516"/>
                      </a:lnTo>
                      <a:lnTo>
                        <a:pt x="3826" y="4575"/>
                      </a:lnTo>
                      <a:lnTo>
                        <a:pt x="3791" y="4623"/>
                      </a:lnTo>
                      <a:lnTo>
                        <a:pt x="3755" y="4741"/>
                      </a:lnTo>
                      <a:lnTo>
                        <a:pt x="3731" y="4753"/>
                      </a:lnTo>
                      <a:lnTo>
                        <a:pt x="3672" y="4789"/>
                      </a:lnTo>
                      <a:lnTo>
                        <a:pt x="3553" y="4813"/>
                      </a:lnTo>
                      <a:lnTo>
                        <a:pt x="3482" y="4837"/>
                      </a:lnTo>
                      <a:lnTo>
                        <a:pt x="3470" y="4837"/>
                      </a:lnTo>
                      <a:lnTo>
                        <a:pt x="3434" y="4813"/>
                      </a:lnTo>
                      <a:lnTo>
                        <a:pt x="3399" y="4813"/>
                      </a:lnTo>
                      <a:lnTo>
                        <a:pt x="3363" y="4837"/>
                      </a:lnTo>
                      <a:lnTo>
                        <a:pt x="3292" y="4848"/>
                      </a:lnTo>
                      <a:lnTo>
                        <a:pt x="3220" y="4908"/>
                      </a:lnTo>
                      <a:lnTo>
                        <a:pt x="3149" y="4884"/>
                      </a:lnTo>
                      <a:lnTo>
                        <a:pt x="3066" y="4837"/>
                      </a:lnTo>
                      <a:lnTo>
                        <a:pt x="3042" y="4789"/>
                      </a:lnTo>
                      <a:lnTo>
                        <a:pt x="2995" y="4765"/>
                      </a:lnTo>
                      <a:lnTo>
                        <a:pt x="2923" y="4741"/>
                      </a:lnTo>
                      <a:lnTo>
                        <a:pt x="2804" y="4718"/>
                      </a:lnTo>
                      <a:lnTo>
                        <a:pt x="2769" y="4741"/>
                      </a:lnTo>
                      <a:lnTo>
                        <a:pt x="2757" y="4741"/>
                      </a:lnTo>
                      <a:lnTo>
                        <a:pt x="2650" y="4777"/>
                      </a:lnTo>
                      <a:lnTo>
                        <a:pt x="2579" y="4789"/>
                      </a:lnTo>
                      <a:lnTo>
                        <a:pt x="2460" y="4777"/>
                      </a:lnTo>
                      <a:lnTo>
                        <a:pt x="2436" y="4789"/>
                      </a:lnTo>
                      <a:lnTo>
                        <a:pt x="2424" y="4837"/>
                      </a:lnTo>
                      <a:lnTo>
                        <a:pt x="2388" y="4848"/>
                      </a:lnTo>
                      <a:lnTo>
                        <a:pt x="2365" y="4884"/>
                      </a:lnTo>
                      <a:lnTo>
                        <a:pt x="2317" y="4920"/>
                      </a:lnTo>
                      <a:lnTo>
                        <a:pt x="2305" y="4955"/>
                      </a:lnTo>
                      <a:lnTo>
                        <a:pt x="2282" y="4967"/>
                      </a:lnTo>
                      <a:lnTo>
                        <a:pt x="2282" y="4991"/>
                      </a:lnTo>
                      <a:lnTo>
                        <a:pt x="2246" y="5015"/>
                      </a:lnTo>
                      <a:lnTo>
                        <a:pt x="2234" y="5050"/>
                      </a:lnTo>
                      <a:lnTo>
                        <a:pt x="2186" y="5086"/>
                      </a:lnTo>
                      <a:lnTo>
                        <a:pt x="2163" y="5169"/>
                      </a:lnTo>
                      <a:lnTo>
                        <a:pt x="2115" y="5205"/>
                      </a:lnTo>
                      <a:lnTo>
                        <a:pt x="2056" y="5217"/>
                      </a:lnTo>
                      <a:lnTo>
                        <a:pt x="2020" y="5217"/>
                      </a:lnTo>
                      <a:lnTo>
                        <a:pt x="1961" y="5241"/>
                      </a:lnTo>
                      <a:lnTo>
                        <a:pt x="1806" y="5348"/>
                      </a:lnTo>
                      <a:lnTo>
                        <a:pt x="1771" y="5359"/>
                      </a:lnTo>
                      <a:lnTo>
                        <a:pt x="1735" y="5371"/>
                      </a:lnTo>
                      <a:lnTo>
                        <a:pt x="1628" y="5514"/>
                      </a:lnTo>
                      <a:lnTo>
                        <a:pt x="1604" y="5514"/>
                      </a:lnTo>
                      <a:lnTo>
                        <a:pt x="1580" y="5490"/>
                      </a:lnTo>
                      <a:lnTo>
                        <a:pt x="1545" y="5490"/>
                      </a:lnTo>
                      <a:lnTo>
                        <a:pt x="1485" y="5490"/>
                      </a:lnTo>
                      <a:lnTo>
                        <a:pt x="1450" y="5514"/>
                      </a:lnTo>
                      <a:lnTo>
                        <a:pt x="1402" y="5585"/>
                      </a:lnTo>
                      <a:lnTo>
                        <a:pt x="1355" y="5621"/>
                      </a:lnTo>
                      <a:lnTo>
                        <a:pt x="1236" y="5668"/>
                      </a:lnTo>
                      <a:lnTo>
                        <a:pt x="1153" y="5680"/>
                      </a:lnTo>
                      <a:lnTo>
                        <a:pt x="1058" y="5728"/>
                      </a:lnTo>
                      <a:lnTo>
                        <a:pt x="1010" y="5728"/>
                      </a:lnTo>
                      <a:lnTo>
                        <a:pt x="974" y="5752"/>
                      </a:lnTo>
                      <a:lnTo>
                        <a:pt x="927" y="5752"/>
                      </a:lnTo>
                      <a:lnTo>
                        <a:pt x="903" y="5763"/>
                      </a:lnTo>
                      <a:lnTo>
                        <a:pt x="855" y="5823"/>
                      </a:lnTo>
                      <a:lnTo>
                        <a:pt x="808" y="5870"/>
                      </a:lnTo>
                      <a:lnTo>
                        <a:pt x="737" y="5966"/>
                      </a:lnTo>
                      <a:lnTo>
                        <a:pt x="713" y="6037"/>
                      </a:lnTo>
                      <a:lnTo>
                        <a:pt x="677" y="6072"/>
                      </a:lnTo>
                      <a:lnTo>
                        <a:pt x="665" y="6144"/>
                      </a:lnTo>
                      <a:lnTo>
                        <a:pt x="630" y="6191"/>
                      </a:lnTo>
                      <a:lnTo>
                        <a:pt x="606" y="6322"/>
                      </a:lnTo>
                      <a:lnTo>
                        <a:pt x="570" y="6381"/>
                      </a:lnTo>
                      <a:lnTo>
                        <a:pt x="558" y="6417"/>
                      </a:lnTo>
                      <a:lnTo>
                        <a:pt x="570" y="6465"/>
                      </a:lnTo>
                      <a:lnTo>
                        <a:pt x="558" y="6524"/>
                      </a:lnTo>
                      <a:lnTo>
                        <a:pt x="511" y="6583"/>
                      </a:lnTo>
                      <a:lnTo>
                        <a:pt x="463" y="6690"/>
                      </a:lnTo>
                      <a:lnTo>
                        <a:pt x="428" y="6726"/>
                      </a:lnTo>
                      <a:lnTo>
                        <a:pt x="392" y="6797"/>
                      </a:lnTo>
                      <a:lnTo>
                        <a:pt x="321" y="6999"/>
                      </a:lnTo>
                      <a:lnTo>
                        <a:pt x="285" y="7083"/>
                      </a:lnTo>
                      <a:lnTo>
                        <a:pt x="202" y="7190"/>
                      </a:lnTo>
                      <a:lnTo>
                        <a:pt x="131" y="7261"/>
                      </a:lnTo>
                      <a:lnTo>
                        <a:pt x="119" y="7308"/>
                      </a:lnTo>
                      <a:lnTo>
                        <a:pt x="83" y="7356"/>
                      </a:lnTo>
                      <a:lnTo>
                        <a:pt x="83" y="7427"/>
                      </a:lnTo>
                      <a:lnTo>
                        <a:pt x="131" y="7510"/>
                      </a:lnTo>
                      <a:lnTo>
                        <a:pt x="142" y="7629"/>
                      </a:lnTo>
                      <a:lnTo>
                        <a:pt x="166" y="7712"/>
                      </a:lnTo>
                      <a:lnTo>
                        <a:pt x="166" y="7784"/>
                      </a:lnTo>
                      <a:lnTo>
                        <a:pt x="154" y="7831"/>
                      </a:lnTo>
                      <a:lnTo>
                        <a:pt x="178" y="7879"/>
                      </a:lnTo>
                      <a:lnTo>
                        <a:pt x="202" y="7891"/>
                      </a:lnTo>
                      <a:lnTo>
                        <a:pt x="297" y="7998"/>
                      </a:lnTo>
                      <a:lnTo>
                        <a:pt x="297" y="8045"/>
                      </a:lnTo>
                      <a:lnTo>
                        <a:pt x="273" y="8093"/>
                      </a:lnTo>
                      <a:lnTo>
                        <a:pt x="249" y="8140"/>
                      </a:lnTo>
                      <a:lnTo>
                        <a:pt x="226" y="8212"/>
                      </a:lnTo>
                      <a:lnTo>
                        <a:pt x="238" y="8271"/>
                      </a:lnTo>
                      <a:lnTo>
                        <a:pt x="249" y="8354"/>
                      </a:lnTo>
                      <a:lnTo>
                        <a:pt x="214" y="8437"/>
                      </a:lnTo>
                      <a:lnTo>
                        <a:pt x="202" y="8473"/>
                      </a:lnTo>
                      <a:lnTo>
                        <a:pt x="226" y="8580"/>
                      </a:lnTo>
                      <a:lnTo>
                        <a:pt x="226" y="8616"/>
                      </a:lnTo>
                      <a:lnTo>
                        <a:pt x="178" y="8699"/>
                      </a:lnTo>
                      <a:lnTo>
                        <a:pt x="166" y="8770"/>
                      </a:lnTo>
                      <a:lnTo>
                        <a:pt x="154" y="8806"/>
                      </a:lnTo>
                      <a:lnTo>
                        <a:pt x="83" y="8901"/>
                      </a:lnTo>
                      <a:lnTo>
                        <a:pt x="0" y="8984"/>
                      </a:lnTo>
                      <a:lnTo>
                        <a:pt x="24" y="9008"/>
                      </a:lnTo>
                      <a:lnTo>
                        <a:pt x="71" y="9008"/>
                      </a:lnTo>
                      <a:lnTo>
                        <a:pt x="107" y="9008"/>
                      </a:lnTo>
                      <a:lnTo>
                        <a:pt x="131" y="8996"/>
                      </a:lnTo>
                      <a:lnTo>
                        <a:pt x="142" y="8984"/>
                      </a:lnTo>
                      <a:lnTo>
                        <a:pt x="202" y="8984"/>
                      </a:lnTo>
                      <a:lnTo>
                        <a:pt x="226" y="8996"/>
                      </a:lnTo>
                      <a:lnTo>
                        <a:pt x="249" y="8996"/>
                      </a:lnTo>
                      <a:lnTo>
                        <a:pt x="321" y="8996"/>
                      </a:lnTo>
                      <a:lnTo>
                        <a:pt x="344" y="8972"/>
                      </a:lnTo>
                      <a:lnTo>
                        <a:pt x="404" y="8901"/>
                      </a:lnTo>
                      <a:lnTo>
                        <a:pt x="440" y="8865"/>
                      </a:lnTo>
                      <a:lnTo>
                        <a:pt x="499" y="8841"/>
                      </a:lnTo>
                      <a:lnTo>
                        <a:pt x="547" y="8853"/>
                      </a:lnTo>
                      <a:lnTo>
                        <a:pt x="570" y="8877"/>
                      </a:lnTo>
                      <a:lnTo>
                        <a:pt x="582" y="8996"/>
                      </a:lnTo>
                      <a:lnTo>
                        <a:pt x="618" y="9055"/>
                      </a:lnTo>
                      <a:lnTo>
                        <a:pt x="618" y="9127"/>
                      </a:lnTo>
                      <a:lnTo>
                        <a:pt x="630" y="9198"/>
                      </a:lnTo>
                      <a:lnTo>
                        <a:pt x="665" y="9293"/>
                      </a:lnTo>
                      <a:lnTo>
                        <a:pt x="677" y="9388"/>
                      </a:lnTo>
                      <a:lnTo>
                        <a:pt x="701" y="9436"/>
                      </a:lnTo>
                      <a:lnTo>
                        <a:pt x="784" y="9483"/>
                      </a:lnTo>
                      <a:lnTo>
                        <a:pt x="820" y="9519"/>
                      </a:lnTo>
                      <a:lnTo>
                        <a:pt x="832" y="9578"/>
                      </a:lnTo>
                      <a:lnTo>
                        <a:pt x="855" y="9638"/>
                      </a:lnTo>
                      <a:lnTo>
                        <a:pt x="891" y="9661"/>
                      </a:lnTo>
                      <a:lnTo>
                        <a:pt x="1022" y="9721"/>
                      </a:lnTo>
                      <a:lnTo>
                        <a:pt x="1153" y="9745"/>
                      </a:lnTo>
                      <a:lnTo>
                        <a:pt x="1236" y="9804"/>
                      </a:lnTo>
                      <a:lnTo>
                        <a:pt x="1295" y="9816"/>
                      </a:lnTo>
                      <a:lnTo>
                        <a:pt x="1366" y="9792"/>
                      </a:lnTo>
                      <a:lnTo>
                        <a:pt x="1414" y="9756"/>
                      </a:lnTo>
                      <a:lnTo>
                        <a:pt x="1473" y="9673"/>
                      </a:lnTo>
                      <a:lnTo>
                        <a:pt x="1569" y="9649"/>
                      </a:lnTo>
                      <a:lnTo>
                        <a:pt x="1580" y="9626"/>
                      </a:lnTo>
                      <a:lnTo>
                        <a:pt x="1592" y="9566"/>
                      </a:lnTo>
                      <a:lnTo>
                        <a:pt x="1604" y="9554"/>
                      </a:lnTo>
                      <a:lnTo>
                        <a:pt x="1652" y="9507"/>
                      </a:lnTo>
                      <a:lnTo>
                        <a:pt x="1699" y="9495"/>
                      </a:lnTo>
                      <a:lnTo>
                        <a:pt x="1699" y="9483"/>
                      </a:lnTo>
                      <a:lnTo>
                        <a:pt x="1735" y="9471"/>
                      </a:lnTo>
                      <a:lnTo>
                        <a:pt x="1771" y="9471"/>
                      </a:lnTo>
                      <a:lnTo>
                        <a:pt x="1806" y="9495"/>
                      </a:lnTo>
                      <a:lnTo>
                        <a:pt x="1842" y="9495"/>
                      </a:lnTo>
                      <a:lnTo>
                        <a:pt x="1901" y="9459"/>
                      </a:lnTo>
                      <a:lnTo>
                        <a:pt x="1949" y="9424"/>
                      </a:lnTo>
                      <a:lnTo>
                        <a:pt x="1961" y="9412"/>
                      </a:lnTo>
                      <a:lnTo>
                        <a:pt x="2056" y="9471"/>
                      </a:lnTo>
                      <a:lnTo>
                        <a:pt x="2091" y="9495"/>
                      </a:lnTo>
                      <a:lnTo>
                        <a:pt x="2163" y="9483"/>
                      </a:lnTo>
                      <a:lnTo>
                        <a:pt x="2234" y="9447"/>
                      </a:lnTo>
                      <a:lnTo>
                        <a:pt x="2282" y="9412"/>
                      </a:lnTo>
                      <a:lnTo>
                        <a:pt x="2305" y="9376"/>
                      </a:lnTo>
                      <a:lnTo>
                        <a:pt x="2329" y="9305"/>
                      </a:lnTo>
                      <a:lnTo>
                        <a:pt x="2341" y="9222"/>
                      </a:lnTo>
                      <a:lnTo>
                        <a:pt x="2388" y="9222"/>
                      </a:lnTo>
                      <a:lnTo>
                        <a:pt x="2400" y="9234"/>
                      </a:lnTo>
                      <a:lnTo>
                        <a:pt x="2448" y="9245"/>
                      </a:lnTo>
                      <a:lnTo>
                        <a:pt x="2484" y="9222"/>
                      </a:lnTo>
                      <a:lnTo>
                        <a:pt x="2507" y="9174"/>
                      </a:lnTo>
                      <a:lnTo>
                        <a:pt x="2555" y="9138"/>
                      </a:lnTo>
                      <a:lnTo>
                        <a:pt x="2602" y="9032"/>
                      </a:lnTo>
                      <a:lnTo>
                        <a:pt x="2602" y="9020"/>
                      </a:lnTo>
                      <a:lnTo>
                        <a:pt x="2638" y="8972"/>
                      </a:lnTo>
                      <a:lnTo>
                        <a:pt x="2638" y="8936"/>
                      </a:lnTo>
                      <a:lnTo>
                        <a:pt x="2662" y="8889"/>
                      </a:lnTo>
                      <a:lnTo>
                        <a:pt x="2697" y="8853"/>
                      </a:lnTo>
                      <a:lnTo>
                        <a:pt x="2745" y="8830"/>
                      </a:lnTo>
                      <a:lnTo>
                        <a:pt x="2781" y="8782"/>
                      </a:lnTo>
                      <a:lnTo>
                        <a:pt x="2793" y="8770"/>
                      </a:lnTo>
                      <a:lnTo>
                        <a:pt x="2757" y="8723"/>
                      </a:lnTo>
                      <a:lnTo>
                        <a:pt x="2769" y="8711"/>
                      </a:lnTo>
                      <a:lnTo>
                        <a:pt x="2769" y="8651"/>
                      </a:lnTo>
                      <a:lnTo>
                        <a:pt x="2793" y="8568"/>
                      </a:lnTo>
                      <a:lnTo>
                        <a:pt x="2757" y="8521"/>
                      </a:lnTo>
                      <a:lnTo>
                        <a:pt x="2697" y="8473"/>
                      </a:lnTo>
                      <a:lnTo>
                        <a:pt x="2662" y="8437"/>
                      </a:lnTo>
                      <a:lnTo>
                        <a:pt x="2662" y="8437"/>
                      </a:lnTo>
                      <a:lnTo>
                        <a:pt x="2579" y="8259"/>
                      </a:lnTo>
                      <a:lnTo>
                        <a:pt x="2579" y="8188"/>
                      </a:lnTo>
                      <a:lnTo>
                        <a:pt x="2602" y="8140"/>
                      </a:lnTo>
                      <a:lnTo>
                        <a:pt x="2662" y="8081"/>
                      </a:lnTo>
                      <a:lnTo>
                        <a:pt x="2757" y="8033"/>
                      </a:lnTo>
                      <a:lnTo>
                        <a:pt x="2852" y="7938"/>
                      </a:lnTo>
                      <a:lnTo>
                        <a:pt x="2947" y="7903"/>
                      </a:lnTo>
                      <a:lnTo>
                        <a:pt x="2983" y="7879"/>
                      </a:lnTo>
                      <a:lnTo>
                        <a:pt x="3006" y="7855"/>
                      </a:lnTo>
                      <a:lnTo>
                        <a:pt x="3030" y="7843"/>
                      </a:lnTo>
                      <a:lnTo>
                        <a:pt x="3054" y="7855"/>
                      </a:lnTo>
                      <a:lnTo>
                        <a:pt x="3090" y="7879"/>
                      </a:lnTo>
                      <a:lnTo>
                        <a:pt x="3149" y="7986"/>
                      </a:lnTo>
                      <a:lnTo>
                        <a:pt x="3161" y="7974"/>
                      </a:lnTo>
                      <a:lnTo>
                        <a:pt x="3208" y="8010"/>
                      </a:lnTo>
                      <a:lnTo>
                        <a:pt x="3268" y="8033"/>
                      </a:lnTo>
                      <a:lnTo>
                        <a:pt x="3327" y="8045"/>
                      </a:lnTo>
                      <a:lnTo>
                        <a:pt x="3387" y="8045"/>
                      </a:lnTo>
                      <a:lnTo>
                        <a:pt x="3458" y="8021"/>
                      </a:lnTo>
                      <a:lnTo>
                        <a:pt x="3529" y="8021"/>
                      </a:lnTo>
                      <a:lnTo>
                        <a:pt x="3577" y="8045"/>
                      </a:lnTo>
                      <a:lnTo>
                        <a:pt x="3624" y="8093"/>
                      </a:lnTo>
                      <a:lnTo>
                        <a:pt x="3660" y="8152"/>
                      </a:lnTo>
                      <a:lnTo>
                        <a:pt x="3684" y="8152"/>
                      </a:lnTo>
                      <a:lnTo>
                        <a:pt x="3719" y="8140"/>
                      </a:lnTo>
                      <a:lnTo>
                        <a:pt x="3743" y="8152"/>
                      </a:lnTo>
                      <a:lnTo>
                        <a:pt x="3755" y="8164"/>
                      </a:lnTo>
                      <a:lnTo>
                        <a:pt x="3767" y="8235"/>
                      </a:lnTo>
                      <a:lnTo>
                        <a:pt x="3791" y="8283"/>
                      </a:lnTo>
                      <a:lnTo>
                        <a:pt x="3815" y="8283"/>
                      </a:lnTo>
                      <a:lnTo>
                        <a:pt x="3862" y="8259"/>
                      </a:lnTo>
                      <a:lnTo>
                        <a:pt x="3898" y="8223"/>
                      </a:lnTo>
                      <a:lnTo>
                        <a:pt x="3898" y="8212"/>
                      </a:lnTo>
                      <a:lnTo>
                        <a:pt x="3957" y="8188"/>
                      </a:lnTo>
                      <a:lnTo>
                        <a:pt x="4005" y="8188"/>
                      </a:lnTo>
                      <a:lnTo>
                        <a:pt x="4028" y="8188"/>
                      </a:lnTo>
                      <a:lnTo>
                        <a:pt x="4076" y="8152"/>
                      </a:lnTo>
                      <a:lnTo>
                        <a:pt x="4147" y="8140"/>
                      </a:lnTo>
                      <a:lnTo>
                        <a:pt x="4219" y="8081"/>
                      </a:lnTo>
                      <a:lnTo>
                        <a:pt x="4278" y="8069"/>
                      </a:lnTo>
                      <a:lnTo>
                        <a:pt x="4314" y="8021"/>
                      </a:lnTo>
                      <a:lnTo>
                        <a:pt x="4409" y="7926"/>
                      </a:lnTo>
                      <a:lnTo>
                        <a:pt x="4456" y="7914"/>
                      </a:lnTo>
                      <a:lnTo>
                        <a:pt x="4516" y="7914"/>
                      </a:lnTo>
                      <a:lnTo>
                        <a:pt x="4635" y="7891"/>
                      </a:lnTo>
                      <a:lnTo>
                        <a:pt x="4789" y="7843"/>
                      </a:lnTo>
                      <a:lnTo>
                        <a:pt x="4848" y="7855"/>
                      </a:lnTo>
                      <a:lnTo>
                        <a:pt x="4884" y="7855"/>
                      </a:lnTo>
                      <a:lnTo>
                        <a:pt x="4944" y="7831"/>
                      </a:lnTo>
                      <a:lnTo>
                        <a:pt x="5027" y="7796"/>
                      </a:lnTo>
                      <a:lnTo>
                        <a:pt x="5122" y="7712"/>
                      </a:lnTo>
                      <a:lnTo>
                        <a:pt x="5146" y="7689"/>
                      </a:lnTo>
                      <a:lnTo>
                        <a:pt x="5169" y="7605"/>
                      </a:lnTo>
                      <a:lnTo>
                        <a:pt x="5181" y="7594"/>
                      </a:lnTo>
                      <a:lnTo>
                        <a:pt x="5312" y="7534"/>
                      </a:lnTo>
                      <a:lnTo>
                        <a:pt x="5359" y="7510"/>
                      </a:lnTo>
                      <a:lnTo>
                        <a:pt x="5407" y="7463"/>
                      </a:lnTo>
                      <a:lnTo>
                        <a:pt x="5443" y="7392"/>
                      </a:lnTo>
                      <a:lnTo>
                        <a:pt x="5478" y="7356"/>
                      </a:lnTo>
                      <a:lnTo>
                        <a:pt x="5597" y="7273"/>
                      </a:lnTo>
                      <a:lnTo>
                        <a:pt x="5597" y="7273"/>
                      </a:lnTo>
                      <a:lnTo>
                        <a:pt x="5692" y="7213"/>
                      </a:lnTo>
                      <a:lnTo>
                        <a:pt x="5787" y="7130"/>
                      </a:lnTo>
                      <a:lnTo>
                        <a:pt x="5835" y="7083"/>
                      </a:lnTo>
                      <a:lnTo>
                        <a:pt x="5835" y="7083"/>
                      </a:lnTo>
                      <a:lnTo>
                        <a:pt x="5882" y="7047"/>
                      </a:lnTo>
                      <a:lnTo>
                        <a:pt x="5906" y="7011"/>
                      </a:lnTo>
                      <a:lnTo>
                        <a:pt x="5954" y="6988"/>
                      </a:lnTo>
                      <a:lnTo>
                        <a:pt x="6001" y="6916"/>
                      </a:lnTo>
                      <a:lnTo>
                        <a:pt x="6037" y="6904"/>
                      </a:lnTo>
                      <a:lnTo>
                        <a:pt x="6120" y="6940"/>
                      </a:lnTo>
                      <a:lnTo>
                        <a:pt x="6144" y="6928"/>
                      </a:lnTo>
                      <a:lnTo>
                        <a:pt x="6144" y="6904"/>
                      </a:lnTo>
                      <a:lnTo>
                        <a:pt x="6168" y="6857"/>
                      </a:lnTo>
                      <a:lnTo>
                        <a:pt x="6203" y="6881"/>
                      </a:lnTo>
                      <a:lnTo>
                        <a:pt x="6239" y="6857"/>
                      </a:lnTo>
                      <a:lnTo>
                        <a:pt x="6298" y="6726"/>
                      </a:lnTo>
                      <a:lnTo>
                        <a:pt x="6393" y="6702"/>
                      </a:lnTo>
                      <a:lnTo>
                        <a:pt x="6417" y="6679"/>
                      </a:lnTo>
                      <a:lnTo>
                        <a:pt x="6453" y="6619"/>
                      </a:lnTo>
                      <a:lnTo>
                        <a:pt x="6500" y="6607"/>
                      </a:lnTo>
                      <a:lnTo>
                        <a:pt x="6524" y="6583"/>
                      </a:lnTo>
                      <a:lnTo>
                        <a:pt x="6536" y="6465"/>
                      </a:lnTo>
                      <a:lnTo>
                        <a:pt x="6595" y="6358"/>
                      </a:lnTo>
                      <a:lnTo>
                        <a:pt x="6607" y="6286"/>
                      </a:lnTo>
                      <a:lnTo>
                        <a:pt x="6619" y="6274"/>
                      </a:lnTo>
                      <a:lnTo>
                        <a:pt x="6619" y="6263"/>
                      </a:lnTo>
                      <a:lnTo>
                        <a:pt x="6619" y="6227"/>
                      </a:lnTo>
                      <a:lnTo>
                        <a:pt x="6607" y="6203"/>
                      </a:lnTo>
                      <a:lnTo>
                        <a:pt x="6583" y="6191"/>
                      </a:lnTo>
                      <a:lnTo>
                        <a:pt x="6488" y="6179"/>
                      </a:lnTo>
                      <a:lnTo>
                        <a:pt x="6465" y="6168"/>
                      </a:lnTo>
                      <a:lnTo>
                        <a:pt x="6453" y="6120"/>
                      </a:lnTo>
                      <a:lnTo>
                        <a:pt x="6477" y="6013"/>
                      </a:lnTo>
                      <a:lnTo>
                        <a:pt x="6477" y="5966"/>
                      </a:lnTo>
                      <a:lnTo>
                        <a:pt x="6429" y="5894"/>
                      </a:lnTo>
                      <a:lnTo>
                        <a:pt x="6405" y="5835"/>
                      </a:lnTo>
                      <a:lnTo>
                        <a:pt x="6429" y="5728"/>
                      </a:lnTo>
                      <a:lnTo>
                        <a:pt x="6417" y="5680"/>
                      </a:lnTo>
                      <a:lnTo>
                        <a:pt x="6453" y="5657"/>
                      </a:lnTo>
                      <a:lnTo>
                        <a:pt x="6477" y="5657"/>
                      </a:lnTo>
                      <a:lnTo>
                        <a:pt x="6500" y="5704"/>
                      </a:lnTo>
                      <a:lnTo>
                        <a:pt x="6560" y="5728"/>
                      </a:lnTo>
                      <a:lnTo>
                        <a:pt x="6607" y="5704"/>
                      </a:lnTo>
                      <a:lnTo>
                        <a:pt x="6655" y="5621"/>
                      </a:lnTo>
                      <a:lnTo>
                        <a:pt x="6655" y="5621"/>
                      </a:lnTo>
                      <a:lnTo>
                        <a:pt x="6655" y="5621"/>
                      </a:lnTo>
                      <a:lnTo>
                        <a:pt x="6655" y="5526"/>
                      </a:lnTo>
                      <a:lnTo>
                        <a:pt x="6655" y="5443"/>
                      </a:lnTo>
                      <a:lnTo>
                        <a:pt x="6679" y="5395"/>
                      </a:lnTo>
                      <a:lnTo>
                        <a:pt x="6667" y="5383"/>
                      </a:lnTo>
                      <a:lnTo>
                        <a:pt x="6690" y="5348"/>
                      </a:lnTo>
                      <a:lnTo>
                        <a:pt x="6738" y="5241"/>
                      </a:lnTo>
                      <a:lnTo>
                        <a:pt x="6750" y="5205"/>
                      </a:lnTo>
                      <a:lnTo>
                        <a:pt x="6750" y="5098"/>
                      </a:lnTo>
                      <a:lnTo>
                        <a:pt x="6797" y="5003"/>
                      </a:lnTo>
                      <a:lnTo>
                        <a:pt x="6797" y="4967"/>
                      </a:lnTo>
                      <a:lnTo>
                        <a:pt x="6786" y="4943"/>
                      </a:lnTo>
                      <a:lnTo>
                        <a:pt x="6774" y="4943"/>
                      </a:lnTo>
                      <a:lnTo>
                        <a:pt x="6726" y="4920"/>
                      </a:lnTo>
                      <a:lnTo>
                        <a:pt x="6655" y="4908"/>
                      </a:lnTo>
                      <a:lnTo>
                        <a:pt x="6572" y="4872"/>
                      </a:lnTo>
                      <a:lnTo>
                        <a:pt x="6488" y="4860"/>
                      </a:lnTo>
                      <a:lnTo>
                        <a:pt x="6429" y="4837"/>
                      </a:lnTo>
                      <a:lnTo>
                        <a:pt x="6417" y="4789"/>
                      </a:lnTo>
                      <a:lnTo>
                        <a:pt x="6429" y="4777"/>
                      </a:lnTo>
                      <a:lnTo>
                        <a:pt x="6417" y="4682"/>
                      </a:lnTo>
                      <a:lnTo>
                        <a:pt x="6393" y="4623"/>
                      </a:lnTo>
                      <a:lnTo>
                        <a:pt x="6346" y="4575"/>
                      </a:lnTo>
                      <a:lnTo>
                        <a:pt x="6298" y="4516"/>
                      </a:lnTo>
                      <a:lnTo>
                        <a:pt x="6322" y="4444"/>
                      </a:lnTo>
                      <a:lnTo>
                        <a:pt x="6322" y="4397"/>
                      </a:lnTo>
                      <a:lnTo>
                        <a:pt x="6286" y="4266"/>
                      </a:lnTo>
                      <a:lnTo>
                        <a:pt x="6275" y="4147"/>
                      </a:lnTo>
                      <a:lnTo>
                        <a:pt x="6251" y="4076"/>
                      </a:lnTo>
                      <a:lnTo>
                        <a:pt x="6251" y="4076"/>
                      </a:lnTo>
                      <a:lnTo>
                        <a:pt x="6227" y="4017"/>
                      </a:lnTo>
                      <a:lnTo>
                        <a:pt x="6239" y="3993"/>
                      </a:lnTo>
                      <a:lnTo>
                        <a:pt x="6263" y="3957"/>
                      </a:lnTo>
                      <a:lnTo>
                        <a:pt x="6275" y="3862"/>
                      </a:lnTo>
                      <a:lnTo>
                        <a:pt x="6263" y="3826"/>
                      </a:lnTo>
                      <a:lnTo>
                        <a:pt x="6227" y="3791"/>
                      </a:lnTo>
                      <a:lnTo>
                        <a:pt x="6239" y="3696"/>
                      </a:lnTo>
                      <a:lnTo>
                        <a:pt x="6215" y="3648"/>
                      </a:lnTo>
                      <a:lnTo>
                        <a:pt x="6191" y="3613"/>
                      </a:lnTo>
                      <a:lnTo>
                        <a:pt x="6191" y="3589"/>
                      </a:lnTo>
                      <a:lnTo>
                        <a:pt x="6203" y="3351"/>
                      </a:lnTo>
                      <a:lnTo>
                        <a:pt x="6191" y="3304"/>
                      </a:lnTo>
                      <a:lnTo>
                        <a:pt x="6179" y="3268"/>
                      </a:lnTo>
                      <a:lnTo>
                        <a:pt x="6144" y="3244"/>
                      </a:lnTo>
                      <a:lnTo>
                        <a:pt x="6156" y="3220"/>
                      </a:lnTo>
                      <a:lnTo>
                        <a:pt x="6168" y="3197"/>
                      </a:lnTo>
                      <a:lnTo>
                        <a:pt x="6156" y="3185"/>
                      </a:lnTo>
                      <a:lnTo>
                        <a:pt x="6203" y="3161"/>
                      </a:lnTo>
                      <a:lnTo>
                        <a:pt x="6215" y="3149"/>
                      </a:lnTo>
                      <a:lnTo>
                        <a:pt x="6227" y="3102"/>
                      </a:lnTo>
                      <a:lnTo>
                        <a:pt x="6203" y="2995"/>
                      </a:lnTo>
                      <a:lnTo>
                        <a:pt x="6203" y="2911"/>
                      </a:lnTo>
                      <a:lnTo>
                        <a:pt x="6168" y="2852"/>
                      </a:lnTo>
                      <a:lnTo>
                        <a:pt x="6120" y="2686"/>
                      </a:lnTo>
                      <a:lnTo>
                        <a:pt x="6144" y="2626"/>
                      </a:lnTo>
                      <a:lnTo>
                        <a:pt x="6132" y="2626"/>
                      </a:lnTo>
                      <a:lnTo>
                        <a:pt x="6156" y="2591"/>
                      </a:lnTo>
                      <a:lnTo>
                        <a:pt x="6156" y="2519"/>
                      </a:lnTo>
                      <a:lnTo>
                        <a:pt x="6168" y="2472"/>
                      </a:lnTo>
                      <a:lnTo>
                        <a:pt x="6168" y="2424"/>
                      </a:lnTo>
                      <a:lnTo>
                        <a:pt x="6132" y="2293"/>
                      </a:lnTo>
                      <a:lnTo>
                        <a:pt x="6120" y="2246"/>
                      </a:lnTo>
                      <a:lnTo>
                        <a:pt x="6132" y="2175"/>
                      </a:lnTo>
                      <a:lnTo>
                        <a:pt x="6179" y="2091"/>
                      </a:lnTo>
                      <a:lnTo>
                        <a:pt x="6191" y="2044"/>
                      </a:lnTo>
                      <a:lnTo>
                        <a:pt x="6179" y="1996"/>
                      </a:lnTo>
                      <a:lnTo>
                        <a:pt x="6108" y="1937"/>
                      </a:lnTo>
                      <a:lnTo>
                        <a:pt x="6061" y="1877"/>
                      </a:lnTo>
                      <a:lnTo>
                        <a:pt x="6025" y="1735"/>
                      </a:lnTo>
                      <a:lnTo>
                        <a:pt x="6013" y="1735"/>
                      </a:lnTo>
                      <a:lnTo>
                        <a:pt x="5989" y="1699"/>
                      </a:lnTo>
                      <a:lnTo>
                        <a:pt x="5930" y="1604"/>
                      </a:lnTo>
                      <a:lnTo>
                        <a:pt x="5882" y="1533"/>
                      </a:lnTo>
                      <a:lnTo>
                        <a:pt x="5823" y="1450"/>
                      </a:lnTo>
                      <a:lnTo>
                        <a:pt x="5823" y="1366"/>
                      </a:lnTo>
                      <a:lnTo>
                        <a:pt x="5823" y="1295"/>
                      </a:lnTo>
                      <a:lnTo>
                        <a:pt x="5775" y="1188"/>
                      </a:lnTo>
                      <a:lnTo>
                        <a:pt x="5752" y="1141"/>
                      </a:lnTo>
                      <a:lnTo>
                        <a:pt x="5764" y="1141"/>
                      </a:lnTo>
                      <a:lnTo>
                        <a:pt x="5728" y="1057"/>
                      </a:lnTo>
                      <a:lnTo>
                        <a:pt x="5728" y="951"/>
                      </a:lnTo>
                      <a:lnTo>
                        <a:pt x="5692" y="903"/>
                      </a:lnTo>
                      <a:lnTo>
                        <a:pt x="5668" y="820"/>
                      </a:lnTo>
                      <a:lnTo>
                        <a:pt x="5668" y="796"/>
                      </a:lnTo>
                      <a:lnTo>
                        <a:pt x="5680" y="737"/>
                      </a:lnTo>
                      <a:lnTo>
                        <a:pt x="5704" y="701"/>
                      </a:lnTo>
                      <a:lnTo>
                        <a:pt x="5704" y="665"/>
                      </a:lnTo>
                      <a:lnTo>
                        <a:pt x="5740" y="606"/>
                      </a:lnTo>
                      <a:lnTo>
                        <a:pt x="5752" y="558"/>
                      </a:lnTo>
                      <a:lnTo>
                        <a:pt x="5764" y="535"/>
                      </a:lnTo>
                      <a:lnTo>
                        <a:pt x="5775" y="535"/>
                      </a:lnTo>
                      <a:lnTo>
                        <a:pt x="5764" y="499"/>
                      </a:lnTo>
                      <a:lnTo>
                        <a:pt x="5799" y="451"/>
                      </a:lnTo>
                      <a:lnTo>
                        <a:pt x="5847" y="451"/>
                      </a:lnTo>
                      <a:lnTo>
                        <a:pt x="5870" y="416"/>
                      </a:lnTo>
                      <a:lnTo>
                        <a:pt x="5870" y="356"/>
                      </a:lnTo>
                      <a:lnTo>
                        <a:pt x="5835" y="309"/>
                      </a:lnTo>
                      <a:lnTo>
                        <a:pt x="5835" y="309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17" name="Freeform 304"/>
                <p:cNvSpPr>
                  <a:spLocks/>
                </p:cNvSpPr>
                <p:nvPr/>
              </p:nvSpPr>
              <p:spPr bwMode="auto">
                <a:xfrm>
                  <a:off x="-14911373" y="-33575628"/>
                  <a:ext cx="11299815" cy="12773039"/>
                </a:xfrm>
                <a:custGeom>
                  <a:avLst/>
                  <a:gdLst/>
                  <a:ahLst/>
                  <a:cxnLst>
                    <a:cxn ang="0">
                      <a:pos x="6881" y="4742"/>
                    </a:cxn>
                    <a:cxn ang="0">
                      <a:pos x="6619" y="4552"/>
                    </a:cxn>
                    <a:cxn ang="0">
                      <a:pos x="6239" y="4267"/>
                    </a:cxn>
                    <a:cxn ang="0">
                      <a:pos x="6132" y="3661"/>
                    </a:cxn>
                    <a:cxn ang="0">
                      <a:pos x="5942" y="3375"/>
                    </a:cxn>
                    <a:cxn ang="0">
                      <a:pos x="5930" y="2567"/>
                    </a:cxn>
                    <a:cxn ang="0">
                      <a:pos x="6120" y="1926"/>
                    </a:cxn>
                    <a:cxn ang="0">
                      <a:pos x="6381" y="1569"/>
                    </a:cxn>
                    <a:cxn ang="0">
                      <a:pos x="6179" y="1296"/>
                    </a:cxn>
                    <a:cxn ang="0">
                      <a:pos x="6025" y="999"/>
                    </a:cxn>
                    <a:cxn ang="0">
                      <a:pos x="5680" y="809"/>
                    </a:cxn>
                    <a:cxn ang="0">
                      <a:pos x="5787" y="179"/>
                    </a:cxn>
                    <a:cxn ang="0">
                      <a:pos x="5419" y="84"/>
                    </a:cxn>
                    <a:cxn ang="0">
                      <a:pos x="5050" y="226"/>
                    </a:cxn>
                    <a:cxn ang="0">
                      <a:pos x="5003" y="559"/>
                    </a:cxn>
                    <a:cxn ang="0">
                      <a:pos x="4468" y="904"/>
                    </a:cxn>
                    <a:cxn ang="0">
                      <a:pos x="4278" y="951"/>
                    </a:cxn>
                    <a:cxn ang="0">
                      <a:pos x="4017" y="1046"/>
                    </a:cxn>
                    <a:cxn ang="0">
                      <a:pos x="3719" y="1189"/>
                    </a:cxn>
                    <a:cxn ang="0">
                      <a:pos x="3351" y="1320"/>
                    </a:cxn>
                    <a:cxn ang="0">
                      <a:pos x="3066" y="1343"/>
                    </a:cxn>
                    <a:cxn ang="0">
                      <a:pos x="2781" y="1438"/>
                    </a:cxn>
                    <a:cxn ang="0">
                      <a:pos x="2519" y="1569"/>
                    </a:cxn>
                    <a:cxn ang="0">
                      <a:pos x="2507" y="1878"/>
                    </a:cxn>
                    <a:cxn ang="0">
                      <a:pos x="2210" y="1961"/>
                    </a:cxn>
                    <a:cxn ang="0">
                      <a:pos x="1937" y="1688"/>
                    </a:cxn>
                    <a:cxn ang="0">
                      <a:pos x="1664" y="1533"/>
                    </a:cxn>
                    <a:cxn ang="0">
                      <a:pos x="1628" y="1700"/>
                    </a:cxn>
                    <a:cxn ang="0">
                      <a:pos x="1188" y="1545"/>
                    </a:cxn>
                    <a:cxn ang="0">
                      <a:pos x="855" y="1367"/>
                    </a:cxn>
                    <a:cxn ang="0">
                      <a:pos x="190" y="1201"/>
                    </a:cxn>
                    <a:cxn ang="0">
                      <a:pos x="202" y="1462"/>
                    </a:cxn>
                    <a:cxn ang="0">
                      <a:pos x="535" y="1747"/>
                    </a:cxn>
                    <a:cxn ang="0">
                      <a:pos x="808" y="2033"/>
                    </a:cxn>
                    <a:cxn ang="0">
                      <a:pos x="737" y="2532"/>
                    </a:cxn>
                    <a:cxn ang="0">
                      <a:pos x="1034" y="3162"/>
                    </a:cxn>
                    <a:cxn ang="0">
                      <a:pos x="1366" y="3364"/>
                    </a:cxn>
                    <a:cxn ang="0">
                      <a:pos x="1771" y="3637"/>
                    </a:cxn>
                    <a:cxn ang="0">
                      <a:pos x="2270" y="3898"/>
                    </a:cxn>
                    <a:cxn ang="0">
                      <a:pos x="2579" y="4219"/>
                    </a:cxn>
                    <a:cxn ang="0">
                      <a:pos x="2519" y="4504"/>
                    </a:cxn>
                    <a:cxn ang="0">
                      <a:pos x="2816" y="5253"/>
                    </a:cxn>
                    <a:cxn ang="0">
                      <a:pos x="2793" y="5764"/>
                    </a:cxn>
                    <a:cxn ang="0">
                      <a:pos x="2971" y="6263"/>
                    </a:cxn>
                    <a:cxn ang="0">
                      <a:pos x="3102" y="6691"/>
                    </a:cxn>
                    <a:cxn ang="0">
                      <a:pos x="3030" y="7012"/>
                    </a:cxn>
                    <a:cxn ang="0">
                      <a:pos x="2816" y="7250"/>
                    </a:cxn>
                    <a:cxn ang="0">
                      <a:pos x="3232" y="7547"/>
                    </a:cxn>
                    <a:cxn ang="0">
                      <a:pos x="3446" y="7856"/>
                    </a:cxn>
                    <a:cxn ang="0">
                      <a:pos x="3874" y="7963"/>
                    </a:cxn>
                    <a:cxn ang="0">
                      <a:pos x="3874" y="7701"/>
                    </a:cxn>
                    <a:cxn ang="0">
                      <a:pos x="3898" y="7404"/>
                    </a:cxn>
                    <a:cxn ang="0">
                      <a:pos x="4076" y="7036"/>
                    </a:cxn>
                    <a:cxn ang="0">
                      <a:pos x="4492" y="6881"/>
                    </a:cxn>
                    <a:cxn ang="0">
                      <a:pos x="4718" y="7071"/>
                    </a:cxn>
                    <a:cxn ang="0">
                      <a:pos x="4872" y="7261"/>
                    </a:cxn>
                    <a:cxn ang="0">
                      <a:pos x="5110" y="7321"/>
                    </a:cxn>
                    <a:cxn ang="0">
                      <a:pos x="5395" y="7131"/>
                    </a:cxn>
                    <a:cxn ang="0">
                      <a:pos x="5324" y="6893"/>
                    </a:cxn>
                    <a:cxn ang="0">
                      <a:pos x="5573" y="6323"/>
                    </a:cxn>
                    <a:cxn ang="0">
                      <a:pos x="7094" y="6037"/>
                    </a:cxn>
                  </a:cxnLst>
                  <a:rect l="0" t="0" r="r" b="b"/>
                  <a:pathLst>
                    <a:path w="7118" h="8046">
                      <a:moveTo>
                        <a:pt x="7118" y="4861"/>
                      </a:moveTo>
                      <a:lnTo>
                        <a:pt x="7118" y="4861"/>
                      </a:lnTo>
                      <a:lnTo>
                        <a:pt x="7106" y="4790"/>
                      </a:lnTo>
                      <a:lnTo>
                        <a:pt x="7071" y="4754"/>
                      </a:lnTo>
                      <a:lnTo>
                        <a:pt x="6988" y="4718"/>
                      </a:lnTo>
                      <a:lnTo>
                        <a:pt x="6988" y="4730"/>
                      </a:lnTo>
                      <a:lnTo>
                        <a:pt x="6952" y="4742"/>
                      </a:lnTo>
                      <a:lnTo>
                        <a:pt x="6881" y="4742"/>
                      </a:lnTo>
                      <a:lnTo>
                        <a:pt x="6869" y="4730"/>
                      </a:lnTo>
                      <a:lnTo>
                        <a:pt x="6809" y="4695"/>
                      </a:lnTo>
                      <a:lnTo>
                        <a:pt x="6726" y="4683"/>
                      </a:lnTo>
                      <a:lnTo>
                        <a:pt x="6667" y="4659"/>
                      </a:lnTo>
                      <a:lnTo>
                        <a:pt x="6643" y="4623"/>
                      </a:lnTo>
                      <a:lnTo>
                        <a:pt x="6631" y="4588"/>
                      </a:lnTo>
                      <a:lnTo>
                        <a:pt x="6619" y="4576"/>
                      </a:lnTo>
                      <a:lnTo>
                        <a:pt x="6619" y="4552"/>
                      </a:lnTo>
                      <a:lnTo>
                        <a:pt x="6512" y="4504"/>
                      </a:lnTo>
                      <a:lnTo>
                        <a:pt x="6500" y="4445"/>
                      </a:lnTo>
                      <a:lnTo>
                        <a:pt x="6453" y="4386"/>
                      </a:lnTo>
                      <a:lnTo>
                        <a:pt x="6429" y="4362"/>
                      </a:lnTo>
                      <a:lnTo>
                        <a:pt x="6417" y="4362"/>
                      </a:lnTo>
                      <a:lnTo>
                        <a:pt x="6381" y="4314"/>
                      </a:lnTo>
                      <a:lnTo>
                        <a:pt x="6358" y="4290"/>
                      </a:lnTo>
                      <a:lnTo>
                        <a:pt x="6239" y="4267"/>
                      </a:lnTo>
                      <a:lnTo>
                        <a:pt x="6215" y="4243"/>
                      </a:lnTo>
                      <a:lnTo>
                        <a:pt x="6215" y="4219"/>
                      </a:lnTo>
                      <a:lnTo>
                        <a:pt x="6203" y="4160"/>
                      </a:lnTo>
                      <a:lnTo>
                        <a:pt x="6168" y="4112"/>
                      </a:lnTo>
                      <a:lnTo>
                        <a:pt x="6120" y="4065"/>
                      </a:lnTo>
                      <a:lnTo>
                        <a:pt x="6096" y="4017"/>
                      </a:lnTo>
                      <a:lnTo>
                        <a:pt x="6144" y="3791"/>
                      </a:lnTo>
                      <a:lnTo>
                        <a:pt x="6132" y="3661"/>
                      </a:lnTo>
                      <a:lnTo>
                        <a:pt x="6132" y="3577"/>
                      </a:lnTo>
                      <a:lnTo>
                        <a:pt x="6120" y="3554"/>
                      </a:lnTo>
                      <a:lnTo>
                        <a:pt x="6049" y="3554"/>
                      </a:lnTo>
                      <a:lnTo>
                        <a:pt x="6025" y="3494"/>
                      </a:lnTo>
                      <a:lnTo>
                        <a:pt x="5977" y="3494"/>
                      </a:lnTo>
                      <a:lnTo>
                        <a:pt x="5930" y="3470"/>
                      </a:lnTo>
                      <a:lnTo>
                        <a:pt x="5918" y="3435"/>
                      </a:lnTo>
                      <a:lnTo>
                        <a:pt x="5942" y="3375"/>
                      </a:lnTo>
                      <a:lnTo>
                        <a:pt x="5930" y="3304"/>
                      </a:lnTo>
                      <a:lnTo>
                        <a:pt x="5882" y="3233"/>
                      </a:lnTo>
                      <a:lnTo>
                        <a:pt x="5835" y="3114"/>
                      </a:lnTo>
                      <a:lnTo>
                        <a:pt x="5823" y="3019"/>
                      </a:lnTo>
                      <a:lnTo>
                        <a:pt x="5835" y="2983"/>
                      </a:lnTo>
                      <a:lnTo>
                        <a:pt x="5882" y="2639"/>
                      </a:lnTo>
                      <a:lnTo>
                        <a:pt x="5894" y="2603"/>
                      </a:lnTo>
                      <a:lnTo>
                        <a:pt x="5930" y="2567"/>
                      </a:lnTo>
                      <a:lnTo>
                        <a:pt x="5954" y="2484"/>
                      </a:lnTo>
                      <a:lnTo>
                        <a:pt x="6049" y="2294"/>
                      </a:lnTo>
                      <a:lnTo>
                        <a:pt x="6049" y="2175"/>
                      </a:lnTo>
                      <a:lnTo>
                        <a:pt x="6001" y="2092"/>
                      </a:lnTo>
                      <a:lnTo>
                        <a:pt x="5989" y="2044"/>
                      </a:lnTo>
                      <a:lnTo>
                        <a:pt x="6001" y="2033"/>
                      </a:lnTo>
                      <a:lnTo>
                        <a:pt x="6061" y="1997"/>
                      </a:lnTo>
                      <a:lnTo>
                        <a:pt x="6120" y="1926"/>
                      </a:lnTo>
                      <a:lnTo>
                        <a:pt x="6120" y="1902"/>
                      </a:lnTo>
                      <a:lnTo>
                        <a:pt x="6191" y="1866"/>
                      </a:lnTo>
                      <a:lnTo>
                        <a:pt x="6215" y="1854"/>
                      </a:lnTo>
                      <a:lnTo>
                        <a:pt x="6215" y="1819"/>
                      </a:lnTo>
                      <a:lnTo>
                        <a:pt x="6239" y="1771"/>
                      </a:lnTo>
                      <a:lnTo>
                        <a:pt x="6322" y="1712"/>
                      </a:lnTo>
                      <a:lnTo>
                        <a:pt x="6334" y="1629"/>
                      </a:lnTo>
                      <a:lnTo>
                        <a:pt x="6381" y="1569"/>
                      </a:lnTo>
                      <a:lnTo>
                        <a:pt x="6393" y="1545"/>
                      </a:lnTo>
                      <a:lnTo>
                        <a:pt x="6346" y="1510"/>
                      </a:lnTo>
                      <a:lnTo>
                        <a:pt x="6310" y="1450"/>
                      </a:lnTo>
                      <a:lnTo>
                        <a:pt x="6274" y="1426"/>
                      </a:lnTo>
                      <a:lnTo>
                        <a:pt x="6251" y="1391"/>
                      </a:lnTo>
                      <a:lnTo>
                        <a:pt x="6239" y="1331"/>
                      </a:lnTo>
                      <a:lnTo>
                        <a:pt x="6215" y="1308"/>
                      </a:lnTo>
                      <a:lnTo>
                        <a:pt x="6179" y="1296"/>
                      </a:lnTo>
                      <a:lnTo>
                        <a:pt x="6144" y="1248"/>
                      </a:lnTo>
                      <a:lnTo>
                        <a:pt x="6144" y="1213"/>
                      </a:lnTo>
                      <a:lnTo>
                        <a:pt x="6191" y="1129"/>
                      </a:lnTo>
                      <a:lnTo>
                        <a:pt x="6203" y="1094"/>
                      </a:lnTo>
                      <a:lnTo>
                        <a:pt x="6179" y="1070"/>
                      </a:lnTo>
                      <a:lnTo>
                        <a:pt x="6096" y="1011"/>
                      </a:lnTo>
                      <a:lnTo>
                        <a:pt x="6072" y="987"/>
                      </a:lnTo>
                      <a:lnTo>
                        <a:pt x="6025" y="999"/>
                      </a:lnTo>
                      <a:lnTo>
                        <a:pt x="5977" y="975"/>
                      </a:lnTo>
                      <a:lnTo>
                        <a:pt x="5930" y="975"/>
                      </a:lnTo>
                      <a:lnTo>
                        <a:pt x="5799" y="915"/>
                      </a:lnTo>
                      <a:lnTo>
                        <a:pt x="5752" y="904"/>
                      </a:lnTo>
                      <a:lnTo>
                        <a:pt x="5704" y="880"/>
                      </a:lnTo>
                      <a:lnTo>
                        <a:pt x="5645" y="880"/>
                      </a:lnTo>
                      <a:lnTo>
                        <a:pt x="5645" y="868"/>
                      </a:lnTo>
                      <a:lnTo>
                        <a:pt x="5680" y="809"/>
                      </a:lnTo>
                      <a:lnTo>
                        <a:pt x="5728" y="773"/>
                      </a:lnTo>
                      <a:lnTo>
                        <a:pt x="5763" y="725"/>
                      </a:lnTo>
                      <a:lnTo>
                        <a:pt x="5787" y="678"/>
                      </a:lnTo>
                      <a:lnTo>
                        <a:pt x="5787" y="535"/>
                      </a:lnTo>
                      <a:lnTo>
                        <a:pt x="5799" y="452"/>
                      </a:lnTo>
                      <a:lnTo>
                        <a:pt x="5787" y="393"/>
                      </a:lnTo>
                      <a:lnTo>
                        <a:pt x="5799" y="226"/>
                      </a:lnTo>
                      <a:lnTo>
                        <a:pt x="5787" y="179"/>
                      </a:lnTo>
                      <a:lnTo>
                        <a:pt x="5716" y="119"/>
                      </a:lnTo>
                      <a:lnTo>
                        <a:pt x="5704" y="84"/>
                      </a:lnTo>
                      <a:lnTo>
                        <a:pt x="5692" y="12"/>
                      </a:lnTo>
                      <a:lnTo>
                        <a:pt x="5657" y="24"/>
                      </a:lnTo>
                      <a:lnTo>
                        <a:pt x="5645" y="12"/>
                      </a:lnTo>
                      <a:lnTo>
                        <a:pt x="5621" y="0"/>
                      </a:lnTo>
                      <a:lnTo>
                        <a:pt x="5526" y="48"/>
                      </a:lnTo>
                      <a:lnTo>
                        <a:pt x="5419" y="84"/>
                      </a:lnTo>
                      <a:lnTo>
                        <a:pt x="5252" y="84"/>
                      </a:lnTo>
                      <a:lnTo>
                        <a:pt x="5146" y="107"/>
                      </a:lnTo>
                      <a:lnTo>
                        <a:pt x="5027" y="72"/>
                      </a:lnTo>
                      <a:lnTo>
                        <a:pt x="4979" y="84"/>
                      </a:lnTo>
                      <a:lnTo>
                        <a:pt x="4967" y="84"/>
                      </a:lnTo>
                      <a:lnTo>
                        <a:pt x="5074" y="202"/>
                      </a:lnTo>
                      <a:lnTo>
                        <a:pt x="5074" y="214"/>
                      </a:lnTo>
                      <a:lnTo>
                        <a:pt x="5050" y="226"/>
                      </a:lnTo>
                      <a:lnTo>
                        <a:pt x="5050" y="238"/>
                      </a:lnTo>
                      <a:lnTo>
                        <a:pt x="5062" y="274"/>
                      </a:lnTo>
                      <a:lnTo>
                        <a:pt x="5098" y="298"/>
                      </a:lnTo>
                      <a:lnTo>
                        <a:pt x="5122" y="333"/>
                      </a:lnTo>
                      <a:lnTo>
                        <a:pt x="5098" y="404"/>
                      </a:lnTo>
                      <a:lnTo>
                        <a:pt x="5062" y="452"/>
                      </a:lnTo>
                      <a:lnTo>
                        <a:pt x="5039" y="500"/>
                      </a:lnTo>
                      <a:lnTo>
                        <a:pt x="5003" y="559"/>
                      </a:lnTo>
                      <a:lnTo>
                        <a:pt x="4943" y="606"/>
                      </a:lnTo>
                      <a:lnTo>
                        <a:pt x="4753" y="666"/>
                      </a:lnTo>
                      <a:lnTo>
                        <a:pt x="4694" y="761"/>
                      </a:lnTo>
                      <a:lnTo>
                        <a:pt x="4670" y="832"/>
                      </a:lnTo>
                      <a:lnTo>
                        <a:pt x="4635" y="868"/>
                      </a:lnTo>
                      <a:lnTo>
                        <a:pt x="4575" y="880"/>
                      </a:lnTo>
                      <a:lnTo>
                        <a:pt x="4516" y="892"/>
                      </a:lnTo>
                      <a:lnTo>
                        <a:pt x="4468" y="904"/>
                      </a:lnTo>
                      <a:lnTo>
                        <a:pt x="4432" y="927"/>
                      </a:lnTo>
                      <a:lnTo>
                        <a:pt x="4326" y="892"/>
                      </a:lnTo>
                      <a:lnTo>
                        <a:pt x="4278" y="856"/>
                      </a:lnTo>
                      <a:lnTo>
                        <a:pt x="4278" y="868"/>
                      </a:lnTo>
                      <a:lnTo>
                        <a:pt x="4254" y="868"/>
                      </a:lnTo>
                      <a:lnTo>
                        <a:pt x="4242" y="892"/>
                      </a:lnTo>
                      <a:lnTo>
                        <a:pt x="4266" y="915"/>
                      </a:lnTo>
                      <a:lnTo>
                        <a:pt x="4278" y="951"/>
                      </a:lnTo>
                      <a:lnTo>
                        <a:pt x="4242" y="963"/>
                      </a:lnTo>
                      <a:lnTo>
                        <a:pt x="4219" y="999"/>
                      </a:lnTo>
                      <a:lnTo>
                        <a:pt x="4195" y="1011"/>
                      </a:lnTo>
                      <a:lnTo>
                        <a:pt x="4135" y="999"/>
                      </a:lnTo>
                      <a:lnTo>
                        <a:pt x="4076" y="987"/>
                      </a:lnTo>
                      <a:lnTo>
                        <a:pt x="4064" y="975"/>
                      </a:lnTo>
                      <a:lnTo>
                        <a:pt x="4005" y="1034"/>
                      </a:lnTo>
                      <a:lnTo>
                        <a:pt x="4017" y="1046"/>
                      </a:lnTo>
                      <a:lnTo>
                        <a:pt x="4005" y="1070"/>
                      </a:lnTo>
                      <a:lnTo>
                        <a:pt x="4005" y="1141"/>
                      </a:lnTo>
                      <a:lnTo>
                        <a:pt x="3993" y="1165"/>
                      </a:lnTo>
                      <a:lnTo>
                        <a:pt x="3921" y="1224"/>
                      </a:lnTo>
                      <a:lnTo>
                        <a:pt x="3874" y="1224"/>
                      </a:lnTo>
                      <a:lnTo>
                        <a:pt x="3815" y="1177"/>
                      </a:lnTo>
                      <a:lnTo>
                        <a:pt x="3755" y="1201"/>
                      </a:lnTo>
                      <a:lnTo>
                        <a:pt x="3719" y="1189"/>
                      </a:lnTo>
                      <a:lnTo>
                        <a:pt x="3696" y="1201"/>
                      </a:lnTo>
                      <a:lnTo>
                        <a:pt x="3648" y="1260"/>
                      </a:lnTo>
                      <a:lnTo>
                        <a:pt x="3648" y="1272"/>
                      </a:lnTo>
                      <a:lnTo>
                        <a:pt x="3624" y="1296"/>
                      </a:lnTo>
                      <a:lnTo>
                        <a:pt x="3565" y="1308"/>
                      </a:lnTo>
                      <a:lnTo>
                        <a:pt x="3529" y="1343"/>
                      </a:lnTo>
                      <a:lnTo>
                        <a:pt x="3446" y="1308"/>
                      </a:lnTo>
                      <a:lnTo>
                        <a:pt x="3351" y="1320"/>
                      </a:lnTo>
                      <a:lnTo>
                        <a:pt x="3315" y="1343"/>
                      </a:lnTo>
                      <a:lnTo>
                        <a:pt x="3280" y="1391"/>
                      </a:lnTo>
                      <a:lnTo>
                        <a:pt x="3244" y="1403"/>
                      </a:lnTo>
                      <a:lnTo>
                        <a:pt x="3244" y="1415"/>
                      </a:lnTo>
                      <a:lnTo>
                        <a:pt x="3197" y="1367"/>
                      </a:lnTo>
                      <a:lnTo>
                        <a:pt x="3185" y="1379"/>
                      </a:lnTo>
                      <a:lnTo>
                        <a:pt x="3102" y="1343"/>
                      </a:lnTo>
                      <a:lnTo>
                        <a:pt x="3066" y="1343"/>
                      </a:lnTo>
                      <a:lnTo>
                        <a:pt x="3018" y="1331"/>
                      </a:lnTo>
                      <a:lnTo>
                        <a:pt x="2959" y="1272"/>
                      </a:lnTo>
                      <a:lnTo>
                        <a:pt x="2911" y="1260"/>
                      </a:lnTo>
                      <a:lnTo>
                        <a:pt x="2888" y="1272"/>
                      </a:lnTo>
                      <a:lnTo>
                        <a:pt x="2852" y="1320"/>
                      </a:lnTo>
                      <a:lnTo>
                        <a:pt x="2793" y="1343"/>
                      </a:lnTo>
                      <a:lnTo>
                        <a:pt x="2769" y="1391"/>
                      </a:lnTo>
                      <a:lnTo>
                        <a:pt x="2781" y="1438"/>
                      </a:lnTo>
                      <a:lnTo>
                        <a:pt x="2757" y="1474"/>
                      </a:lnTo>
                      <a:lnTo>
                        <a:pt x="2721" y="1474"/>
                      </a:lnTo>
                      <a:lnTo>
                        <a:pt x="2662" y="1450"/>
                      </a:lnTo>
                      <a:lnTo>
                        <a:pt x="2590" y="1450"/>
                      </a:lnTo>
                      <a:lnTo>
                        <a:pt x="2531" y="1450"/>
                      </a:lnTo>
                      <a:lnTo>
                        <a:pt x="2495" y="1474"/>
                      </a:lnTo>
                      <a:lnTo>
                        <a:pt x="2495" y="1522"/>
                      </a:lnTo>
                      <a:lnTo>
                        <a:pt x="2519" y="1569"/>
                      </a:lnTo>
                      <a:lnTo>
                        <a:pt x="2495" y="1640"/>
                      </a:lnTo>
                      <a:lnTo>
                        <a:pt x="2507" y="1664"/>
                      </a:lnTo>
                      <a:lnTo>
                        <a:pt x="2519" y="1652"/>
                      </a:lnTo>
                      <a:lnTo>
                        <a:pt x="2531" y="1735"/>
                      </a:lnTo>
                      <a:lnTo>
                        <a:pt x="2543" y="1783"/>
                      </a:lnTo>
                      <a:lnTo>
                        <a:pt x="2543" y="1842"/>
                      </a:lnTo>
                      <a:lnTo>
                        <a:pt x="2531" y="1866"/>
                      </a:lnTo>
                      <a:lnTo>
                        <a:pt x="2507" y="1878"/>
                      </a:lnTo>
                      <a:lnTo>
                        <a:pt x="2472" y="1866"/>
                      </a:lnTo>
                      <a:lnTo>
                        <a:pt x="2436" y="1819"/>
                      </a:lnTo>
                      <a:lnTo>
                        <a:pt x="2412" y="1831"/>
                      </a:lnTo>
                      <a:lnTo>
                        <a:pt x="2377" y="1866"/>
                      </a:lnTo>
                      <a:lnTo>
                        <a:pt x="2329" y="1890"/>
                      </a:lnTo>
                      <a:lnTo>
                        <a:pt x="2293" y="1973"/>
                      </a:lnTo>
                      <a:lnTo>
                        <a:pt x="2270" y="1973"/>
                      </a:lnTo>
                      <a:lnTo>
                        <a:pt x="2210" y="1961"/>
                      </a:lnTo>
                      <a:lnTo>
                        <a:pt x="2186" y="1926"/>
                      </a:lnTo>
                      <a:lnTo>
                        <a:pt x="2151" y="1890"/>
                      </a:lnTo>
                      <a:lnTo>
                        <a:pt x="2127" y="1819"/>
                      </a:lnTo>
                      <a:lnTo>
                        <a:pt x="2103" y="1759"/>
                      </a:lnTo>
                      <a:lnTo>
                        <a:pt x="2091" y="1759"/>
                      </a:lnTo>
                      <a:lnTo>
                        <a:pt x="2044" y="1712"/>
                      </a:lnTo>
                      <a:lnTo>
                        <a:pt x="1949" y="1712"/>
                      </a:lnTo>
                      <a:lnTo>
                        <a:pt x="1937" y="1688"/>
                      </a:lnTo>
                      <a:lnTo>
                        <a:pt x="1937" y="1676"/>
                      </a:lnTo>
                      <a:lnTo>
                        <a:pt x="1949" y="1629"/>
                      </a:lnTo>
                      <a:lnTo>
                        <a:pt x="1973" y="1593"/>
                      </a:lnTo>
                      <a:lnTo>
                        <a:pt x="1961" y="1557"/>
                      </a:lnTo>
                      <a:lnTo>
                        <a:pt x="1949" y="1545"/>
                      </a:lnTo>
                      <a:lnTo>
                        <a:pt x="1794" y="1522"/>
                      </a:lnTo>
                      <a:lnTo>
                        <a:pt x="1711" y="1522"/>
                      </a:lnTo>
                      <a:lnTo>
                        <a:pt x="1664" y="1533"/>
                      </a:lnTo>
                      <a:lnTo>
                        <a:pt x="1675" y="1545"/>
                      </a:lnTo>
                      <a:lnTo>
                        <a:pt x="1723" y="1569"/>
                      </a:lnTo>
                      <a:lnTo>
                        <a:pt x="1735" y="1605"/>
                      </a:lnTo>
                      <a:lnTo>
                        <a:pt x="1699" y="1652"/>
                      </a:lnTo>
                      <a:lnTo>
                        <a:pt x="1640" y="1652"/>
                      </a:lnTo>
                      <a:lnTo>
                        <a:pt x="1628" y="1664"/>
                      </a:lnTo>
                      <a:lnTo>
                        <a:pt x="1628" y="1688"/>
                      </a:lnTo>
                      <a:lnTo>
                        <a:pt x="1628" y="1700"/>
                      </a:lnTo>
                      <a:lnTo>
                        <a:pt x="1616" y="1700"/>
                      </a:lnTo>
                      <a:lnTo>
                        <a:pt x="1509" y="1617"/>
                      </a:lnTo>
                      <a:lnTo>
                        <a:pt x="1497" y="1593"/>
                      </a:lnTo>
                      <a:lnTo>
                        <a:pt x="1450" y="1557"/>
                      </a:lnTo>
                      <a:lnTo>
                        <a:pt x="1307" y="1581"/>
                      </a:lnTo>
                      <a:lnTo>
                        <a:pt x="1260" y="1569"/>
                      </a:lnTo>
                      <a:lnTo>
                        <a:pt x="1224" y="1545"/>
                      </a:lnTo>
                      <a:lnTo>
                        <a:pt x="1188" y="1545"/>
                      </a:lnTo>
                      <a:lnTo>
                        <a:pt x="1129" y="1569"/>
                      </a:lnTo>
                      <a:lnTo>
                        <a:pt x="1129" y="1581"/>
                      </a:lnTo>
                      <a:lnTo>
                        <a:pt x="1081" y="1617"/>
                      </a:lnTo>
                      <a:lnTo>
                        <a:pt x="1046" y="1652"/>
                      </a:lnTo>
                      <a:lnTo>
                        <a:pt x="974" y="1629"/>
                      </a:lnTo>
                      <a:lnTo>
                        <a:pt x="939" y="1533"/>
                      </a:lnTo>
                      <a:lnTo>
                        <a:pt x="903" y="1486"/>
                      </a:lnTo>
                      <a:lnTo>
                        <a:pt x="855" y="1367"/>
                      </a:lnTo>
                      <a:lnTo>
                        <a:pt x="808" y="1343"/>
                      </a:lnTo>
                      <a:lnTo>
                        <a:pt x="677" y="1320"/>
                      </a:lnTo>
                      <a:lnTo>
                        <a:pt x="511" y="1320"/>
                      </a:lnTo>
                      <a:lnTo>
                        <a:pt x="380" y="1355"/>
                      </a:lnTo>
                      <a:lnTo>
                        <a:pt x="356" y="1355"/>
                      </a:lnTo>
                      <a:lnTo>
                        <a:pt x="297" y="1331"/>
                      </a:lnTo>
                      <a:lnTo>
                        <a:pt x="226" y="1236"/>
                      </a:lnTo>
                      <a:lnTo>
                        <a:pt x="190" y="1201"/>
                      </a:lnTo>
                      <a:lnTo>
                        <a:pt x="142" y="1177"/>
                      </a:lnTo>
                      <a:lnTo>
                        <a:pt x="107" y="1117"/>
                      </a:lnTo>
                      <a:lnTo>
                        <a:pt x="35" y="1106"/>
                      </a:lnTo>
                      <a:lnTo>
                        <a:pt x="24" y="1117"/>
                      </a:lnTo>
                      <a:lnTo>
                        <a:pt x="0" y="1141"/>
                      </a:lnTo>
                      <a:lnTo>
                        <a:pt x="0" y="1177"/>
                      </a:lnTo>
                      <a:lnTo>
                        <a:pt x="35" y="1248"/>
                      </a:lnTo>
                      <a:lnTo>
                        <a:pt x="202" y="1462"/>
                      </a:lnTo>
                      <a:lnTo>
                        <a:pt x="285" y="1510"/>
                      </a:lnTo>
                      <a:lnTo>
                        <a:pt x="285" y="1522"/>
                      </a:lnTo>
                      <a:lnTo>
                        <a:pt x="356" y="1605"/>
                      </a:lnTo>
                      <a:lnTo>
                        <a:pt x="392" y="1664"/>
                      </a:lnTo>
                      <a:lnTo>
                        <a:pt x="416" y="1712"/>
                      </a:lnTo>
                      <a:lnTo>
                        <a:pt x="428" y="1700"/>
                      </a:lnTo>
                      <a:lnTo>
                        <a:pt x="487" y="1735"/>
                      </a:lnTo>
                      <a:lnTo>
                        <a:pt x="535" y="1747"/>
                      </a:lnTo>
                      <a:lnTo>
                        <a:pt x="653" y="1807"/>
                      </a:lnTo>
                      <a:lnTo>
                        <a:pt x="701" y="1842"/>
                      </a:lnTo>
                      <a:lnTo>
                        <a:pt x="689" y="1866"/>
                      </a:lnTo>
                      <a:lnTo>
                        <a:pt x="701" y="1878"/>
                      </a:lnTo>
                      <a:lnTo>
                        <a:pt x="737" y="1937"/>
                      </a:lnTo>
                      <a:lnTo>
                        <a:pt x="784" y="1973"/>
                      </a:lnTo>
                      <a:lnTo>
                        <a:pt x="808" y="2009"/>
                      </a:lnTo>
                      <a:lnTo>
                        <a:pt x="808" y="2033"/>
                      </a:lnTo>
                      <a:lnTo>
                        <a:pt x="796" y="2068"/>
                      </a:lnTo>
                      <a:lnTo>
                        <a:pt x="760" y="2116"/>
                      </a:lnTo>
                      <a:lnTo>
                        <a:pt x="749" y="2163"/>
                      </a:lnTo>
                      <a:lnTo>
                        <a:pt x="737" y="2235"/>
                      </a:lnTo>
                      <a:lnTo>
                        <a:pt x="749" y="2282"/>
                      </a:lnTo>
                      <a:lnTo>
                        <a:pt x="760" y="2342"/>
                      </a:lnTo>
                      <a:lnTo>
                        <a:pt x="749" y="2448"/>
                      </a:lnTo>
                      <a:lnTo>
                        <a:pt x="737" y="2532"/>
                      </a:lnTo>
                      <a:lnTo>
                        <a:pt x="749" y="2567"/>
                      </a:lnTo>
                      <a:lnTo>
                        <a:pt x="844" y="2651"/>
                      </a:lnTo>
                      <a:lnTo>
                        <a:pt x="879" y="2734"/>
                      </a:lnTo>
                      <a:lnTo>
                        <a:pt x="939" y="2805"/>
                      </a:lnTo>
                      <a:lnTo>
                        <a:pt x="998" y="2924"/>
                      </a:lnTo>
                      <a:lnTo>
                        <a:pt x="1010" y="2995"/>
                      </a:lnTo>
                      <a:lnTo>
                        <a:pt x="1046" y="3078"/>
                      </a:lnTo>
                      <a:lnTo>
                        <a:pt x="1034" y="3162"/>
                      </a:lnTo>
                      <a:lnTo>
                        <a:pt x="939" y="3292"/>
                      </a:lnTo>
                      <a:lnTo>
                        <a:pt x="951" y="3304"/>
                      </a:lnTo>
                      <a:lnTo>
                        <a:pt x="974" y="3328"/>
                      </a:lnTo>
                      <a:lnTo>
                        <a:pt x="1034" y="3328"/>
                      </a:lnTo>
                      <a:lnTo>
                        <a:pt x="1093" y="3340"/>
                      </a:lnTo>
                      <a:lnTo>
                        <a:pt x="1260" y="3364"/>
                      </a:lnTo>
                      <a:lnTo>
                        <a:pt x="1331" y="3375"/>
                      </a:lnTo>
                      <a:lnTo>
                        <a:pt x="1366" y="3364"/>
                      </a:lnTo>
                      <a:lnTo>
                        <a:pt x="1580" y="3364"/>
                      </a:lnTo>
                      <a:lnTo>
                        <a:pt x="1640" y="3399"/>
                      </a:lnTo>
                      <a:lnTo>
                        <a:pt x="1747" y="3375"/>
                      </a:lnTo>
                      <a:lnTo>
                        <a:pt x="1771" y="3399"/>
                      </a:lnTo>
                      <a:lnTo>
                        <a:pt x="1782" y="3411"/>
                      </a:lnTo>
                      <a:lnTo>
                        <a:pt x="1782" y="3470"/>
                      </a:lnTo>
                      <a:lnTo>
                        <a:pt x="1771" y="3542"/>
                      </a:lnTo>
                      <a:lnTo>
                        <a:pt x="1771" y="3637"/>
                      </a:lnTo>
                      <a:lnTo>
                        <a:pt x="1866" y="3696"/>
                      </a:lnTo>
                      <a:lnTo>
                        <a:pt x="1901" y="3708"/>
                      </a:lnTo>
                      <a:lnTo>
                        <a:pt x="2044" y="3696"/>
                      </a:lnTo>
                      <a:lnTo>
                        <a:pt x="2068" y="3720"/>
                      </a:lnTo>
                      <a:lnTo>
                        <a:pt x="2127" y="3839"/>
                      </a:lnTo>
                      <a:lnTo>
                        <a:pt x="2151" y="3886"/>
                      </a:lnTo>
                      <a:lnTo>
                        <a:pt x="2210" y="3910"/>
                      </a:lnTo>
                      <a:lnTo>
                        <a:pt x="2270" y="3898"/>
                      </a:lnTo>
                      <a:lnTo>
                        <a:pt x="2341" y="3875"/>
                      </a:lnTo>
                      <a:lnTo>
                        <a:pt x="2377" y="3875"/>
                      </a:lnTo>
                      <a:lnTo>
                        <a:pt x="2448" y="3910"/>
                      </a:lnTo>
                      <a:lnTo>
                        <a:pt x="2507" y="3922"/>
                      </a:lnTo>
                      <a:lnTo>
                        <a:pt x="2567" y="3981"/>
                      </a:lnTo>
                      <a:lnTo>
                        <a:pt x="2579" y="4029"/>
                      </a:lnTo>
                      <a:lnTo>
                        <a:pt x="2579" y="4148"/>
                      </a:lnTo>
                      <a:lnTo>
                        <a:pt x="2579" y="4219"/>
                      </a:lnTo>
                      <a:lnTo>
                        <a:pt x="2543" y="4290"/>
                      </a:lnTo>
                      <a:lnTo>
                        <a:pt x="2460" y="4350"/>
                      </a:lnTo>
                      <a:lnTo>
                        <a:pt x="2448" y="4374"/>
                      </a:lnTo>
                      <a:lnTo>
                        <a:pt x="2448" y="4386"/>
                      </a:lnTo>
                      <a:lnTo>
                        <a:pt x="2460" y="4409"/>
                      </a:lnTo>
                      <a:lnTo>
                        <a:pt x="2484" y="4421"/>
                      </a:lnTo>
                      <a:lnTo>
                        <a:pt x="2507" y="4445"/>
                      </a:lnTo>
                      <a:lnTo>
                        <a:pt x="2519" y="4504"/>
                      </a:lnTo>
                      <a:lnTo>
                        <a:pt x="2531" y="4528"/>
                      </a:lnTo>
                      <a:lnTo>
                        <a:pt x="2555" y="4540"/>
                      </a:lnTo>
                      <a:lnTo>
                        <a:pt x="2614" y="4576"/>
                      </a:lnTo>
                      <a:lnTo>
                        <a:pt x="2638" y="4611"/>
                      </a:lnTo>
                      <a:lnTo>
                        <a:pt x="2686" y="4861"/>
                      </a:lnTo>
                      <a:lnTo>
                        <a:pt x="2745" y="5039"/>
                      </a:lnTo>
                      <a:lnTo>
                        <a:pt x="2769" y="5182"/>
                      </a:lnTo>
                      <a:lnTo>
                        <a:pt x="2816" y="5253"/>
                      </a:lnTo>
                      <a:lnTo>
                        <a:pt x="2840" y="5289"/>
                      </a:lnTo>
                      <a:lnTo>
                        <a:pt x="2852" y="5312"/>
                      </a:lnTo>
                      <a:lnTo>
                        <a:pt x="2852" y="5360"/>
                      </a:lnTo>
                      <a:lnTo>
                        <a:pt x="2745" y="5467"/>
                      </a:lnTo>
                      <a:lnTo>
                        <a:pt x="2745" y="5491"/>
                      </a:lnTo>
                      <a:lnTo>
                        <a:pt x="2757" y="5574"/>
                      </a:lnTo>
                      <a:lnTo>
                        <a:pt x="2793" y="5681"/>
                      </a:lnTo>
                      <a:lnTo>
                        <a:pt x="2793" y="5764"/>
                      </a:lnTo>
                      <a:lnTo>
                        <a:pt x="2840" y="5788"/>
                      </a:lnTo>
                      <a:lnTo>
                        <a:pt x="2864" y="5847"/>
                      </a:lnTo>
                      <a:lnTo>
                        <a:pt x="2840" y="5930"/>
                      </a:lnTo>
                      <a:lnTo>
                        <a:pt x="2864" y="6037"/>
                      </a:lnTo>
                      <a:lnTo>
                        <a:pt x="2888" y="6097"/>
                      </a:lnTo>
                      <a:lnTo>
                        <a:pt x="2888" y="6192"/>
                      </a:lnTo>
                      <a:lnTo>
                        <a:pt x="2899" y="6216"/>
                      </a:lnTo>
                      <a:lnTo>
                        <a:pt x="2971" y="6263"/>
                      </a:lnTo>
                      <a:lnTo>
                        <a:pt x="2995" y="6311"/>
                      </a:lnTo>
                      <a:lnTo>
                        <a:pt x="3006" y="6418"/>
                      </a:lnTo>
                      <a:lnTo>
                        <a:pt x="3078" y="6489"/>
                      </a:lnTo>
                      <a:lnTo>
                        <a:pt x="3090" y="6525"/>
                      </a:lnTo>
                      <a:lnTo>
                        <a:pt x="3090" y="6572"/>
                      </a:lnTo>
                      <a:lnTo>
                        <a:pt x="3090" y="6620"/>
                      </a:lnTo>
                      <a:lnTo>
                        <a:pt x="3078" y="6655"/>
                      </a:lnTo>
                      <a:lnTo>
                        <a:pt x="3102" y="6691"/>
                      </a:lnTo>
                      <a:lnTo>
                        <a:pt x="3149" y="6691"/>
                      </a:lnTo>
                      <a:lnTo>
                        <a:pt x="3161" y="6727"/>
                      </a:lnTo>
                      <a:lnTo>
                        <a:pt x="3149" y="6739"/>
                      </a:lnTo>
                      <a:lnTo>
                        <a:pt x="3125" y="6786"/>
                      </a:lnTo>
                      <a:lnTo>
                        <a:pt x="3054" y="6857"/>
                      </a:lnTo>
                      <a:lnTo>
                        <a:pt x="3018" y="6917"/>
                      </a:lnTo>
                      <a:lnTo>
                        <a:pt x="3018" y="6917"/>
                      </a:lnTo>
                      <a:lnTo>
                        <a:pt x="3030" y="7012"/>
                      </a:lnTo>
                      <a:lnTo>
                        <a:pt x="2995" y="7095"/>
                      </a:lnTo>
                      <a:lnTo>
                        <a:pt x="2935" y="7095"/>
                      </a:lnTo>
                      <a:lnTo>
                        <a:pt x="2911" y="7143"/>
                      </a:lnTo>
                      <a:lnTo>
                        <a:pt x="2852" y="7119"/>
                      </a:lnTo>
                      <a:lnTo>
                        <a:pt x="2816" y="7119"/>
                      </a:lnTo>
                      <a:lnTo>
                        <a:pt x="2793" y="7143"/>
                      </a:lnTo>
                      <a:lnTo>
                        <a:pt x="2793" y="7214"/>
                      </a:lnTo>
                      <a:lnTo>
                        <a:pt x="2816" y="7250"/>
                      </a:lnTo>
                      <a:lnTo>
                        <a:pt x="2864" y="7261"/>
                      </a:lnTo>
                      <a:lnTo>
                        <a:pt x="2888" y="7273"/>
                      </a:lnTo>
                      <a:lnTo>
                        <a:pt x="2923" y="7309"/>
                      </a:lnTo>
                      <a:lnTo>
                        <a:pt x="2971" y="7356"/>
                      </a:lnTo>
                      <a:lnTo>
                        <a:pt x="3042" y="7452"/>
                      </a:lnTo>
                      <a:lnTo>
                        <a:pt x="3090" y="7452"/>
                      </a:lnTo>
                      <a:lnTo>
                        <a:pt x="3125" y="7499"/>
                      </a:lnTo>
                      <a:lnTo>
                        <a:pt x="3232" y="7547"/>
                      </a:lnTo>
                      <a:lnTo>
                        <a:pt x="3280" y="7618"/>
                      </a:lnTo>
                      <a:lnTo>
                        <a:pt x="3315" y="7618"/>
                      </a:lnTo>
                      <a:lnTo>
                        <a:pt x="3351" y="7665"/>
                      </a:lnTo>
                      <a:lnTo>
                        <a:pt x="3375" y="7713"/>
                      </a:lnTo>
                      <a:lnTo>
                        <a:pt x="3410" y="7737"/>
                      </a:lnTo>
                      <a:lnTo>
                        <a:pt x="3410" y="7784"/>
                      </a:lnTo>
                      <a:lnTo>
                        <a:pt x="3434" y="7808"/>
                      </a:lnTo>
                      <a:lnTo>
                        <a:pt x="3446" y="7856"/>
                      </a:lnTo>
                      <a:lnTo>
                        <a:pt x="3482" y="7915"/>
                      </a:lnTo>
                      <a:lnTo>
                        <a:pt x="3529" y="7951"/>
                      </a:lnTo>
                      <a:lnTo>
                        <a:pt x="3648" y="7974"/>
                      </a:lnTo>
                      <a:lnTo>
                        <a:pt x="3684" y="7974"/>
                      </a:lnTo>
                      <a:lnTo>
                        <a:pt x="3719" y="7998"/>
                      </a:lnTo>
                      <a:lnTo>
                        <a:pt x="3838" y="8046"/>
                      </a:lnTo>
                      <a:lnTo>
                        <a:pt x="3886" y="7998"/>
                      </a:lnTo>
                      <a:lnTo>
                        <a:pt x="3874" y="7963"/>
                      </a:lnTo>
                      <a:lnTo>
                        <a:pt x="3874" y="7951"/>
                      </a:lnTo>
                      <a:lnTo>
                        <a:pt x="3898" y="7939"/>
                      </a:lnTo>
                      <a:lnTo>
                        <a:pt x="3898" y="7927"/>
                      </a:lnTo>
                      <a:lnTo>
                        <a:pt x="3898" y="7891"/>
                      </a:lnTo>
                      <a:lnTo>
                        <a:pt x="3886" y="7867"/>
                      </a:lnTo>
                      <a:lnTo>
                        <a:pt x="3850" y="7844"/>
                      </a:lnTo>
                      <a:lnTo>
                        <a:pt x="3850" y="7832"/>
                      </a:lnTo>
                      <a:lnTo>
                        <a:pt x="3874" y="7701"/>
                      </a:lnTo>
                      <a:lnTo>
                        <a:pt x="3898" y="7665"/>
                      </a:lnTo>
                      <a:lnTo>
                        <a:pt x="3910" y="7630"/>
                      </a:lnTo>
                      <a:lnTo>
                        <a:pt x="3898" y="7606"/>
                      </a:lnTo>
                      <a:lnTo>
                        <a:pt x="3898" y="7582"/>
                      </a:lnTo>
                      <a:lnTo>
                        <a:pt x="3921" y="7559"/>
                      </a:lnTo>
                      <a:lnTo>
                        <a:pt x="3933" y="7547"/>
                      </a:lnTo>
                      <a:lnTo>
                        <a:pt x="3933" y="7452"/>
                      </a:lnTo>
                      <a:lnTo>
                        <a:pt x="3898" y="7404"/>
                      </a:lnTo>
                      <a:lnTo>
                        <a:pt x="3886" y="7368"/>
                      </a:lnTo>
                      <a:lnTo>
                        <a:pt x="3933" y="7285"/>
                      </a:lnTo>
                      <a:lnTo>
                        <a:pt x="3945" y="7226"/>
                      </a:lnTo>
                      <a:lnTo>
                        <a:pt x="4028" y="7119"/>
                      </a:lnTo>
                      <a:lnTo>
                        <a:pt x="4040" y="7071"/>
                      </a:lnTo>
                      <a:lnTo>
                        <a:pt x="4052" y="7059"/>
                      </a:lnTo>
                      <a:lnTo>
                        <a:pt x="4064" y="7071"/>
                      </a:lnTo>
                      <a:lnTo>
                        <a:pt x="4076" y="7036"/>
                      </a:lnTo>
                      <a:lnTo>
                        <a:pt x="4147" y="7036"/>
                      </a:lnTo>
                      <a:lnTo>
                        <a:pt x="4195" y="7012"/>
                      </a:lnTo>
                      <a:lnTo>
                        <a:pt x="4290" y="6976"/>
                      </a:lnTo>
                      <a:lnTo>
                        <a:pt x="4326" y="6952"/>
                      </a:lnTo>
                      <a:lnTo>
                        <a:pt x="4337" y="6893"/>
                      </a:lnTo>
                      <a:lnTo>
                        <a:pt x="4373" y="6881"/>
                      </a:lnTo>
                      <a:lnTo>
                        <a:pt x="4432" y="6893"/>
                      </a:lnTo>
                      <a:lnTo>
                        <a:pt x="4492" y="6881"/>
                      </a:lnTo>
                      <a:lnTo>
                        <a:pt x="4516" y="6905"/>
                      </a:lnTo>
                      <a:lnTo>
                        <a:pt x="4528" y="6952"/>
                      </a:lnTo>
                      <a:lnTo>
                        <a:pt x="4551" y="6964"/>
                      </a:lnTo>
                      <a:lnTo>
                        <a:pt x="4635" y="6952"/>
                      </a:lnTo>
                      <a:lnTo>
                        <a:pt x="4670" y="6964"/>
                      </a:lnTo>
                      <a:lnTo>
                        <a:pt x="4694" y="6988"/>
                      </a:lnTo>
                      <a:lnTo>
                        <a:pt x="4706" y="7059"/>
                      </a:lnTo>
                      <a:lnTo>
                        <a:pt x="4718" y="7071"/>
                      </a:lnTo>
                      <a:lnTo>
                        <a:pt x="4765" y="7071"/>
                      </a:lnTo>
                      <a:lnTo>
                        <a:pt x="4777" y="7119"/>
                      </a:lnTo>
                      <a:lnTo>
                        <a:pt x="4813" y="7119"/>
                      </a:lnTo>
                      <a:lnTo>
                        <a:pt x="4825" y="7131"/>
                      </a:lnTo>
                      <a:lnTo>
                        <a:pt x="4825" y="7166"/>
                      </a:lnTo>
                      <a:lnTo>
                        <a:pt x="4848" y="7190"/>
                      </a:lnTo>
                      <a:lnTo>
                        <a:pt x="4848" y="7238"/>
                      </a:lnTo>
                      <a:lnTo>
                        <a:pt x="4872" y="7261"/>
                      </a:lnTo>
                      <a:lnTo>
                        <a:pt x="4860" y="7297"/>
                      </a:lnTo>
                      <a:lnTo>
                        <a:pt x="4872" y="7333"/>
                      </a:lnTo>
                      <a:lnTo>
                        <a:pt x="4884" y="7333"/>
                      </a:lnTo>
                      <a:lnTo>
                        <a:pt x="4932" y="7321"/>
                      </a:lnTo>
                      <a:lnTo>
                        <a:pt x="4967" y="7345"/>
                      </a:lnTo>
                      <a:lnTo>
                        <a:pt x="4991" y="7345"/>
                      </a:lnTo>
                      <a:lnTo>
                        <a:pt x="5050" y="7309"/>
                      </a:lnTo>
                      <a:lnTo>
                        <a:pt x="5110" y="7321"/>
                      </a:lnTo>
                      <a:lnTo>
                        <a:pt x="5134" y="7321"/>
                      </a:lnTo>
                      <a:lnTo>
                        <a:pt x="5169" y="7285"/>
                      </a:lnTo>
                      <a:lnTo>
                        <a:pt x="5193" y="7238"/>
                      </a:lnTo>
                      <a:lnTo>
                        <a:pt x="5205" y="7214"/>
                      </a:lnTo>
                      <a:lnTo>
                        <a:pt x="5252" y="7202"/>
                      </a:lnTo>
                      <a:lnTo>
                        <a:pt x="5300" y="7202"/>
                      </a:lnTo>
                      <a:lnTo>
                        <a:pt x="5371" y="7154"/>
                      </a:lnTo>
                      <a:lnTo>
                        <a:pt x="5395" y="7131"/>
                      </a:lnTo>
                      <a:lnTo>
                        <a:pt x="5407" y="7095"/>
                      </a:lnTo>
                      <a:lnTo>
                        <a:pt x="5407" y="7059"/>
                      </a:lnTo>
                      <a:lnTo>
                        <a:pt x="5348" y="7000"/>
                      </a:lnTo>
                      <a:lnTo>
                        <a:pt x="5324" y="6988"/>
                      </a:lnTo>
                      <a:lnTo>
                        <a:pt x="5324" y="6976"/>
                      </a:lnTo>
                      <a:lnTo>
                        <a:pt x="5324" y="6941"/>
                      </a:lnTo>
                      <a:lnTo>
                        <a:pt x="5324" y="6905"/>
                      </a:lnTo>
                      <a:lnTo>
                        <a:pt x="5324" y="6893"/>
                      </a:lnTo>
                      <a:lnTo>
                        <a:pt x="5359" y="6869"/>
                      </a:lnTo>
                      <a:lnTo>
                        <a:pt x="5348" y="6834"/>
                      </a:lnTo>
                      <a:lnTo>
                        <a:pt x="5348" y="6810"/>
                      </a:lnTo>
                      <a:lnTo>
                        <a:pt x="5371" y="6786"/>
                      </a:lnTo>
                      <a:lnTo>
                        <a:pt x="5419" y="6608"/>
                      </a:lnTo>
                      <a:lnTo>
                        <a:pt x="5466" y="6537"/>
                      </a:lnTo>
                      <a:lnTo>
                        <a:pt x="5502" y="6382"/>
                      </a:lnTo>
                      <a:lnTo>
                        <a:pt x="5573" y="6323"/>
                      </a:lnTo>
                      <a:lnTo>
                        <a:pt x="5585" y="6287"/>
                      </a:lnTo>
                      <a:lnTo>
                        <a:pt x="5621" y="6228"/>
                      </a:lnTo>
                      <a:lnTo>
                        <a:pt x="5645" y="6180"/>
                      </a:lnTo>
                      <a:lnTo>
                        <a:pt x="5704" y="6109"/>
                      </a:lnTo>
                      <a:lnTo>
                        <a:pt x="5716" y="6085"/>
                      </a:lnTo>
                      <a:lnTo>
                        <a:pt x="5692" y="6026"/>
                      </a:lnTo>
                      <a:lnTo>
                        <a:pt x="5752" y="6037"/>
                      </a:lnTo>
                      <a:lnTo>
                        <a:pt x="7094" y="6037"/>
                      </a:lnTo>
                      <a:lnTo>
                        <a:pt x="7094" y="6037"/>
                      </a:lnTo>
                      <a:lnTo>
                        <a:pt x="7106" y="5396"/>
                      </a:lnTo>
                      <a:lnTo>
                        <a:pt x="7118" y="5265"/>
                      </a:lnTo>
                      <a:lnTo>
                        <a:pt x="7106" y="5217"/>
                      </a:lnTo>
                      <a:lnTo>
                        <a:pt x="7118" y="4861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18" name="Freeform 306"/>
                <p:cNvSpPr>
                  <a:spLocks/>
                </p:cNvSpPr>
                <p:nvPr/>
              </p:nvSpPr>
              <p:spPr bwMode="auto">
                <a:xfrm>
                  <a:off x="-31740471" y="-27820946"/>
                  <a:ext cx="33486717" cy="23242598"/>
                </a:xfrm>
                <a:custGeom>
                  <a:avLst/>
                  <a:gdLst/>
                  <a:ahLst/>
                  <a:cxnLst>
                    <a:cxn ang="0">
                      <a:pos x="18480" y="12430"/>
                    </a:cxn>
                    <a:cxn ang="0">
                      <a:pos x="16959" y="13239"/>
                    </a:cxn>
                    <a:cxn ang="0">
                      <a:pos x="15140" y="13262"/>
                    </a:cxn>
                    <a:cxn ang="0">
                      <a:pos x="14368" y="13239"/>
                    </a:cxn>
                    <a:cxn ang="0">
                      <a:pos x="13667" y="12977"/>
                    </a:cxn>
                    <a:cxn ang="0">
                      <a:pos x="13191" y="12442"/>
                    </a:cxn>
                    <a:cxn ang="0">
                      <a:pos x="12181" y="12478"/>
                    </a:cxn>
                    <a:cxn ang="0">
                      <a:pos x="11837" y="13048"/>
                    </a:cxn>
                    <a:cxn ang="0">
                      <a:pos x="11361" y="13536"/>
                    </a:cxn>
                    <a:cxn ang="0">
                      <a:pos x="10613" y="13785"/>
                    </a:cxn>
                    <a:cxn ang="0">
                      <a:pos x="10209" y="13975"/>
                    </a:cxn>
                    <a:cxn ang="0">
                      <a:pos x="9543" y="14272"/>
                    </a:cxn>
                    <a:cxn ang="0">
                      <a:pos x="8866" y="14201"/>
                    </a:cxn>
                    <a:cxn ang="0">
                      <a:pos x="7570" y="14391"/>
                    </a:cxn>
                    <a:cxn ang="0">
                      <a:pos x="202" y="11218"/>
                    </a:cxn>
                    <a:cxn ang="0">
                      <a:pos x="654" y="10279"/>
                    </a:cxn>
                    <a:cxn ang="0">
                      <a:pos x="1046" y="9174"/>
                    </a:cxn>
                    <a:cxn ang="0">
                      <a:pos x="1795" y="8663"/>
                    </a:cxn>
                    <a:cxn ang="0">
                      <a:pos x="2484" y="8342"/>
                    </a:cxn>
                    <a:cxn ang="0">
                      <a:pos x="2841" y="8224"/>
                    </a:cxn>
                    <a:cxn ang="0">
                      <a:pos x="3102" y="8152"/>
                    </a:cxn>
                    <a:cxn ang="0">
                      <a:pos x="3566" y="7926"/>
                    </a:cxn>
                    <a:cxn ang="0">
                      <a:pos x="3851" y="7903"/>
                    </a:cxn>
                    <a:cxn ang="0">
                      <a:pos x="4136" y="8045"/>
                    </a:cxn>
                    <a:cxn ang="0">
                      <a:pos x="4516" y="7784"/>
                    </a:cxn>
                    <a:cxn ang="0">
                      <a:pos x="5039" y="4540"/>
                    </a:cxn>
                    <a:cxn ang="0">
                      <a:pos x="4885" y="3708"/>
                    </a:cxn>
                    <a:cxn ang="0">
                      <a:pos x="4291" y="2745"/>
                    </a:cxn>
                    <a:cxn ang="0">
                      <a:pos x="4837" y="1913"/>
                    </a:cxn>
                    <a:cxn ang="0">
                      <a:pos x="5431" y="1878"/>
                    </a:cxn>
                    <a:cxn ang="0">
                      <a:pos x="5134" y="1367"/>
                    </a:cxn>
                    <a:cxn ang="0">
                      <a:pos x="4730" y="594"/>
                    </a:cxn>
                    <a:cxn ang="0">
                      <a:pos x="6477" y="392"/>
                    </a:cxn>
                    <a:cxn ang="0">
                      <a:pos x="7178" y="285"/>
                    </a:cxn>
                    <a:cxn ang="0">
                      <a:pos x="7832" y="535"/>
                    </a:cxn>
                    <a:cxn ang="0">
                      <a:pos x="8652" y="1628"/>
                    </a:cxn>
                    <a:cxn ang="0">
                      <a:pos x="9781" y="1616"/>
                    </a:cxn>
                    <a:cxn ang="0">
                      <a:pos x="10114" y="1581"/>
                    </a:cxn>
                    <a:cxn ang="0">
                      <a:pos x="10815" y="1117"/>
                    </a:cxn>
                    <a:cxn ang="0">
                      <a:pos x="11231" y="974"/>
                    </a:cxn>
                    <a:cxn ang="0">
                      <a:pos x="11920" y="261"/>
                    </a:cxn>
                    <a:cxn ang="0">
                      <a:pos x="12811" y="285"/>
                    </a:cxn>
                    <a:cxn ang="0">
                      <a:pos x="13120" y="879"/>
                    </a:cxn>
                    <a:cxn ang="0">
                      <a:pos x="13441" y="2163"/>
                    </a:cxn>
                    <a:cxn ang="0">
                      <a:pos x="13762" y="3102"/>
                    </a:cxn>
                    <a:cxn ang="0">
                      <a:pos x="13524" y="3684"/>
                    </a:cxn>
                    <a:cxn ang="0">
                      <a:pos x="14285" y="4349"/>
                    </a:cxn>
                    <a:cxn ang="0">
                      <a:pos x="14522" y="3934"/>
                    </a:cxn>
                    <a:cxn ang="0">
                      <a:pos x="14974" y="3256"/>
                    </a:cxn>
                    <a:cxn ang="0">
                      <a:pos x="15449" y="3613"/>
                    </a:cxn>
                    <a:cxn ang="0">
                      <a:pos x="15996" y="3506"/>
                    </a:cxn>
                    <a:cxn ang="0">
                      <a:pos x="16186" y="2662"/>
                    </a:cxn>
                    <a:cxn ang="0">
                      <a:pos x="17791" y="3137"/>
                    </a:cxn>
                    <a:cxn ang="0">
                      <a:pos x="18254" y="3791"/>
                    </a:cxn>
                    <a:cxn ang="0">
                      <a:pos x="18801" y="4076"/>
                    </a:cxn>
                    <a:cxn ang="0">
                      <a:pos x="19454" y="4682"/>
                    </a:cxn>
                    <a:cxn ang="0">
                      <a:pos x="20167" y="5074"/>
                    </a:cxn>
                    <a:cxn ang="0">
                      <a:pos x="20880" y="5158"/>
                    </a:cxn>
                    <a:cxn ang="0">
                      <a:pos x="19419" y="8426"/>
                    </a:cxn>
                    <a:cxn ang="0">
                      <a:pos x="18302" y="10577"/>
                    </a:cxn>
                    <a:cxn ang="0">
                      <a:pos x="18634" y="11385"/>
                    </a:cxn>
                  </a:cxnLst>
                  <a:rect l="0" t="0" r="r" b="b"/>
                  <a:pathLst>
                    <a:path w="21094" h="14641">
                      <a:moveTo>
                        <a:pt x="18670" y="11515"/>
                      </a:moveTo>
                      <a:lnTo>
                        <a:pt x="18670" y="11515"/>
                      </a:lnTo>
                      <a:lnTo>
                        <a:pt x="18646" y="11539"/>
                      </a:lnTo>
                      <a:lnTo>
                        <a:pt x="18587" y="11610"/>
                      </a:lnTo>
                      <a:lnTo>
                        <a:pt x="18563" y="11694"/>
                      </a:lnTo>
                      <a:lnTo>
                        <a:pt x="18587" y="11801"/>
                      </a:lnTo>
                      <a:lnTo>
                        <a:pt x="18575" y="11848"/>
                      </a:lnTo>
                      <a:lnTo>
                        <a:pt x="18515" y="11896"/>
                      </a:lnTo>
                      <a:lnTo>
                        <a:pt x="18492" y="11931"/>
                      </a:lnTo>
                      <a:lnTo>
                        <a:pt x="18480" y="11991"/>
                      </a:lnTo>
                      <a:lnTo>
                        <a:pt x="18456" y="12038"/>
                      </a:lnTo>
                      <a:lnTo>
                        <a:pt x="18409" y="12074"/>
                      </a:lnTo>
                      <a:lnTo>
                        <a:pt x="18385" y="12121"/>
                      </a:lnTo>
                      <a:lnTo>
                        <a:pt x="18385" y="12169"/>
                      </a:lnTo>
                      <a:lnTo>
                        <a:pt x="18432" y="12228"/>
                      </a:lnTo>
                      <a:lnTo>
                        <a:pt x="18492" y="12383"/>
                      </a:lnTo>
                      <a:lnTo>
                        <a:pt x="18480" y="12430"/>
                      </a:lnTo>
                      <a:lnTo>
                        <a:pt x="18456" y="12478"/>
                      </a:lnTo>
                      <a:lnTo>
                        <a:pt x="18456" y="12597"/>
                      </a:lnTo>
                      <a:lnTo>
                        <a:pt x="18468" y="12656"/>
                      </a:lnTo>
                      <a:lnTo>
                        <a:pt x="18409" y="12716"/>
                      </a:lnTo>
                      <a:lnTo>
                        <a:pt x="18397" y="12787"/>
                      </a:lnTo>
                      <a:lnTo>
                        <a:pt x="18349" y="12870"/>
                      </a:lnTo>
                      <a:lnTo>
                        <a:pt x="18337" y="12918"/>
                      </a:lnTo>
                      <a:lnTo>
                        <a:pt x="18361" y="13037"/>
                      </a:lnTo>
                      <a:lnTo>
                        <a:pt x="18337" y="13108"/>
                      </a:lnTo>
                      <a:lnTo>
                        <a:pt x="18337" y="13143"/>
                      </a:lnTo>
                      <a:lnTo>
                        <a:pt x="18385" y="13167"/>
                      </a:lnTo>
                      <a:lnTo>
                        <a:pt x="18325" y="13227"/>
                      </a:lnTo>
                      <a:lnTo>
                        <a:pt x="18111" y="13215"/>
                      </a:lnTo>
                      <a:lnTo>
                        <a:pt x="17351" y="13239"/>
                      </a:lnTo>
                      <a:lnTo>
                        <a:pt x="17327" y="13227"/>
                      </a:lnTo>
                      <a:lnTo>
                        <a:pt x="17291" y="13239"/>
                      </a:lnTo>
                      <a:lnTo>
                        <a:pt x="16959" y="13239"/>
                      </a:lnTo>
                      <a:lnTo>
                        <a:pt x="16875" y="13239"/>
                      </a:lnTo>
                      <a:lnTo>
                        <a:pt x="16875" y="13239"/>
                      </a:lnTo>
                      <a:lnTo>
                        <a:pt x="16590" y="13250"/>
                      </a:lnTo>
                      <a:lnTo>
                        <a:pt x="16543" y="13239"/>
                      </a:lnTo>
                      <a:lnTo>
                        <a:pt x="16495" y="13250"/>
                      </a:lnTo>
                      <a:lnTo>
                        <a:pt x="16495" y="13262"/>
                      </a:lnTo>
                      <a:lnTo>
                        <a:pt x="16448" y="13250"/>
                      </a:lnTo>
                      <a:lnTo>
                        <a:pt x="16436" y="13250"/>
                      </a:lnTo>
                      <a:lnTo>
                        <a:pt x="16174" y="13250"/>
                      </a:lnTo>
                      <a:lnTo>
                        <a:pt x="16174" y="13262"/>
                      </a:lnTo>
                      <a:lnTo>
                        <a:pt x="16115" y="13250"/>
                      </a:lnTo>
                      <a:lnTo>
                        <a:pt x="15758" y="13262"/>
                      </a:lnTo>
                      <a:lnTo>
                        <a:pt x="15687" y="13250"/>
                      </a:lnTo>
                      <a:lnTo>
                        <a:pt x="15687" y="13262"/>
                      </a:lnTo>
                      <a:lnTo>
                        <a:pt x="15461" y="13274"/>
                      </a:lnTo>
                      <a:lnTo>
                        <a:pt x="15271" y="13274"/>
                      </a:lnTo>
                      <a:lnTo>
                        <a:pt x="15140" y="13262"/>
                      </a:lnTo>
                      <a:lnTo>
                        <a:pt x="15140" y="13274"/>
                      </a:lnTo>
                      <a:lnTo>
                        <a:pt x="15117" y="13274"/>
                      </a:lnTo>
                      <a:lnTo>
                        <a:pt x="14831" y="13274"/>
                      </a:lnTo>
                      <a:lnTo>
                        <a:pt x="14784" y="13274"/>
                      </a:lnTo>
                      <a:lnTo>
                        <a:pt x="14784" y="13286"/>
                      </a:lnTo>
                      <a:lnTo>
                        <a:pt x="14653" y="13286"/>
                      </a:lnTo>
                      <a:lnTo>
                        <a:pt x="14618" y="13298"/>
                      </a:lnTo>
                      <a:lnTo>
                        <a:pt x="14594" y="13286"/>
                      </a:lnTo>
                      <a:lnTo>
                        <a:pt x="14546" y="13227"/>
                      </a:lnTo>
                      <a:lnTo>
                        <a:pt x="14487" y="13215"/>
                      </a:lnTo>
                      <a:lnTo>
                        <a:pt x="14463" y="13179"/>
                      </a:lnTo>
                      <a:lnTo>
                        <a:pt x="14451" y="13167"/>
                      </a:lnTo>
                      <a:lnTo>
                        <a:pt x="14427" y="13155"/>
                      </a:lnTo>
                      <a:lnTo>
                        <a:pt x="14416" y="13167"/>
                      </a:lnTo>
                      <a:lnTo>
                        <a:pt x="14392" y="13215"/>
                      </a:lnTo>
                      <a:lnTo>
                        <a:pt x="14380" y="13227"/>
                      </a:lnTo>
                      <a:lnTo>
                        <a:pt x="14368" y="13239"/>
                      </a:lnTo>
                      <a:lnTo>
                        <a:pt x="14320" y="13215"/>
                      </a:lnTo>
                      <a:lnTo>
                        <a:pt x="14285" y="13227"/>
                      </a:lnTo>
                      <a:lnTo>
                        <a:pt x="14285" y="13250"/>
                      </a:lnTo>
                      <a:lnTo>
                        <a:pt x="14261" y="13286"/>
                      </a:lnTo>
                      <a:lnTo>
                        <a:pt x="14261" y="13345"/>
                      </a:lnTo>
                      <a:lnTo>
                        <a:pt x="14249" y="13357"/>
                      </a:lnTo>
                      <a:lnTo>
                        <a:pt x="14214" y="13381"/>
                      </a:lnTo>
                      <a:lnTo>
                        <a:pt x="14190" y="13381"/>
                      </a:lnTo>
                      <a:lnTo>
                        <a:pt x="14023" y="13298"/>
                      </a:lnTo>
                      <a:lnTo>
                        <a:pt x="13928" y="13274"/>
                      </a:lnTo>
                      <a:lnTo>
                        <a:pt x="13893" y="13203"/>
                      </a:lnTo>
                      <a:lnTo>
                        <a:pt x="13869" y="13072"/>
                      </a:lnTo>
                      <a:lnTo>
                        <a:pt x="13857" y="13060"/>
                      </a:lnTo>
                      <a:lnTo>
                        <a:pt x="13821" y="13060"/>
                      </a:lnTo>
                      <a:lnTo>
                        <a:pt x="13750" y="13084"/>
                      </a:lnTo>
                      <a:lnTo>
                        <a:pt x="13703" y="13060"/>
                      </a:lnTo>
                      <a:lnTo>
                        <a:pt x="13667" y="12977"/>
                      </a:lnTo>
                      <a:lnTo>
                        <a:pt x="13643" y="12858"/>
                      </a:lnTo>
                      <a:lnTo>
                        <a:pt x="13584" y="12775"/>
                      </a:lnTo>
                      <a:lnTo>
                        <a:pt x="13548" y="12775"/>
                      </a:lnTo>
                      <a:lnTo>
                        <a:pt x="13548" y="12775"/>
                      </a:lnTo>
                      <a:lnTo>
                        <a:pt x="13500" y="12787"/>
                      </a:lnTo>
                      <a:lnTo>
                        <a:pt x="13500" y="12787"/>
                      </a:lnTo>
                      <a:lnTo>
                        <a:pt x="13477" y="12823"/>
                      </a:lnTo>
                      <a:lnTo>
                        <a:pt x="13465" y="12823"/>
                      </a:lnTo>
                      <a:lnTo>
                        <a:pt x="13417" y="12799"/>
                      </a:lnTo>
                      <a:lnTo>
                        <a:pt x="13382" y="12728"/>
                      </a:lnTo>
                      <a:lnTo>
                        <a:pt x="13346" y="12692"/>
                      </a:lnTo>
                      <a:lnTo>
                        <a:pt x="13287" y="12656"/>
                      </a:lnTo>
                      <a:lnTo>
                        <a:pt x="13263" y="12621"/>
                      </a:lnTo>
                      <a:lnTo>
                        <a:pt x="13275" y="12526"/>
                      </a:lnTo>
                      <a:lnTo>
                        <a:pt x="13251" y="12466"/>
                      </a:lnTo>
                      <a:lnTo>
                        <a:pt x="13191" y="12430"/>
                      </a:lnTo>
                      <a:lnTo>
                        <a:pt x="13191" y="12442"/>
                      </a:lnTo>
                      <a:lnTo>
                        <a:pt x="13156" y="12442"/>
                      </a:lnTo>
                      <a:lnTo>
                        <a:pt x="13120" y="12430"/>
                      </a:lnTo>
                      <a:lnTo>
                        <a:pt x="13096" y="12383"/>
                      </a:lnTo>
                      <a:lnTo>
                        <a:pt x="13085" y="12371"/>
                      </a:lnTo>
                      <a:lnTo>
                        <a:pt x="12883" y="12347"/>
                      </a:lnTo>
                      <a:lnTo>
                        <a:pt x="12883" y="12359"/>
                      </a:lnTo>
                      <a:lnTo>
                        <a:pt x="12645" y="12359"/>
                      </a:lnTo>
                      <a:lnTo>
                        <a:pt x="12502" y="12371"/>
                      </a:lnTo>
                      <a:lnTo>
                        <a:pt x="12514" y="12383"/>
                      </a:lnTo>
                      <a:lnTo>
                        <a:pt x="12455" y="12359"/>
                      </a:lnTo>
                      <a:lnTo>
                        <a:pt x="12407" y="12371"/>
                      </a:lnTo>
                      <a:lnTo>
                        <a:pt x="12348" y="12371"/>
                      </a:lnTo>
                      <a:lnTo>
                        <a:pt x="12348" y="12371"/>
                      </a:lnTo>
                      <a:lnTo>
                        <a:pt x="12241" y="12371"/>
                      </a:lnTo>
                      <a:lnTo>
                        <a:pt x="12229" y="12383"/>
                      </a:lnTo>
                      <a:lnTo>
                        <a:pt x="12217" y="12430"/>
                      </a:lnTo>
                      <a:lnTo>
                        <a:pt x="12181" y="12478"/>
                      </a:lnTo>
                      <a:lnTo>
                        <a:pt x="12193" y="12549"/>
                      </a:lnTo>
                      <a:lnTo>
                        <a:pt x="12146" y="12597"/>
                      </a:lnTo>
                      <a:lnTo>
                        <a:pt x="12074" y="12609"/>
                      </a:lnTo>
                      <a:lnTo>
                        <a:pt x="12015" y="12632"/>
                      </a:lnTo>
                      <a:lnTo>
                        <a:pt x="12003" y="12668"/>
                      </a:lnTo>
                      <a:lnTo>
                        <a:pt x="12003" y="12716"/>
                      </a:lnTo>
                      <a:lnTo>
                        <a:pt x="11991" y="12739"/>
                      </a:lnTo>
                      <a:lnTo>
                        <a:pt x="11944" y="12763"/>
                      </a:lnTo>
                      <a:lnTo>
                        <a:pt x="11789" y="12811"/>
                      </a:lnTo>
                      <a:lnTo>
                        <a:pt x="11754" y="12894"/>
                      </a:lnTo>
                      <a:lnTo>
                        <a:pt x="11718" y="12894"/>
                      </a:lnTo>
                      <a:lnTo>
                        <a:pt x="11706" y="12918"/>
                      </a:lnTo>
                      <a:lnTo>
                        <a:pt x="11706" y="12965"/>
                      </a:lnTo>
                      <a:lnTo>
                        <a:pt x="11742" y="12977"/>
                      </a:lnTo>
                      <a:lnTo>
                        <a:pt x="11813" y="12977"/>
                      </a:lnTo>
                      <a:lnTo>
                        <a:pt x="11825" y="12989"/>
                      </a:lnTo>
                      <a:lnTo>
                        <a:pt x="11837" y="13048"/>
                      </a:lnTo>
                      <a:lnTo>
                        <a:pt x="11849" y="13072"/>
                      </a:lnTo>
                      <a:lnTo>
                        <a:pt x="11849" y="13096"/>
                      </a:lnTo>
                      <a:lnTo>
                        <a:pt x="11825" y="13108"/>
                      </a:lnTo>
                      <a:lnTo>
                        <a:pt x="11718" y="13132"/>
                      </a:lnTo>
                      <a:lnTo>
                        <a:pt x="11706" y="13155"/>
                      </a:lnTo>
                      <a:lnTo>
                        <a:pt x="11706" y="13203"/>
                      </a:lnTo>
                      <a:lnTo>
                        <a:pt x="11670" y="13262"/>
                      </a:lnTo>
                      <a:lnTo>
                        <a:pt x="11647" y="13274"/>
                      </a:lnTo>
                      <a:lnTo>
                        <a:pt x="11587" y="13262"/>
                      </a:lnTo>
                      <a:lnTo>
                        <a:pt x="11540" y="13262"/>
                      </a:lnTo>
                      <a:lnTo>
                        <a:pt x="11528" y="13286"/>
                      </a:lnTo>
                      <a:lnTo>
                        <a:pt x="11528" y="13322"/>
                      </a:lnTo>
                      <a:lnTo>
                        <a:pt x="11563" y="13369"/>
                      </a:lnTo>
                      <a:lnTo>
                        <a:pt x="11552" y="13452"/>
                      </a:lnTo>
                      <a:lnTo>
                        <a:pt x="11563" y="13512"/>
                      </a:lnTo>
                      <a:lnTo>
                        <a:pt x="11516" y="13559"/>
                      </a:lnTo>
                      <a:lnTo>
                        <a:pt x="11361" y="13536"/>
                      </a:lnTo>
                      <a:lnTo>
                        <a:pt x="11266" y="13559"/>
                      </a:lnTo>
                      <a:lnTo>
                        <a:pt x="11231" y="13607"/>
                      </a:lnTo>
                      <a:lnTo>
                        <a:pt x="11207" y="13607"/>
                      </a:lnTo>
                      <a:lnTo>
                        <a:pt x="11171" y="13571"/>
                      </a:lnTo>
                      <a:lnTo>
                        <a:pt x="11112" y="13583"/>
                      </a:lnTo>
                      <a:lnTo>
                        <a:pt x="11052" y="13619"/>
                      </a:lnTo>
                      <a:lnTo>
                        <a:pt x="11017" y="13666"/>
                      </a:lnTo>
                      <a:lnTo>
                        <a:pt x="10957" y="13643"/>
                      </a:lnTo>
                      <a:lnTo>
                        <a:pt x="10862" y="13654"/>
                      </a:lnTo>
                      <a:lnTo>
                        <a:pt x="10850" y="13643"/>
                      </a:lnTo>
                      <a:lnTo>
                        <a:pt x="10850" y="13619"/>
                      </a:lnTo>
                      <a:lnTo>
                        <a:pt x="10827" y="13595"/>
                      </a:lnTo>
                      <a:lnTo>
                        <a:pt x="10755" y="13607"/>
                      </a:lnTo>
                      <a:lnTo>
                        <a:pt x="10696" y="13666"/>
                      </a:lnTo>
                      <a:lnTo>
                        <a:pt x="10648" y="13690"/>
                      </a:lnTo>
                      <a:lnTo>
                        <a:pt x="10625" y="13714"/>
                      </a:lnTo>
                      <a:lnTo>
                        <a:pt x="10613" y="13785"/>
                      </a:lnTo>
                      <a:lnTo>
                        <a:pt x="10625" y="13821"/>
                      </a:lnTo>
                      <a:lnTo>
                        <a:pt x="10660" y="13880"/>
                      </a:lnTo>
                      <a:lnTo>
                        <a:pt x="10660" y="13904"/>
                      </a:lnTo>
                      <a:lnTo>
                        <a:pt x="10613" y="13975"/>
                      </a:lnTo>
                      <a:lnTo>
                        <a:pt x="10565" y="14011"/>
                      </a:lnTo>
                      <a:lnTo>
                        <a:pt x="10541" y="14035"/>
                      </a:lnTo>
                      <a:lnTo>
                        <a:pt x="10530" y="14047"/>
                      </a:lnTo>
                      <a:lnTo>
                        <a:pt x="10530" y="14059"/>
                      </a:lnTo>
                      <a:lnTo>
                        <a:pt x="10494" y="14094"/>
                      </a:lnTo>
                      <a:lnTo>
                        <a:pt x="10470" y="14142"/>
                      </a:lnTo>
                      <a:lnTo>
                        <a:pt x="10434" y="14165"/>
                      </a:lnTo>
                      <a:lnTo>
                        <a:pt x="10399" y="14165"/>
                      </a:lnTo>
                      <a:lnTo>
                        <a:pt x="10351" y="14130"/>
                      </a:lnTo>
                      <a:lnTo>
                        <a:pt x="10304" y="14059"/>
                      </a:lnTo>
                      <a:lnTo>
                        <a:pt x="10280" y="13987"/>
                      </a:lnTo>
                      <a:lnTo>
                        <a:pt x="10244" y="13952"/>
                      </a:lnTo>
                      <a:lnTo>
                        <a:pt x="10209" y="13975"/>
                      </a:lnTo>
                      <a:lnTo>
                        <a:pt x="10161" y="14023"/>
                      </a:lnTo>
                      <a:lnTo>
                        <a:pt x="10054" y="14035"/>
                      </a:lnTo>
                      <a:lnTo>
                        <a:pt x="10030" y="14082"/>
                      </a:lnTo>
                      <a:lnTo>
                        <a:pt x="10019" y="14225"/>
                      </a:lnTo>
                      <a:lnTo>
                        <a:pt x="9971" y="14213"/>
                      </a:lnTo>
                      <a:lnTo>
                        <a:pt x="9935" y="14189"/>
                      </a:lnTo>
                      <a:lnTo>
                        <a:pt x="9828" y="14189"/>
                      </a:lnTo>
                      <a:lnTo>
                        <a:pt x="9793" y="14201"/>
                      </a:lnTo>
                      <a:lnTo>
                        <a:pt x="9781" y="14213"/>
                      </a:lnTo>
                      <a:lnTo>
                        <a:pt x="9757" y="14237"/>
                      </a:lnTo>
                      <a:lnTo>
                        <a:pt x="9686" y="14367"/>
                      </a:lnTo>
                      <a:lnTo>
                        <a:pt x="9650" y="14391"/>
                      </a:lnTo>
                      <a:lnTo>
                        <a:pt x="9626" y="14391"/>
                      </a:lnTo>
                      <a:lnTo>
                        <a:pt x="9603" y="14367"/>
                      </a:lnTo>
                      <a:lnTo>
                        <a:pt x="9579" y="14332"/>
                      </a:lnTo>
                      <a:lnTo>
                        <a:pt x="9567" y="14296"/>
                      </a:lnTo>
                      <a:lnTo>
                        <a:pt x="9543" y="14272"/>
                      </a:lnTo>
                      <a:lnTo>
                        <a:pt x="9508" y="14272"/>
                      </a:lnTo>
                      <a:lnTo>
                        <a:pt x="9484" y="14284"/>
                      </a:lnTo>
                      <a:lnTo>
                        <a:pt x="9472" y="14284"/>
                      </a:lnTo>
                      <a:lnTo>
                        <a:pt x="9472" y="14249"/>
                      </a:lnTo>
                      <a:lnTo>
                        <a:pt x="9448" y="14189"/>
                      </a:lnTo>
                      <a:lnTo>
                        <a:pt x="9436" y="14189"/>
                      </a:lnTo>
                      <a:lnTo>
                        <a:pt x="9424" y="14177"/>
                      </a:lnTo>
                      <a:lnTo>
                        <a:pt x="9389" y="14154"/>
                      </a:lnTo>
                      <a:lnTo>
                        <a:pt x="9341" y="14165"/>
                      </a:lnTo>
                      <a:lnTo>
                        <a:pt x="9282" y="14189"/>
                      </a:lnTo>
                      <a:lnTo>
                        <a:pt x="9210" y="14177"/>
                      </a:lnTo>
                      <a:lnTo>
                        <a:pt x="9139" y="14213"/>
                      </a:lnTo>
                      <a:lnTo>
                        <a:pt x="9115" y="14213"/>
                      </a:lnTo>
                      <a:lnTo>
                        <a:pt x="9008" y="14201"/>
                      </a:lnTo>
                      <a:lnTo>
                        <a:pt x="8937" y="14189"/>
                      </a:lnTo>
                      <a:lnTo>
                        <a:pt x="8878" y="14189"/>
                      </a:lnTo>
                      <a:lnTo>
                        <a:pt x="8866" y="14201"/>
                      </a:lnTo>
                      <a:lnTo>
                        <a:pt x="8866" y="14225"/>
                      </a:lnTo>
                      <a:lnTo>
                        <a:pt x="8878" y="14261"/>
                      </a:lnTo>
                      <a:lnTo>
                        <a:pt x="8890" y="14261"/>
                      </a:lnTo>
                      <a:lnTo>
                        <a:pt x="8901" y="14284"/>
                      </a:lnTo>
                      <a:lnTo>
                        <a:pt x="8890" y="14308"/>
                      </a:lnTo>
                      <a:lnTo>
                        <a:pt x="8878" y="14332"/>
                      </a:lnTo>
                      <a:lnTo>
                        <a:pt x="8771" y="14403"/>
                      </a:lnTo>
                      <a:lnTo>
                        <a:pt x="8771" y="14427"/>
                      </a:lnTo>
                      <a:lnTo>
                        <a:pt x="8747" y="14486"/>
                      </a:lnTo>
                      <a:lnTo>
                        <a:pt x="8711" y="14498"/>
                      </a:lnTo>
                      <a:lnTo>
                        <a:pt x="8699" y="14498"/>
                      </a:lnTo>
                      <a:lnTo>
                        <a:pt x="8628" y="14510"/>
                      </a:lnTo>
                      <a:lnTo>
                        <a:pt x="8521" y="14570"/>
                      </a:lnTo>
                      <a:lnTo>
                        <a:pt x="8379" y="14629"/>
                      </a:lnTo>
                      <a:lnTo>
                        <a:pt x="8355" y="14641"/>
                      </a:lnTo>
                      <a:lnTo>
                        <a:pt x="7796" y="14427"/>
                      </a:lnTo>
                      <a:lnTo>
                        <a:pt x="7570" y="14391"/>
                      </a:lnTo>
                      <a:lnTo>
                        <a:pt x="6192" y="13809"/>
                      </a:lnTo>
                      <a:lnTo>
                        <a:pt x="4481" y="12407"/>
                      </a:lnTo>
                      <a:lnTo>
                        <a:pt x="1450" y="12157"/>
                      </a:lnTo>
                      <a:lnTo>
                        <a:pt x="1427" y="12145"/>
                      </a:lnTo>
                      <a:lnTo>
                        <a:pt x="0" y="11682"/>
                      </a:lnTo>
                      <a:lnTo>
                        <a:pt x="0" y="11658"/>
                      </a:lnTo>
                      <a:lnTo>
                        <a:pt x="36" y="11646"/>
                      </a:lnTo>
                      <a:lnTo>
                        <a:pt x="48" y="11599"/>
                      </a:lnTo>
                      <a:lnTo>
                        <a:pt x="72" y="11575"/>
                      </a:lnTo>
                      <a:lnTo>
                        <a:pt x="84" y="11527"/>
                      </a:lnTo>
                      <a:lnTo>
                        <a:pt x="60" y="11444"/>
                      </a:lnTo>
                      <a:lnTo>
                        <a:pt x="72" y="11420"/>
                      </a:lnTo>
                      <a:lnTo>
                        <a:pt x="84" y="11397"/>
                      </a:lnTo>
                      <a:lnTo>
                        <a:pt x="107" y="11361"/>
                      </a:lnTo>
                      <a:lnTo>
                        <a:pt x="119" y="11325"/>
                      </a:lnTo>
                      <a:lnTo>
                        <a:pt x="167" y="11290"/>
                      </a:lnTo>
                      <a:lnTo>
                        <a:pt x="202" y="11218"/>
                      </a:lnTo>
                      <a:lnTo>
                        <a:pt x="238" y="11183"/>
                      </a:lnTo>
                      <a:lnTo>
                        <a:pt x="286" y="11147"/>
                      </a:lnTo>
                      <a:lnTo>
                        <a:pt x="333" y="11111"/>
                      </a:lnTo>
                      <a:lnTo>
                        <a:pt x="440" y="11064"/>
                      </a:lnTo>
                      <a:lnTo>
                        <a:pt x="488" y="11040"/>
                      </a:lnTo>
                      <a:lnTo>
                        <a:pt x="607" y="10981"/>
                      </a:lnTo>
                      <a:lnTo>
                        <a:pt x="678" y="10969"/>
                      </a:lnTo>
                      <a:lnTo>
                        <a:pt x="702" y="10957"/>
                      </a:lnTo>
                      <a:lnTo>
                        <a:pt x="725" y="10921"/>
                      </a:lnTo>
                      <a:lnTo>
                        <a:pt x="797" y="10790"/>
                      </a:lnTo>
                      <a:lnTo>
                        <a:pt x="797" y="10755"/>
                      </a:lnTo>
                      <a:lnTo>
                        <a:pt x="797" y="10719"/>
                      </a:lnTo>
                      <a:lnTo>
                        <a:pt x="749" y="10648"/>
                      </a:lnTo>
                      <a:lnTo>
                        <a:pt x="725" y="10600"/>
                      </a:lnTo>
                      <a:lnTo>
                        <a:pt x="630" y="10422"/>
                      </a:lnTo>
                      <a:lnTo>
                        <a:pt x="630" y="10398"/>
                      </a:lnTo>
                      <a:lnTo>
                        <a:pt x="654" y="10279"/>
                      </a:lnTo>
                      <a:lnTo>
                        <a:pt x="678" y="10256"/>
                      </a:lnTo>
                      <a:lnTo>
                        <a:pt x="713" y="10220"/>
                      </a:lnTo>
                      <a:lnTo>
                        <a:pt x="725" y="10077"/>
                      </a:lnTo>
                      <a:lnTo>
                        <a:pt x="892" y="9899"/>
                      </a:lnTo>
                      <a:lnTo>
                        <a:pt x="927" y="9816"/>
                      </a:lnTo>
                      <a:lnTo>
                        <a:pt x="939" y="9768"/>
                      </a:lnTo>
                      <a:lnTo>
                        <a:pt x="939" y="9602"/>
                      </a:lnTo>
                      <a:lnTo>
                        <a:pt x="951" y="9543"/>
                      </a:lnTo>
                      <a:lnTo>
                        <a:pt x="987" y="9448"/>
                      </a:lnTo>
                      <a:lnTo>
                        <a:pt x="975" y="9388"/>
                      </a:lnTo>
                      <a:lnTo>
                        <a:pt x="987" y="9364"/>
                      </a:lnTo>
                      <a:lnTo>
                        <a:pt x="1034" y="9353"/>
                      </a:lnTo>
                      <a:lnTo>
                        <a:pt x="1046" y="9341"/>
                      </a:lnTo>
                      <a:lnTo>
                        <a:pt x="1046" y="9305"/>
                      </a:lnTo>
                      <a:lnTo>
                        <a:pt x="1022" y="9246"/>
                      </a:lnTo>
                      <a:lnTo>
                        <a:pt x="1034" y="9210"/>
                      </a:lnTo>
                      <a:lnTo>
                        <a:pt x="1046" y="9174"/>
                      </a:lnTo>
                      <a:lnTo>
                        <a:pt x="1070" y="9151"/>
                      </a:lnTo>
                      <a:lnTo>
                        <a:pt x="1094" y="9115"/>
                      </a:lnTo>
                      <a:lnTo>
                        <a:pt x="1118" y="9103"/>
                      </a:lnTo>
                      <a:lnTo>
                        <a:pt x="1177" y="9079"/>
                      </a:lnTo>
                      <a:lnTo>
                        <a:pt x="1236" y="9044"/>
                      </a:lnTo>
                      <a:lnTo>
                        <a:pt x="1296" y="9032"/>
                      </a:lnTo>
                      <a:lnTo>
                        <a:pt x="1331" y="9020"/>
                      </a:lnTo>
                      <a:lnTo>
                        <a:pt x="1343" y="9008"/>
                      </a:lnTo>
                      <a:lnTo>
                        <a:pt x="1367" y="8960"/>
                      </a:lnTo>
                      <a:lnTo>
                        <a:pt x="1450" y="8901"/>
                      </a:lnTo>
                      <a:lnTo>
                        <a:pt x="1510" y="8889"/>
                      </a:lnTo>
                      <a:lnTo>
                        <a:pt x="1545" y="8830"/>
                      </a:lnTo>
                      <a:lnTo>
                        <a:pt x="1617" y="8794"/>
                      </a:lnTo>
                      <a:lnTo>
                        <a:pt x="1652" y="8711"/>
                      </a:lnTo>
                      <a:lnTo>
                        <a:pt x="1688" y="8711"/>
                      </a:lnTo>
                      <a:lnTo>
                        <a:pt x="1747" y="8711"/>
                      </a:lnTo>
                      <a:lnTo>
                        <a:pt x="1795" y="8663"/>
                      </a:lnTo>
                      <a:lnTo>
                        <a:pt x="1854" y="8663"/>
                      </a:lnTo>
                      <a:lnTo>
                        <a:pt x="1890" y="8651"/>
                      </a:lnTo>
                      <a:lnTo>
                        <a:pt x="1914" y="8592"/>
                      </a:lnTo>
                      <a:lnTo>
                        <a:pt x="1914" y="8556"/>
                      </a:lnTo>
                      <a:lnTo>
                        <a:pt x="1938" y="8521"/>
                      </a:lnTo>
                      <a:lnTo>
                        <a:pt x="1973" y="8521"/>
                      </a:lnTo>
                      <a:lnTo>
                        <a:pt x="2021" y="8485"/>
                      </a:lnTo>
                      <a:lnTo>
                        <a:pt x="2056" y="8473"/>
                      </a:lnTo>
                      <a:lnTo>
                        <a:pt x="2092" y="8461"/>
                      </a:lnTo>
                      <a:lnTo>
                        <a:pt x="2128" y="8366"/>
                      </a:lnTo>
                      <a:lnTo>
                        <a:pt x="2175" y="8342"/>
                      </a:lnTo>
                      <a:lnTo>
                        <a:pt x="2330" y="8307"/>
                      </a:lnTo>
                      <a:lnTo>
                        <a:pt x="2413" y="8319"/>
                      </a:lnTo>
                      <a:lnTo>
                        <a:pt x="2472" y="8283"/>
                      </a:lnTo>
                      <a:lnTo>
                        <a:pt x="2496" y="8295"/>
                      </a:lnTo>
                      <a:lnTo>
                        <a:pt x="2472" y="8319"/>
                      </a:lnTo>
                      <a:lnTo>
                        <a:pt x="2484" y="8342"/>
                      </a:lnTo>
                      <a:lnTo>
                        <a:pt x="2520" y="8342"/>
                      </a:lnTo>
                      <a:lnTo>
                        <a:pt x="2555" y="8295"/>
                      </a:lnTo>
                      <a:lnTo>
                        <a:pt x="2627" y="8283"/>
                      </a:lnTo>
                      <a:lnTo>
                        <a:pt x="2639" y="8271"/>
                      </a:lnTo>
                      <a:lnTo>
                        <a:pt x="2627" y="8247"/>
                      </a:lnTo>
                      <a:lnTo>
                        <a:pt x="2686" y="8235"/>
                      </a:lnTo>
                      <a:lnTo>
                        <a:pt x="2698" y="8235"/>
                      </a:lnTo>
                      <a:lnTo>
                        <a:pt x="2710" y="8259"/>
                      </a:lnTo>
                      <a:lnTo>
                        <a:pt x="2734" y="8259"/>
                      </a:lnTo>
                      <a:lnTo>
                        <a:pt x="2757" y="8224"/>
                      </a:lnTo>
                      <a:lnTo>
                        <a:pt x="2781" y="8224"/>
                      </a:lnTo>
                      <a:lnTo>
                        <a:pt x="2793" y="8235"/>
                      </a:lnTo>
                      <a:lnTo>
                        <a:pt x="2781" y="8271"/>
                      </a:lnTo>
                      <a:lnTo>
                        <a:pt x="2781" y="8283"/>
                      </a:lnTo>
                      <a:lnTo>
                        <a:pt x="2805" y="8283"/>
                      </a:lnTo>
                      <a:lnTo>
                        <a:pt x="2817" y="8271"/>
                      </a:lnTo>
                      <a:lnTo>
                        <a:pt x="2841" y="8224"/>
                      </a:lnTo>
                      <a:lnTo>
                        <a:pt x="2888" y="8235"/>
                      </a:lnTo>
                      <a:lnTo>
                        <a:pt x="2912" y="8212"/>
                      </a:lnTo>
                      <a:lnTo>
                        <a:pt x="2912" y="8200"/>
                      </a:lnTo>
                      <a:lnTo>
                        <a:pt x="2888" y="8164"/>
                      </a:lnTo>
                      <a:lnTo>
                        <a:pt x="2900" y="8152"/>
                      </a:lnTo>
                      <a:lnTo>
                        <a:pt x="2900" y="8140"/>
                      </a:lnTo>
                      <a:lnTo>
                        <a:pt x="2960" y="8164"/>
                      </a:lnTo>
                      <a:lnTo>
                        <a:pt x="2971" y="8176"/>
                      </a:lnTo>
                      <a:lnTo>
                        <a:pt x="2971" y="8188"/>
                      </a:lnTo>
                      <a:lnTo>
                        <a:pt x="2983" y="8200"/>
                      </a:lnTo>
                      <a:lnTo>
                        <a:pt x="3043" y="8164"/>
                      </a:lnTo>
                      <a:lnTo>
                        <a:pt x="3055" y="8176"/>
                      </a:lnTo>
                      <a:lnTo>
                        <a:pt x="3066" y="8188"/>
                      </a:lnTo>
                      <a:lnTo>
                        <a:pt x="3078" y="8200"/>
                      </a:lnTo>
                      <a:lnTo>
                        <a:pt x="3090" y="8188"/>
                      </a:lnTo>
                      <a:lnTo>
                        <a:pt x="3090" y="8164"/>
                      </a:lnTo>
                      <a:lnTo>
                        <a:pt x="3102" y="8152"/>
                      </a:lnTo>
                      <a:lnTo>
                        <a:pt x="3138" y="8164"/>
                      </a:lnTo>
                      <a:lnTo>
                        <a:pt x="3162" y="8176"/>
                      </a:lnTo>
                      <a:lnTo>
                        <a:pt x="3197" y="8176"/>
                      </a:lnTo>
                      <a:lnTo>
                        <a:pt x="3209" y="8129"/>
                      </a:lnTo>
                      <a:lnTo>
                        <a:pt x="3233" y="8105"/>
                      </a:lnTo>
                      <a:lnTo>
                        <a:pt x="3245" y="8105"/>
                      </a:lnTo>
                      <a:lnTo>
                        <a:pt x="3257" y="8140"/>
                      </a:lnTo>
                      <a:lnTo>
                        <a:pt x="3292" y="8140"/>
                      </a:lnTo>
                      <a:lnTo>
                        <a:pt x="3328" y="8093"/>
                      </a:lnTo>
                      <a:lnTo>
                        <a:pt x="3364" y="8057"/>
                      </a:lnTo>
                      <a:lnTo>
                        <a:pt x="3375" y="7998"/>
                      </a:lnTo>
                      <a:lnTo>
                        <a:pt x="3411" y="7986"/>
                      </a:lnTo>
                      <a:lnTo>
                        <a:pt x="3423" y="7962"/>
                      </a:lnTo>
                      <a:lnTo>
                        <a:pt x="3423" y="7938"/>
                      </a:lnTo>
                      <a:lnTo>
                        <a:pt x="3482" y="7891"/>
                      </a:lnTo>
                      <a:lnTo>
                        <a:pt x="3506" y="7891"/>
                      </a:lnTo>
                      <a:lnTo>
                        <a:pt x="3566" y="7926"/>
                      </a:lnTo>
                      <a:lnTo>
                        <a:pt x="3601" y="7926"/>
                      </a:lnTo>
                      <a:lnTo>
                        <a:pt x="3637" y="7855"/>
                      </a:lnTo>
                      <a:lnTo>
                        <a:pt x="3661" y="7843"/>
                      </a:lnTo>
                      <a:lnTo>
                        <a:pt x="3673" y="7855"/>
                      </a:lnTo>
                      <a:lnTo>
                        <a:pt x="3661" y="7891"/>
                      </a:lnTo>
                      <a:lnTo>
                        <a:pt x="3661" y="7903"/>
                      </a:lnTo>
                      <a:lnTo>
                        <a:pt x="3708" y="7903"/>
                      </a:lnTo>
                      <a:lnTo>
                        <a:pt x="3732" y="7915"/>
                      </a:lnTo>
                      <a:lnTo>
                        <a:pt x="3744" y="7915"/>
                      </a:lnTo>
                      <a:lnTo>
                        <a:pt x="3756" y="7915"/>
                      </a:lnTo>
                      <a:lnTo>
                        <a:pt x="3756" y="7879"/>
                      </a:lnTo>
                      <a:lnTo>
                        <a:pt x="3768" y="7855"/>
                      </a:lnTo>
                      <a:lnTo>
                        <a:pt x="3780" y="7855"/>
                      </a:lnTo>
                      <a:lnTo>
                        <a:pt x="3803" y="7867"/>
                      </a:lnTo>
                      <a:lnTo>
                        <a:pt x="3815" y="7903"/>
                      </a:lnTo>
                      <a:lnTo>
                        <a:pt x="3839" y="7915"/>
                      </a:lnTo>
                      <a:lnTo>
                        <a:pt x="3851" y="7903"/>
                      </a:lnTo>
                      <a:lnTo>
                        <a:pt x="3851" y="7879"/>
                      </a:lnTo>
                      <a:lnTo>
                        <a:pt x="3875" y="7867"/>
                      </a:lnTo>
                      <a:lnTo>
                        <a:pt x="3922" y="7820"/>
                      </a:lnTo>
                      <a:lnTo>
                        <a:pt x="3970" y="7831"/>
                      </a:lnTo>
                      <a:lnTo>
                        <a:pt x="3982" y="7903"/>
                      </a:lnTo>
                      <a:lnTo>
                        <a:pt x="4005" y="7891"/>
                      </a:lnTo>
                      <a:lnTo>
                        <a:pt x="4017" y="7855"/>
                      </a:lnTo>
                      <a:lnTo>
                        <a:pt x="4077" y="7855"/>
                      </a:lnTo>
                      <a:lnTo>
                        <a:pt x="4088" y="7903"/>
                      </a:lnTo>
                      <a:lnTo>
                        <a:pt x="4088" y="7926"/>
                      </a:lnTo>
                      <a:lnTo>
                        <a:pt x="4077" y="7950"/>
                      </a:lnTo>
                      <a:lnTo>
                        <a:pt x="4077" y="7998"/>
                      </a:lnTo>
                      <a:lnTo>
                        <a:pt x="4112" y="8010"/>
                      </a:lnTo>
                      <a:lnTo>
                        <a:pt x="4100" y="8033"/>
                      </a:lnTo>
                      <a:lnTo>
                        <a:pt x="4100" y="8045"/>
                      </a:lnTo>
                      <a:lnTo>
                        <a:pt x="4112" y="8057"/>
                      </a:lnTo>
                      <a:lnTo>
                        <a:pt x="4136" y="8045"/>
                      </a:lnTo>
                      <a:lnTo>
                        <a:pt x="4148" y="8010"/>
                      </a:lnTo>
                      <a:lnTo>
                        <a:pt x="4172" y="8022"/>
                      </a:lnTo>
                      <a:lnTo>
                        <a:pt x="4172" y="8069"/>
                      </a:lnTo>
                      <a:lnTo>
                        <a:pt x="4184" y="8093"/>
                      </a:lnTo>
                      <a:lnTo>
                        <a:pt x="4207" y="8105"/>
                      </a:lnTo>
                      <a:lnTo>
                        <a:pt x="4219" y="8093"/>
                      </a:lnTo>
                      <a:lnTo>
                        <a:pt x="4219" y="8057"/>
                      </a:lnTo>
                      <a:lnTo>
                        <a:pt x="4231" y="8010"/>
                      </a:lnTo>
                      <a:lnTo>
                        <a:pt x="4267" y="7986"/>
                      </a:lnTo>
                      <a:lnTo>
                        <a:pt x="4338" y="7998"/>
                      </a:lnTo>
                      <a:lnTo>
                        <a:pt x="4362" y="8022"/>
                      </a:lnTo>
                      <a:lnTo>
                        <a:pt x="4386" y="8069"/>
                      </a:lnTo>
                      <a:lnTo>
                        <a:pt x="4445" y="8081"/>
                      </a:lnTo>
                      <a:lnTo>
                        <a:pt x="4481" y="8022"/>
                      </a:lnTo>
                      <a:lnTo>
                        <a:pt x="4493" y="7915"/>
                      </a:lnTo>
                      <a:lnTo>
                        <a:pt x="4481" y="7855"/>
                      </a:lnTo>
                      <a:lnTo>
                        <a:pt x="4516" y="7784"/>
                      </a:lnTo>
                      <a:lnTo>
                        <a:pt x="4576" y="7451"/>
                      </a:lnTo>
                      <a:lnTo>
                        <a:pt x="4588" y="7404"/>
                      </a:lnTo>
                      <a:lnTo>
                        <a:pt x="4576" y="7392"/>
                      </a:lnTo>
                      <a:lnTo>
                        <a:pt x="4849" y="5882"/>
                      </a:lnTo>
                      <a:lnTo>
                        <a:pt x="4861" y="5871"/>
                      </a:lnTo>
                      <a:lnTo>
                        <a:pt x="4861" y="5811"/>
                      </a:lnTo>
                      <a:lnTo>
                        <a:pt x="4861" y="5799"/>
                      </a:lnTo>
                      <a:lnTo>
                        <a:pt x="4897" y="5550"/>
                      </a:lnTo>
                      <a:lnTo>
                        <a:pt x="4944" y="5383"/>
                      </a:lnTo>
                      <a:lnTo>
                        <a:pt x="4932" y="5371"/>
                      </a:lnTo>
                      <a:lnTo>
                        <a:pt x="4932" y="5324"/>
                      </a:lnTo>
                      <a:lnTo>
                        <a:pt x="4944" y="5276"/>
                      </a:lnTo>
                      <a:lnTo>
                        <a:pt x="5027" y="4813"/>
                      </a:lnTo>
                      <a:lnTo>
                        <a:pt x="5015" y="4789"/>
                      </a:lnTo>
                      <a:lnTo>
                        <a:pt x="5039" y="4730"/>
                      </a:lnTo>
                      <a:lnTo>
                        <a:pt x="5063" y="4563"/>
                      </a:lnTo>
                      <a:lnTo>
                        <a:pt x="5039" y="4540"/>
                      </a:lnTo>
                      <a:lnTo>
                        <a:pt x="5027" y="4480"/>
                      </a:lnTo>
                      <a:lnTo>
                        <a:pt x="5027" y="4385"/>
                      </a:lnTo>
                      <a:lnTo>
                        <a:pt x="5051" y="4290"/>
                      </a:lnTo>
                      <a:lnTo>
                        <a:pt x="5051" y="4124"/>
                      </a:lnTo>
                      <a:lnTo>
                        <a:pt x="5075" y="4088"/>
                      </a:lnTo>
                      <a:lnTo>
                        <a:pt x="5087" y="4076"/>
                      </a:lnTo>
                      <a:lnTo>
                        <a:pt x="5099" y="4052"/>
                      </a:lnTo>
                      <a:lnTo>
                        <a:pt x="5099" y="4029"/>
                      </a:lnTo>
                      <a:lnTo>
                        <a:pt x="5087" y="4017"/>
                      </a:lnTo>
                      <a:lnTo>
                        <a:pt x="5063" y="3993"/>
                      </a:lnTo>
                      <a:lnTo>
                        <a:pt x="5051" y="3934"/>
                      </a:lnTo>
                      <a:lnTo>
                        <a:pt x="5027" y="3886"/>
                      </a:lnTo>
                      <a:lnTo>
                        <a:pt x="5004" y="3850"/>
                      </a:lnTo>
                      <a:lnTo>
                        <a:pt x="4944" y="3803"/>
                      </a:lnTo>
                      <a:lnTo>
                        <a:pt x="4920" y="3743"/>
                      </a:lnTo>
                      <a:lnTo>
                        <a:pt x="4897" y="3708"/>
                      </a:lnTo>
                      <a:lnTo>
                        <a:pt x="4885" y="3708"/>
                      </a:lnTo>
                      <a:lnTo>
                        <a:pt x="4861" y="3648"/>
                      </a:lnTo>
                      <a:lnTo>
                        <a:pt x="4837" y="3625"/>
                      </a:lnTo>
                      <a:lnTo>
                        <a:pt x="4813" y="3601"/>
                      </a:lnTo>
                      <a:lnTo>
                        <a:pt x="4825" y="3565"/>
                      </a:lnTo>
                      <a:lnTo>
                        <a:pt x="4873" y="3458"/>
                      </a:lnTo>
                      <a:lnTo>
                        <a:pt x="4873" y="3411"/>
                      </a:lnTo>
                      <a:lnTo>
                        <a:pt x="4837" y="3351"/>
                      </a:lnTo>
                      <a:lnTo>
                        <a:pt x="4778" y="3280"/>
                      </a:lnTo>
                      <a:lnTo>
                        <a:pt x="4742" y="3256"/>
                      </a:lnTo>
                      <a:lnTo>
                        <a:pt x="4635" y="3161"/>
                      </a:lnTo>
                      <a:lnTo>
                        <a:pt x="4576" y="3114"/>
                      </a:lnTo>
                      <a:lnTo>
                        <a:pt x="4540" y="3090"/>
                      </a:lnTo>
                      <a:lnTo>
                        <a:pt x="4469" y="3078"/>
                      </a:lnTo>
                      <a:lnTo>
                        <a:pt x="4386" y="2995"/>
                      </a:lnTo>
                      <a:lnTo>
                        <a:pt x="4326" y="2912"/>
                      </a:lnTo>
                      <a:lnTo>
                        <a:pt x="4326" y="2805"/>
                      </a:lnTo>
                      <a:lnTo>
                        <a:pt x="4291" y="2745"/>
                      </a:lnTo>
                      <a:lnTo>
                        <a:pt x="4291" y="2686"/>
                      </a:lnTo>
                      <a:lnTo>
                        <a:pt x="4302" y="2638"/>
                      </a:lnTo>
                      <a:lnTo>
                        <a:pt x="4302" y="2567"/>
                      </a:lnTo>
                      <a:lnTo>
                        <a:pt x="4326" y="1973"/>
                      </a:lnTo>
                      <a:lnTo>
                        <a:pt x="4350" y="1985"/>
                      </a:lnTo>
                      <a:lnTo>
                        <a:pt x="4397" y="1985"/>
                      </a:lnTo>
                      <a:lnTo>
                        <a:pt x="4433" y="1996"/>
                      </a:lnTo>
                      <a:lnTo>
                        <a:pt x="4481" y="1985"/>
                      </a:lnTo>
                      <a:lnTo>
                        <a:pt x="4516" y="1961"/>
                      </a:lnTo>
                      <a:lnTo>
                        <a:pt x="4588" y="1973"/>
                      </a:lnTo>
                      <a:lnTo>
                        <a:pt x="4611" y="1985"/>
                      </a:lnTo>
                      <a:lnTo>
                        <a:pt x="4635" y="1973"/>
                      </a:lnTo>
                      <a:lnTo>
                        <a:pt x="4730" y="1925"/>
                      </a:lnTo>
                      <a:lnTo>
                        <a:pt x="4766" y="1890"/>
                      </a:lnTo>
                      <a:lnTo>
                        <a:pt x="4790" y="1878"/>
                      </a:lnTo>
                      <a:lnTo>
                        <a:pt x="4813" y="1890"/>
                      </a:lnTo>
                      <a:lnTo>
                        <a:pt x="4837" y="1913"/>
                      </a:lnTo>
                      <a:lnTo>
                        <a:pt x="4861" y="1913"/>
                      </a:lnTo>
                      <a:lnTo>
                        <a:pt x="4885" y="1901"/>
                      </a:lnTo>
                      <a:lnTo>
                        <a:pt x="4897" y="1866"/>
                      </a:lnTo>
                      <a:lnTo>
                        <a:pt x="4944" y="1854"/>
                      </a:lnTo>
                      <a:lnTo>
                        <a:pt x="4992" y="1806"/>
                      </a:lnTo>
                      <a:lnTo>
                        <a:pt x="5039" y="1818"/>
                      </a:lnTo>
                      <a:lnTo>
                        <a:pt x="5099" y="1890"/>
                      </a:lnTo>
                      <a:lnTo>
                        <a:pt x="5146" y="1925"/>
                      </a:lnTo>
                      <a:lnTo>
                        <a:pt x="5217" y="1937"/>
                      </a:lnTo>
                      <a:lnTo>
                        <a:pt x="5348" y="1937"/>
                      </a:lnTo>
                      <a:lnTo>
                        <a:pt x="5348" y="1937"/>
                      </a:lnTo>
                      <a:lnTo>
                        <a:pt x="5336" y="1913"/>
                      </a:lnTo>
                      <a:lnTo>
                        <a:pt x="5360" y="1878"/>
                      </a:lnTo>
                      <a:lnTo>
                        <a:pt x="5372" y="1866"/>
                      </a:lnTo>
                      <a:lnTo>
                        <a:pt x="5408" y="1890"/>
                      </a:lnTo>
                      <a:lnTo>
                        <a:pt x="5419" y="1890"/>
                      </a:lnTo>
                      <a:lnTo>
                        <a:pt x="5431" y="1878"/>
                      </a:lnTo>
                      <a:lnTo>
                        <a:pt x="5431" y="1854"/>
                      </a:lnTo>
                      <a:lnTo>
                        <a:pt x="5384" y="1783"/>
                      </a:lnTo>
                      <a:lnTo>
                        <a:pt x="5396" y="1747"/>
                      </a:lnTo>
                      <a:lnTo>
                        <a:pt x="5419" y="1699"/>
                      </a:lnTo>
                      <a:lnTo>
                        <a:pt x="5408" y="1652"/>
                      </a:lnTo>
                      <a:lnTo>
                        <a:pt x="5431" y="1604"/>
                      </a:lnTo>
                      <a:lnTo>
                        <a:pt x="5431" y="1592"/>
                      </a:lnTo>
                      <a:lnTo>
                        <a:pt x="5396" y="1592"/>
                      </a:lnTo>
                      <a:lnTo>
                        <a:pt x="5384" y="1569"/>
                      </a:lnTo>
                      <a:lnTo>
                        <a:pt x="5384" y="1521"/>
                      </a:lnTo>
                      <a:lnTo>
                        <a:pt x="5372" y="1509"/>
                      </a:lnTo>
                      <a:lnTo>
                        <a:pt x="5336" y="1485"/>
                      </a:lnTo>
                      <a:lnTo>
                        <a:pt x="5289" y="1414"/>
                      </a:lnTo>
                      <a:lnTo>
                        <a:pt x="5229" y="1379"/>
                      </a:lnTo>
                      <a:lnTo>
                        <a:pt x="5206" y="1367"/>
                      </a:lnTo>
                      <a:lnTo>
                        <a:pt x="5158" y="1355"/>
                      </a:lnTo>
                      <a:lnTo>
                        <a:pt x="5134" y="1367"/>
                      </a:lnTo>
                      <a:lnTo>
                        <a:pt x="5099" y="1402"/>
                      </a:lnTo>
                      <a:lnTo>
                        <a:pt x="5075" y="1402"/>
                      </a:lnTo>
                      <a:lnTo>
                        <a:pt x="5039" y="1379"/>
                      </a:lnTo>
                      <a:lnTo>
                        <a:pt x="4920" y="1379"/>
                      </a:lnTo>
                      <a:lnTo>
                        <a:pt x="4885" y="1355"/>
                      </a:lnTo>
                      <a:lnTo>
                        <a:pt x="4790" y="1379"/>
                      </a:lnTo>
                      <a:lnTo>
                        <a:pt x="4754" y="1343"/>
                      </a:lnTo>
                      <a:lnTo>
                        <a:pt x="4695" y="1343"/>
                      </a:lnTo>
                      <a:lnTo>
                        <a:pt x="4599" y="1379"/>
                      </a:lnTo>
                      <a:lnTo>
                        <a:pt x="4576" y="1319"/>
                      </a:lnTo>
                      <a:lnTo>
                        <a:pt x="4576" y="856"/>
                      </a:lnTo>
                      <a:lnTo>
                        <a:pt x="4564" y="772"/>
                      </a:lnTo>
                      <a:lnTo>
                        <a:pt x="4576" y="772"/>
                      </a:lnTo>
                      <a:lnTo>
                        <a:pt x="4576" y="618"/>
                      </a:lnTo>
                      <a:lnTo>
                        <a:pt x="4611" y="594"/>
                      </a:lnTo>
                      <a:lnTo>
                        <a:pt x="4635" y="606"/>
                      </a:lnTo>
                      <a:lnTo>
                        <a:pt x="4730" y="594"/>
                      </a:lnTo>
                      <a:lnTo>
                        <a:pt x="4813" y="594"/>
                      </a:lnTo>
                      <a:lnTo>
                        <a:pt x="4885" y="547"/>
                      </a:lnTo>
                      <a:lnTo>
                        <a:pt x="4956" y="535"/>
                      </a:lnTo>
                      <a:lnTo>
                        <a:pt x="4992" y="547"/>
                      </a:lnTo>
                      <a:lnTo>
                        <a:pt x="5051" y="582"/>
                      </a:lnTo>
                      <a:lnTo>
                        <a:pt x="5087" y="582"/>
                      </a:lnTo>
                      <a:lnTo>
                        <a:pt x="5110" y="582"/>
                      </a:lnTo>
                      <a:lnTo>
                        <a:pt x="6275" y="594"/>
                      </a:lnTo>
                      <a:lnTo>
                        <a:pt x="6323" y="594"/>
                      </a:lnTo>
                      <a:lnTo>
                        <a:pt x="6358" y="594"/>
                      </a:lnTo>
                      <a:lnTo>
                        <a:pt x="6453" y="594"/>
                      </a:lnTo>
                      <a:lnTo>
                        <a:pt x="6548" y="594"/>
                      </a:lnTo>
                      <a:lnTo>
                        <a:pt x="6572" y="547"/>
                      </a:lnTo>
                      <a:lnTo>
                        <a:pt x="6548" y="499"/>
                      </a:lnTo>
                      <a:lnTo>
                        <a:pt x="6513" y="475"/>
                      </a:lnTo>
                      <a:lnTo>
                        <a:pt x="6477" y="440"/>
                      </a:lnTo>
                      <a:lnTo>
                        <a:pt x="6477" y="392"/>
                      </a:lnTo>
                      <a:lnTo>
                        <a:pt x="6489" y="356"/>
                      </a:lnTo>
                      <a:lnTo>
                        <a:pt x="6525" y="273"/>
                      </a:lnTo>
                      <a:lnTo>
                        <a:pt x="6537" y="261"/>
                      </a:lnTo>
                      <a:lnTo>
                        <a:pt x="6560" y="238"/>
                      </a:lnTo>
                      <a:lnTo>
                        <a:pt x="6596" y="250"/>
                      </a:lnTo>
                      <a:lnTo>
                        <a:pt x="6632" y="356"/>
                      </a:lnTo>
                      <a:lnTo>
                        <a:pt x="6655" y="392"/>
                      </a:lnTo>
                      <a:lnTo>
                        <a:pt x="6750" y="452"/>
                      </a:lnTo>
                      <a:lnTo>
                        <a:pt x="6798" y="475"/>
                      </a:lnTo>
                      <a:lnTo>
                        <a:pt x="6846" y="499"/>
                      </a:lnTo>
                      <a:lnTo>
                        <a:pt x="6905" y="463"/>
                      </a:lnTo>
                      <a:lnTo>
                        <a:pt x="6929" y="416"/>
                      </a:lnTo>
                      <a:lnTo>
                        <a:pt x="6976" y="368"/>
                      </a:lnTo>
                      <a:lnTo>
                        <a:pt x="7036" y="285"/>
                      </a:lnTo>
                      <a:lnTo>
                        <a:pt x="7059" y="261"/>
                      </a:lnTo>
                      <a:lnTo>
                        <a:pt x="7095" y="261"/>
                      </a:lnTo>
                      <a:lnTo>
                        <a:pt x="7178" y="285"/>
                      </a:lnTo>
                      <a:lnTo>
                        <a:pt x="7226" y="273"/>
                      </a:lnTo>
                      <a:lnTo>
                        <a:pt x="7321" y="143"/>
                      </a:lnTo>
                      <a:lnTo>
                        <a:pt x="7416" y="71"/>
                      </a:lnTo>
                      <a:lnTo>
                        <a:pt x="7416" y="48"/>
                      </a:lnTo>
                      <a:lnTo>
                        <a:pt x="7428" y="24"/>
                      </a:lnTo>
                      <a:lnTo>
                        <a:pt x="7440" y="36"/>
                      </a:lnTo>
                      <a:lnTo>
                        <a:pt x="7511" y="0"/>
                      </a:lnTo>
                      <a:lnTo>
                        <a:pt x="7523" y="12"/>
                      </a:lnTo>
                      <a:lnTo>
                        <a:pt x="7547" y="24"/>
                      </a:lnTo>
                      <a:lnTo>
                        <a:pt x="7570" y="107"/>
                      </a:lnTo>
                      <a:lnTo>
                        <a:pt x="7570" y="107"/>
                      </a:lnTo>
                      <a:lnTo>
                        <a:pt x="7594" y="226"/>
                      </a:lnTo>
                      <a:lnTo>
                        <a:pt x="7618" y="333"/>
                      </a:lnTo>
                      <a:lnTo>
                        <a:pt x="7666" y="440"/>
                      </a:lnTo>
                      <a:lnTo>
                        <a:pt x="7737" y="487"/>
                      </a:lnTo>
                      <a:lnTo>
                        <a:pt x="7772" y="487"/>
                      </a:lnTo>
                      <a:lnTo>
                        <a:pt x="7832" y="535"/>
                      </a:lnTo>
                      <a:lnTo>
                        <a:pt x="7856" y="606"/>
                      </a:lnTo>
                      <a:lnTo>
                        <a:pt x="7891" y="772"/>
                      </a:lnTo>
                      <a:lnTo>
                        <a:pt x="7891" y="796"/>
                      </a:lnTo>
                      <a:lnTo>
                        <a:pt x="7903" y="808"/>
                      </a:lnTo>
                      <a:lnTo>
                        <a:pt x="7903" y="891"/>
                      </a:lnTo>
                      <a:lnTo>
                        <a:pt x="7868" y="1022"/>
                      </a:lnTo>
                      <a:lnTo>
                        <a:pt x="7879" y="1129"/>
                      </a:lnTo>
                      <a:lnTo>
                        <a:pt x="7903" y="1248"/>
                      </a:lnTo>
                      <a:lnTo>
                        <a:pt x="7927" y="1272"/>
                      </a:lnTo>
                      <a:lnTo>
                        <a:pt x="8022" y="1236"/>
                      </a:lnTo>
                      <a:lnTo>
                        <a:pt x="8129" y="1200"/>
                      </a:lnTo>
                      <a:lnTo>
                        <a:pt x="8165" y="1200"/>
                      </a:lnTo>
                      <a:lnTo>
                        <a:pt x="8248" y="1260"/>
                      </a:lnTo>
                      <a:lnTo>
                        <a:pt x="8486" y="1485"/>
                      </a:lnTo>
                      <a:lnTo>
                        <a:pt x="8521" y="1509"/>
                      </a:lnTo>
                      <a:lnTo>
                        <a:pt x="8533" y="1509"/>
                      </a:lnTo>
                      <a:lnTo>
                        <a:pt x="8652" y="1628"/>
                      </a:lnTo>
                      <a:lnTo>
                        <a:pt x="8664" y="1640"/>
                      </a:lnTo>
                      <a:lnTo>
                        <a:pt x="8818" y="1783"/>
                      </a:lnTo>
                      <a:lnTo>
                        <a:pt x="8866" y="1783"/>
                      </a:lnTo>
                      <a:lnTo>
                        <a:pt x="8913" y="1759"/>
                      </a:lnTo>
                      <a:lnTo>
                        <a:pt x="8949" y="1759"/>
                      </a:lnTo>
                      <a:lnTo>
                        <a:pt x="9020" y="1783"/>
                      </a:lnTo>
                      <a:lnTo>
                        <a:pt x="9068" y="1783"/>
                      </a:lnTo>
                      <a:lnTo>
                        <a:pt x="9127" y="1759"/>
                      </a:lnTo>
                      <a:lnTo>
                        <a:pt x="9270" y="1664"/>
                      </a:lnTo>
                      <a:lnTo>
                        <a:pt x="9329" y="1581"/>
                      </a:lnTo>
                      <a:lnTo>
                        <a:pt x="9353" y="1569"/>
                      </a:lnTo>
                      <a:lnTo>
                        <a:pt x="9401" y="1545"/>
                      </a:lnTo>
                      <a:lnTo>
                        <a:pt x="9603" y="1497"/>
                      </a:lnTo>
                      <a:lnTo>
                        <a:pt x="9638" y="1497"/>
                      </a:lnTo>
                      <a:lnTo>
                        <a:pt x="9733" y="1521"/>
                      </a:lnTo>
                      <a:lnTo>
                        <a:pt x="9769" y="1557"/>
                      </a:lnTo>
                      <a:lnTo>
                        <a:pt x="9781" y="1616"/>
                      </a:lnTo>
                      <a:lnTo>
                        <a:pt x="9769" y="1664"/>
                      </a:lnTo>
                      <a:lnTo>
                        <a:pt x="9721" y="1711"/>
                      </a:lnTo>
                      <a:lnTo>
                        <a:pt x="9721" y="1735"/>
                      </a:lnTo>
                      <a:lnTo>
                        <a:pt x="9698" y="1771"/>
                      </a:lnTo>
                      <a:lnTo>
                        <a:pt x="9686" y="1830"/>
                      </a:lnTo>
                      <a:lnTo>
                        <a:pt x="9698" y="1866"/>
                      </a:lnTo>
                      <a:lnTo>
                        <a:pt x="9698" y="1878"/>
                      </a:lnTo>
                      <a:lnTo>
                        <a:pt x="9757" y="1890"/>
                      </a:lnTo>
                      <a:lnTo>
                        <a:pt x="9852" y="1866"/>
                      </a:lnTo>
                      <a:lnTo>
                        <a:pt x="9888" y="1818"/>
                      </a:lnTo>
                      <a:lnTo>
                        <a:pt x="9900" y="1735"/>
                      </a:lnTo>
                      <a:lnTo>
                        <a:pt x="9923" y="1676"/>
                      </a:lnTo>
                      <a:lnTo>
                        <a:pt x="9983" y="1652"/>
                      </a:lnTo>
                      <a:lnTo>
                        <a:pt x="10007" y="1581"/>
                      </a:lnTo>
                      <a:lnTo>
                        <a:pt x="10019" y="1569"/>
                      </a:lnTo>
                      <a:lnTo>
                        <a:pt x="10066" y="1569"/>
                      </a:lnTo>
                      <a:lnTo>
                        <a:pt x="10114" y="1581"/>
                      </a:lnTo>
                      <a:lnTo>
                        <a:pt x="10173" y="1569"/>
                      </a:lnTo>
                      <a:lnTo>
                        <a:pt x="10197" y="1414"/>
                      </a:lnTo>
                      <a:lnTo>
                        <a:pt x="10209" y="1379"/>
                      </a:lnTo>
                      <a:lnTo>
                        <a:pt x="10244" y="1343"/>
                      </a:lnTo>
                      <a:lnTo>
                        <a:pt x="10268" y="1331"/>
                      </a:lnTo>
                      <a:lnTo>
                        <a:pt x="10327" y="1355"/>
                      </a:lnTo>
                      <a:lnTo>
                        <a:pt x="10351" y="1355"/>
                      </a:lnTo>
                      <a:lnTo>
                        <a:pt x="10375" y="1343"/>
                      </a:lnTo>
                      <a:lnTo>
                        <a:pt x="10434" y="1260"/>
                      </a:lnTo>
                      <a:lnTo>
                        <a:pt x="10494" y="1248"/>
                      </a:lnTo>
                      <a:lnTo>
                        <a:pt x="10613" y="1153"/>
                      </a:lnTo>
                      <a:lnTo>
                        <a:pt x="10648" y="1153"/>
                      </a:lnTo>
                      <a:lnTo>
                        <a:pt x="10684" y="1200"/>
                      </a:lnTo>
                      <a:lnTo>
                        <a:pt x="10684" y="1200"/>
                      </a:lnTo>
                      <a:lnTo>
                        <a:pt x="10708" y="1200"/>
                      </a:lnTo>
                      <a:lnTo>
                        <a:pt x="10815" y="1129"/>
                      </a:lnTo>
                      <a:lnTo>
                        <a:pt x="10815" y="1117"/>
                      </a:lnTo>
                      <a:lnTo>
                        <a:pt x="10850" y="1105"/>
                      </a:lnTo>
                      <a:lnTo>
                        <a:pt x="10922" y="1058"/>
                      </a:lnTo>
                      <a:lnTo>
                        <a:pt x="10945" y="1010"/>
                      </a:lnTo>
                      <a:lnTo>
                        <a:pt x="10993" y="927"/>
                      </a:lnTo>
                      <a:lnTo>
                        <a:pt x="11052" y="879"/>
                      </a:lnTo>
                      <a:lnTo>
                        <a:pt x="11112" y="856"/>
                      </a:lnTo>
                      <a:lnTo>
                        <a:pt x="11171" y="844"/>
                      </a:lnTo>
                      <a:lnTo>
                        <a:pt x="11195" y="856"/>
                      </a:lnTo>
                      <a:lnTo>
                        <a:pt x="11195" y="879"/>
                      </a:lnTo>
                      <a:lnTo>
                        <a:pt x="11159" y="927"/>
                      </a:lnTo>
                      <a:lnTo>
                        <a:pt x="11147" y="963"/>
                      </a:lnTo>
                      <a:lnTo>
                        <a:pt x="11159" y="1046"/>
                      </a:lnTo>
                      <a:lnTo>
                        <a:pt x="11159" y="1070"/>
                      </a:lnTo>
                      <a:lnTo>
                        <a:pt x="11171" y="1081"/>
                      </a:lnTo>
                      <a:lnTo>
                        <a:pt x="11195" y="1081"/>
                      </a:lnTo>
                      <a:lnTo>
                        <a:pt x="11219" y="1046"/>
                      </a:lnTo>
                      <a:lnTo>
                        <a:pt x="11231" y="974"/>
                      </a:lnTo>
                      <a:lnTo>
                        <a:pt x="11254" y="927"/>
                      </a:lnTo>
                      <a:lnTo>
                        <a:pt x="11266" y="903"/>
                      </a:lnTo>
                      <a:lnTo>
                        <a:pt x="11338" y="903"/>
                      </a:lnTo>
                      <a:lnTo>
                        <a:pt x="11385" y="808"/>
                      </a:lnTo>
                      <a:lnTo>
                        <a:pt x="11480" y="749"/>
                      </a:lnTo>
                      <a:lnTo>
                        <a:pt x="11504" y="713"/>
                      </a:lnTo>
                      <a:lnTo>
                        <a:pt x="11516" y="654"/>
                      </a:lnTo>
                      <a:lnTo>
                        <a:pt x="11516" y="570"/>
                      </a:lnTo>
                      <a:lnTo>
                        <a:pt x="11528" y="523"/>
                      </a:lnTo>
                      <a:lnTo>
                        <a:pt x="11528" y="392"/>
                      </a:lnTo>
                      <a:lnTo>
                        <a:pt x="11587" y="321"/>
                      </a:lnTo>
                      <a:lnTo>
                        <a:pt x="11682" y="297"/>
                      </a:lnTo>
                      <a:lnTo>
                        <a:pt x="11789" y="321"/>
                      </a:lnTo>
                      <a:lnTo>
                        <a:pt x="11801" y="309"/>
                      </a:lnTo>
                      <a:lnTo>
                        <a:pt x="11872" y="309"/>
                      </a:lnTo>
                      <a:lnTo>
                        <a:pt x="11896" y="273"/>
                      </a:lnTo>
                      <a:lnTo>
                        <a:pt x="11920" y="261"/>
                      </a:lnTo>
                      <a:lnTo>
                        <a:pt x="11967" y="273"/>
                      </a:lnTo>
                      <a:lnTo>
                        <a:pt x="11979" y="273"/>
                      </a:lnTo>
                      <a:lnTo>
                        <a:pt x="12051" y="178"/>
                      </a:lnTo>
                      <a:lnTo>
                        <a:pt x="12146" y="131"/>
                      </a:lnTo>
                      <a:lnTo>
                        <a:pt x="12205" y="131"/>
                      </a:lnTo>
                      <a:lnTo>
                        <a:pt x="12253" y="131"/>
                      </a:lnTo>
                      <a:lnTo>
                        <a:pt x="12265" y="119"/>
                      </a:lnTo>
                      <a:lnTo>
                        <a:pt x="12324" y="95"/>
                      </a:lnTo>
                      <a:lnTo>
                        <a:pt x="12372" y="12"/>
                      </a:lnTo>
                      <a:lnTo>
                        <a:pt x="12372" y="12"/>
                      </a:lnTo>
                      <a:lnTo>
                        <a:pt x="12467" y="71"/>
                      </a:lnTo>
                      <a:lnTo>
                        <a:pt x="12502" y="83"/>
                      </a:lnTo>
                      <a:lnTo>
                        <a:pt x="12645" y="71"/>
                      </a:lnTo>
                      <a:lnTo>
                        <a:pt x="12669" y="95"/>
                      </a:lnTo>
                      <a:lnTo>
                        <a:pt x="12728" y="214"/>
                      </a:lnTo>
                      <a:lnTo>
                        <a:pt x="12752" y="261"/>
                      </a:lnTo>
                      <a:lnTo>
                        <a:pt x="12811" y="285"/>
                      </a:lnTo>
                      <a:lnTo>
                        <a:pt x="12871" y="273"/>
                      </a:lnTo>
                      <a:lnTo>
                        <a:pt x="12942" y="250"/>
                      </a:lnTo>
                      <a:lnTo>
                        <a:pt x="12978" y="250"/>
                      </a:lnTo>
                      <a:lnTo>
                        <a:pt x="13049" y="285"/>
                      </a:lnTo>
                      <a:lnTo>
                        <a:pt x="13108" y="297"/>
                      </a:lnTo>
                      <a:lnTo>
                        <a:pt x="13168" y="356"/>
                      </a:lnTo>
                      <a:lnTo>
                        <a:pt x="13180" y="404"/>
                      </a:lnTo>
                      <a:lnTo>
                        <a:pt x="13180" y="523"/>
                      </a:lnTo>
                      <a:lnTo>
                        <a:pt x="13180" y="594"/>
                      </a:lnTo>
                      <a:lnTo>
                        <a:pt x="13144" y="665"/>
                      </a:lnTo>
                      <a:lnTo>
                        <a:pt x="13061" y="725"/>
                      </a:lnTo>
                      <a:lnTo>
                        <a:pt x="13049" y="749"/>
                      </a:lnTo>
                      <a:lnTo>
                        <a:pt x="13049" y="761"/>
                      </a:lnTo>
                      <a:lnTo>
                        <a:pt x="13061" y="784"/>
                      </a:lnTo>
                      <a:lnTo>
                        <a:pt x="13085" y="796"/>
                      </a:lnTo>
                      <a:lnTo>
                        <a:pt x="13108" y="820"/>
                      </a:lnTo>
                      <a:lnTo>
                        <a:pt x="13120" y="879"/>
                      </a:lnTo>
                      <a:lnTo>
                        <a:pt x="13132" y="903"/>
                      </a:lnTo>
                      <a:lnTo>
                        <a:pt x="13156" y="915"/>
                      </a:lnTo>
                      <a:lnTo>
                        <a:pt x="13215" y="951"/>
                      </a:lnTo>
                      <a:lnTo>
                        <a:pt x="13239" y="986"/>
                      </a:lnTo>
                      <a:lnTo>
                        <a:pt x="13287" y="1236"/>
                      </a:lnTo>
                      <a:lnTo>
                        <a:pt x="13346" y="1414"/>
                      </a:lnTo>
                      <a:lnTo>
                        <a:pt x="13370" y="1557"/>
                      </a:lnTo>
                      <a:lnTo>
                        <a:pt x="13417" y="1628"/>
                      </a:lnTo>
                      <a:lnTo>
                        <a:pt x="13441" y="1664"/>
                      </a:lnTo>
                      <a:lnTo>
                        <a:pt x="13453" y="1687"/>
                      </a:lnTo>
                      <a:lnTo>
                        <a:pt x="13453" y="1735"/>
                      </a:lnTo>
                      <a:lnTo>
                        <a:pt x="13346" y="1842"/>
                      </a:lnTo>
                      <a:lnTo>
                        <a:pt x="13346" y="1866"/>
                      </a:lnTo>
                      <a:lnTo>
                        <a:pt x="13358" y="1949"/>
                      </a:lnTo>
                      <a:lnTo>
                        <a:pt x="13394" y="2056"/>
                      </a:lnTo>
                      <a:lnTo>
                        <a:pt x="13394" y="2139"/>
                      </a:lnTo>
                      <a:lnTo>
                        <a:pt x="13441" y="2163"/>
                      </a:lnTo>
                      <a:lnTo>
                        <a:pt x="13465" y="2222"/>
                      </a:lnTo>
                      <a:lnTo>
                        <a:pt x="13441" y="2305"/>
                      </a:lnTo>
                      <a:lnTo>
                        <a:pt x="13465" y="2412"/>
                      </a:lnTo>
                      <a:lnTo>
                        <a:pt x="13489" y="2472"/>
                      </a:lnTo>
                      <a:lnTo>
                        <a:pt x="13489" y="2567"/>
                      </a:lnTo>
                      <a:lnTo>
                        <a:pt x="13500" y="2591"/>
                      </a:lnTo>
                      <a:lnTo>
                        <a:pt x="13572" y="2638"/>
                      </a:lnTo>
                      <a:lnTo>
                        <a:pt x="13596" y="2686"/>
                      </a:lnTo>
                      <a:lnTo>
                        <a:pt x="13607" y="2793"/>
                      </a:lnTo>
                      <a:lnTo>
                        <a:pt x="13679" y="2864"/>
                      </a:lnTo>
                      <a:lnTo>
                        <a:pt x="13691" y="2900"/>
                      </a:lnTo>
                      <a:lnTo>
                        <a:pt x="13691" y="2947"/>
                      </a:lnTo>
                      <a:lnTo>
                        <a:pt x="13691" y="2995"/>
                      </a:lnTo>
                      <a:lnTo>
                        <a:pt x="13679" y="3030"/>
                      </a:lnTo>
                      <a:lnTo>
                        <a:pt x="13703" y="3066"/>
                      </a:lnTo>
                      <a:lnTo>
                        <a:pt x="13750" y="3066"/>
                      </a:lnTo>
                      <a:lnTo>
                        <a:pt x="13762" y="3102"/>
                      </a:lnTo>
                      <a:lnTo>
                        <a:pt x="13750" y="3114"/>
                      </a:lnTo>
                      <a:lnTo>
                        <a:pt x="13726" y="3161"/>
                      </a:lnTo>
                      <a:lnTo>
                        <a:pt x="13655" y="3232"/>
                      </a:lnTo>
                      <a:lnTo>
                        <a:pt x="13619" y="3292"/>
                      </a:lnTo>
                      <a:lnTo>
                        <a:pt x="13619" y="3292"/>
                      </a:lnTo>
                      <a:lnTo>
                        <a:pt x="13631" y="3387"/>
                      </a:lnTo>
                      <a:lnTo>
                        <a:pt x="13596" y="3470"/>
                      </a:lnTo>
                      <a:lnTo>
                        <a:pt x="13536" y="3470"/>
                      </a:lnTo>
                      <a:lnTo>
                        <a:pt x="13512" y="3518"/>
                      </a:lnTo>
                      <a:lnTo>
                        <a:pt x="13453" y="3494"/>
                      </a:lnTo>
                      <a:lnTo>
                        <a:pt x="13417" y="3494"/>
                      </a:lnTo>
                      <a:lnTo>
                        <a:pt x="13394" y="3518"/>
                      </a:lnTo>
                      <a:lnTo>
                        <a:pt x="13394" y="3589"/>
                      </a:lnTo>
                      <a:lnTo>
                        <a:pt x="13417" y="3625"/>
                      </a:lnTo>
                      <a:lnTo>
                        <a:pt x="13465" y="3636"/>
                      </a:lnTo>
                      <a:lnTo>
                        <a:pt x="13489" y="3648"/>
                      </a:lnTo>
                      <a:lnTo>
                        <a:pt x="13524" y="3684"/>
                      </a:lnTo>
                      <a:lnTo>
                        <a:pt x="13572" y="3731"/>
                      </a:lnTo>
                      <a:lnTo>
                        <a:pt x="13643" y="3827"/>
                      </a:lnTo>
                      <a:lnTo>
                        <a:pt x="13691" y="3827"/>
                      </a:lnTo>
                      <a:lnTo>
                        <a:pt x="13726" y="3874"/>
                      </a:lnTo>
                      <a:lnTo>
                        <a:pt x="13833" y="3922"/>
                      </a:lnTo>
                      <a:lnTo>
                        <a:pt x="13881" y="3993"/>
                      </a:lnTo>
                      <a:lnTo>
                        <a:pt x="13916" y="3993"/>
                      </a:lnTo>
                      <a:lnTo>
                        <a:pt x="13952" y="4040"/>
                      </a:lnTo>
                      <a:lnTo>
                        <a:pt x="13976" y="4088"/>
                      </a:lnTo>
                      <a:lnTo>
                        <a:pt x="14011" y="4112"/>
                      </a:lnTo>
                      <a:lnTo>
                        <a:pt x="14011" y="4159"/>
                      </a:lnTo>
                      <a:lnTo>
                        <a:pt x="14035" y="4183"/>
                      </a:lnTo>
                      <a:lnTo>
                        <a:pt x="14047" y="4231"/>
                      </a:lnTo>
                      <a:lnTo>
                        <a:pt x="14083" y="4290"/>
                      </a:lnTo>
                      <a:lnTo>
                        <a:pt x="14130" y="4326"/>
                      </a:lnTo>
                      <a:lnTo>
                        <a:pt x="14249" y="4349"/>
                      </a:lnTo>
                      <a:lnTo>
                        <a:pt x="14285" y="4349"/>
                      </a:lnTo>
                      <a:lnTo>
                        <a:pt x="14320" y="4373"/>
                      </a:lnTo>
                      <a:lnTo>
                        <a:pt x="14439" y="4421"/>
                      </a:lnTo>
                      <a:lnTo>
                        <a:pt x="14487" y="4373"/>
                      </a:lnTo>
                      <a:lnTo>
                        <a:pt x="14475" y="4338"/>
                      </a:lnTo>
                      <a:lnTo>
                        <a:pt x="14475" y="4326"/>
                      </a:lnTo>
                      <a:lnTo>
                        <a:pt x="14499" y="4314"/>
                      </a:lnTo>
                      <a:lnTo>
                        <a:pt x="14499" y="4302"/>
                      </a:lnTo>
                      <a:lnTo>
                        <a:pt x="14499" y="4266"/>
                      </a:lnTo>
                      <a:lnTo>
                        <a:pt x="14487" y="4242"/>
                      </a:lnTo>
                      <a:lnTo>
                        <a:pt x="14451" y="4219"/>
                      </a:lnTo>
                      <a:lnTo>
                        <a:pt x="14451" y="4207"/>
                      </a:lnTo>
                      <a:lnTo>
                        <a:pt x="14475" y="4076"/>
                      </a:lnTo>
                      <a:lnTo>
                        <a:pt x="14499" y="4040"/>
                      </a:lnTo>
                      <a:lnTo>
                        <a:pt x="14511" y="4005"/>
                      </a:lnTo>
                      <a:lnTo>
                        <a:pt x="14499" y="3981"/>
                      </a:lnTo>
                      <a:lnTo>
                        <a:pt x="14499" y="3957"/>
                      </a:lnTo>
                      <a:lnTo>
                        <a:pt x="14522" y="3934"/>
                      </a:lnTo>
                      <a:lnTo>
                        <a:pt x="14534" y="3922"/>
                      </a:lnTo>
                      <a:lnTo>
                        <a:pt x="14534" y="3827"/>
                      </a:lnTo>
                      <a:lnTo>
                        <a:pt x="14499" y="3779"/>
                      </a:lnTo>
                      <a:lnTo>
                        <a:pt x="14487" y="3743"/>
                      </a:lnTo>
                      <a:lnTo>
                        <a:pt x="14534" y="3660"/>
                      </a:lnTo>
                      <a:lnTo>
                        <a:pt x="14546" y="3601"/>
                      </a:lnTo>
                      <a:lnTo>
                        <a:pt x="14629" y="3494"/>
                      </a:lnTo>
                      <a:lnTo>
                        <a:pt x="14641" y="3446"/>
                      </a:lnTo>
                      <a:lnTo>
                        <a:pt x="14653" y="3434"/>
                      </a:lnTo>
                      <a:lnTo>
                        <a:pt x="14665" y="3446"/>
                      </a:lnTo>
                      <a:lnTo>
                        <a:pt x="14677" y="3411"/>
                      </a:lnTo>
                      <a:lnTo>
                        <a:pt x="14748" y="3411"/>
                      </a:lnTo>
                      <a:lnTo>
                        <a:pt x="14796" y="3387"/>
                      </a:lnTo>
                      <a:lnTo>
                        <a:pt x="14891" y="3351"/>
                      </a:lnTo>
                      <a:lnTo>
                        <a:pt x="14927" y="3327"/>
                      </a:lnTo>
                      <a:lnTo>
                        <a:pt x="14938" y="3268"/>
                      </a:lnTo>
                      <a:lnTo>
                        <a:pt x="14974" y="3256"/>
                      </a:lnTo>
                      <a:lnTo>
                        <a:pt x="15033" y="3268"/>
                      </a:lnTo>
                      <a:lnTo>
                        <a:pt x="15093" y="3256"/>
                      </a:lnTo>
                      <a:lnTo>
                        <a:pt x="15117" y="3280"/>
                      </a:lnTo>
                      <a:lnTo>
                        <a:pt x="15129" y="3327"/>
                      </a:lnTo>
                      <a:lnTo>
                        <a:pt x="15152" y="3339"/>
                      </a:lnTo>
                      <a:lnTo>
                        <a:pt x="15236" y="3327"/>
                      </a:lnTo>
                      <a:lnTo>
                        <a:pt x="15271" y="3339"/>
                      </a:lnTo>
                      <a:lnTo>
                        <a:pt x="15295" y="3363"/>
                      </a:lnTo>
                      <a:lnTo>
                        <a:pt x="15307" y="3434"/>
                      </a:lnTo>
                      <a:lnTo>
                        <a:pt x="15319" y="3446"/>
                      </a:lnTo>
                      <a:lnTo>
                        <a:pt x="15366" y="3446"/>
                      </a:lnTo>
                      <a:lnTo>
                        <a:pt x="15378" y="3494"/>
                      </a:lnTo>
                      <a:lnTo>
                        <a:pt x="15414" y="3494"/>
                      </a:lnTo>
                      <a:lnTo>
                        <a:pt x="15426" y="3506"/>
                      </a:lnTo>
                      <a:lnTo>
                        <a:pt x="15426" y="3541"/>
                      </a:lnTo>
                      <a:lnTo>
                        <a:pt x="15449" y="3565"/>
                      </a:lnTo>
                      <a:lnTo>
                        <a:pt x="15449" y="3613"/>
                      </a:lnTo>
                      <a:lnTo>
                        <a:pt x="15473" y="3636"/>
                      </a:lnTo>
                      <a:lnTo>
                        <a:pt x="15461" y="3672"/>
                      </a:lnTo>
                      <a:lnTo>
                        <a:pt x="15473" y="3708"/>
                      </a:lnTo>
                      <a:lnTo>
                        <a:pt x="15485" y="3708"/>
                      </a:lnTo>
                      <a:lnTo>
                        <a:pt x="15533" y="3696"/>
                      </a:lnTo>
                      <a:lnTo>
                        <a:pt x="15568" y="3720"/>
                      </a:lnTo>
                      <a:lnTo>
                        <a:pt x="15592" y="3720"/>
                      </a:lnTo>
                      <a:lnTo>
                        <a:pt x="15651" y="3684"/>
                      </a:lnTo>
                      <a:lnTo>
                        <a:pt x="15711" y="3696"/>
                      </a:lnTo>
                      <a:lnTo>
                        <a:pt x="15735" y="3696"/>
                      </a:lnTo>
                      <a:lnTo>
                        <a:pt x="15770" y="3660"/>
                      </a:lnTo>
                      <a:lnTo>
                        <a:pt x="15794" y="3613"/>
                      </a:lnTo>
                      <a:lnTo>
                        <a:pt x="15806" y="3589"/>
                      </a:lnTo>
                      <a:lnTo>
                        <a:pt x="15853" y="3577"/>
                      </a:lnTo>
                      <a:lnTo>
                        <a:pt x="15901" y="3577"/>
                      </a:lnTo>
                      <a:lnTo>
                        <a:pt x="15972" y="3529"/>
                      </a:lnTo>
                      <a:lnTo>
                        <a:pt x="15996" y="3506"/>
                      </a:lnTo>
                      <a:lnTo>
                        <a:pt x="16008" y="3470"/>
                      </a:lnTo>
                      <a:lnTo>
                        <a:pt x="16008" y="3434"/>
                      </a:lnTo>
                      <a:lnTo>
                        <a:pt x="15949" y="3375"/>
                      </a:lnTo>
                      <a:lnTo>
                        <a:pt x="15925" y="3363"/>
                      </a:lnTo>
                      <a:lnTo>
                        <a:pt x="15925" y="3351"/>
                      </a:lnTo>
                      <a:lnTo>
                        <a:pt x="15925" y="3316"/>
                      </a:lnTo>
                      <a:lnTo>
                        <a:pt x="15925" y="3280"/>
                      </a:lnTo>
                      <a:lnTo>
                        <a:pt x="15925" y="3268"/>
                      </a:lnTo>
                      <a:lnTo>
                        <a:pt x="15960" y="3244"/>
                      </a:lnTo>
                      <a:lnTo>
                        <a:pt x="15949" y="3209"/>
                      </a:lnTo>
                      <a:lnTo>
                        <a:pt x="15949" y="3185"/>
                      </a:lnTo>
                      <a:lnTo>
                        <a:pt x="15972" y="3161"/>
                      </a:lnTo>
                      <a:lnTo>
                        <a:pt x="16020" y="2983"/>
                      </a:lnTo>
                      <a:lnTo>
                        <a:pt x="16067" y="2912"/>
                      </a:lnTo>
                      <a:lnTo>
                        <a:pt x="16103" y="2757"/>
                      </a:lnTo>
                      <a:lnTo>
                        <a:pt x="16174" y="2698"/>
                      </a:lnTo>
                      <a:lnTo>
                        <a:pt x="16186" y="2662"/>
                      </a:lnTo>
                      <a:lnTo>
                        <a:pt x="16222" y="2603"/>
                      </a:lnTo>
                      <a:lnTo>
                        <a:pt x="16246" y="2555"/>
                      </a:lnTo>
                      <a:lnTo>
                        <a:pt x="16305" y="2484"/>
                      </a:lnTo>
                      <a:lnTo>
                        <a:pt x="16317" y="2460"/>
                      </a:lnTo>
                      <a:lnTo>
                        <a:pt x="16293" y="2401"/>
                      </a:lnTo>
                      <a:lnTo>
                        <a:pt x="16353" y="2412"/>
                      </a:lnTo>
                      <a:lnTo>
                        <a:pt x="17695" y="2412"/>
                      </a:lnTo>
                      <a:lnTo>
                        <a:pt x="17695" y="2412"/>
                      </a:lnTo>
                      <a:lnTo>
                        <a:pt x="17695" y="2579"/>
                      </a:lnTo>
                      <a:lnTo>
                        <a:pt x="17707" y="2603"/>
                      </a:lnTo>
                      <a:lnTo>
                        <a:pt x="17707" y="2745"/>
                      </a:lnTo>
                      <a:lnTo>
                        <a:pt x="17755" y="2769"/>
                      </a:lnTo>
                      <a:lnTo>
                        <a:pt x="17791" y="2805"/>
                      </a:lnTo>
                      <a:lnTo>
                        <a:pt x="17791" y="2828"/>
                      </a:lnTo>
                      <a:lnTo>
                        <a:pt x="17755" y="2923"/>
                      </a:lnTo>
                      <a:lnTo>
                        <a:pt x="17755" y="3102"/>
                      </a:lnTo>
                      <a:lnTo>
                        <a:pt x="17791" y="3137"/>
                      </a:lnTo>
                      <a:lnTo>
                        <a:pt x="17886" y="3185"/>
                      </a:lnTo>
                      <a:lnTo>
                        <a:pt x="17909" y="3220"/>
                      </a:lnTo>
                      <a:lnTo>
                        <a:pt x="17945" y="3339"/>
                      </a:lnTo>
                      <a:lnTo>
                        <a:pt x="17945" y="3351"/>
                      </a:lnTo>
                      <a:lnTo>
                        <a:pt x="17921" y="3363"/>
                      </a:lnTo>
                      <a:lnTo>
                        <a:pt x="17909" y="3387"/>
                      </a:lnTo>
                      <a:lnTo>
                        <a:pt x="17909" y="3446"/>
                      </a:lnTo>
                      <a:lnTo>
                        <a:pt x="17921" y="3482"/>
                      </a:lnTo>
                      <a:lnTo>
                        <a:pt x="17957" y="3518"/>
                      </a:lnTo>
                      <a:lnTo>
                        <a:pt x="17981" y="3529"/>
                      </a:lnTo>
                      <a:lnTo>
                        <a:pt x="18135" y="3672"/>
                      </a:lnTo>
                      <a:lnTo>
                        <a:pt x="18171" y="3684"/>
                      </a:lnTo>
                      <a:lnTo>
                        <a:pt x="18183" y="3672"/>
                      </a:lnTo>
                      <a:lnTo>
                        <a:pt x="18218" y="3720"/>
                      </a:lnTo>
                      <a:lnTo>
                        <a:pt x="18278" y="3743"/>
                      </a:lnTo>
                      <a:lnTo>
                        <a:pt x="18278" y="3755"/>
                      </a:lnTo>
                      <a:lnTo>
                        <a:pt x="18254" y="3791"/>
                      </a:lnTo>
                      <a:lnTo>
                        <a:pt x="18278" y="3827"/>
                      </a:lnTo>
                      <a:lnTo>
                        <a:pt x="18290" y="3934"/>
                      </a:lnTo>
                      <a:lnTo>
                        <a:pt x="18313" y="3957"/>
                      </a:lnTo>
                      <a:lnTo>
                        <a:pt x="18373" y="3993"/>
                      </a:lnTo>
                      <a:lnTo>
                        <a:pt x="18409" y="4040"/>
                      </a:lnTo>
                      <a:lnTo>
                        <a:pt x="18456" y="4040"/>
                      </a:lnTo>
                      <a:lnTo>
                        <a:pt x="18480" y="4052"/>
                      </a:lnTo>
                      <a:lnTo>
                        <a:pt x="18551" y="4136"/>
                      </a:lnTo>
                      <a:lnTo>
                        <a:pt x="18599" y="4147"/>
                      </a:lnTo>
                      <a:lnTo>
                        <a:pt x="18634" y="4136"/>
                      </a:lnTo>
                      <a:lnTo>
                        <a:pt x="18682" y="4064"/>
                      </a:lnTo>
                      <a:lnTo>
                        <a:pt x="18717" y="4052"/>
                      </a:lnTo>
                      <a:lnTo>
                        <a:pt x="18729" y="4040"/>
                      </a:lnTo>
                      <a:lnTo>
                        <a:pt x="18729" y="4005"/>
                      </a:lnTo>
                      <a:lnTo>
                        <a:pt x="18741" y="4005"/>
                      </a:lnTo>
                      <a:lnTo>
                        <a:pt x="18765" y="4005"/>
                      </a:lnTo>
                      <a:lnTo>
                        <a:pt x="18801" y="4076"/>
                      </a:lnTo>
                      <a:lnTo>
                        <a:pt x="18824" y="4100"/>
                      </a:lnTo>
                      <a:lnTo>
                        <a:pt x="18836" y="4147"/>
                      </a:lnTo>
                      <a:lnTo>
                        <a:pt x="18801" y="4302"/>
                      </a:lnTo>
                      <a:lnTo>
                        <a:pt x="18848" y="4349"/>
                      </a:lnTo>
                      <a:lnTo>
                        <a:pt x="18884" y="4373"/>
                      </a:lnTo>
                      <a:lnTo>
                        <a:pt x="18967" y="4397"/>
                      </a:lnTo>
                      <a:lnTo>
                        <a:pt x="19050" y="4480"/>
                      </a:lnTo>
                      <a:lnTo>
                        <a:pt x="19133" y="4516"/>
                      </a:lnTo>
                      <a:lnTo>
                        <a:pt x="19157" y="4563"/>
                      </a:lnTo>
                      <a:lnTo>
                        <a:pt x="19169" y="4575"/>
                      </a:lnTo>
                      <a:lnTo>
                        <a:pt x="19240" y="4575"/>
                      </a:lnTo>
                      <a:lnTo>
                        <a:pt x="19276" y="4551"/>
                      </a:lnTo>
                      <a:lnTo>
                        <a:pt x="19300" y="4587"/>
                      </a:lnTo>
                      <a:lnTo>
                        <a:pt x="19324" y="4599"/>
                      </a:lnTo>
                      <a:lnTo>
                        <a:pt x="19359" y="4647"/>
                      </a:lnTo>
                      <a:lnTo>
                        <a:pt x="19442" y="4682"/>
                      </a:lnTo>
                      <a:lnTo>
                        <a:pt x="19454" y="4682"/>
                      </a:lnTo>
                      <a:lnTo>
                        <a:pt x="19502" y="4682"/>
                      </a:lnTo>
                      <a:lnTo>
                        <a:pt x="19549" y="4742"/>
                      </a:lnTo>
                      <a:lnTo>
                        <a:pt x="19692" y="4742"/>
                      </a:lnTo>
                      <a:lnTo>
                        <a:pt x="19728" y="4730"/>
                      </a:lnTo>
                      <a:lnTo>
                        <a:pt x="19763" y="4730"/>
                      </a:lnTo>
                      <a:lnTo>
                        <a:pt x="19823" y="4789"/>
                      </a:lnTo>
                      <a:lnTo>
                        <a:pt x="19906" y="4825"/>
                      </a:lnTo>
                      <a:lnTo>
                        <a:pt x="19918" y="4860"/>
                      </a:lnTo>
                      <a:lnTo>
                        <a:pt x="19930" y="4908"/>
                      </a:lnTo>
                      <a:lnTo>
                        <a:pt x="19930" y="4920"/>
                      </a:lnTo>
                      <a:lnTo>
                        <a:pt x="19953" y="4956"/>
                      </a:lnTo>
                      <a:lnTo>
                        <a:pt x="19977" y="4979"/>
                      </a:lnTo>
                      <a:lnTo>
                        <a:pt x="20013" y="4991"/>
                      </a:lnTo>
                      <a:lnTo>
                        <a:pt x="20025" y="4991"/>
                      </a:lnTo>
                      <a:lnTo>
                        <a:pt x="20072" y="5027"/>
                      </a:lnTo>
                      <a:lnTo>
                        <a:pt x="20144" y="5051"/>
                      </a:lnTo>
                      <a:lnTo>
                        <a:pt x="20167" y="5074"/>
                      </a:lnTo>
                      <a:lnTo>
                        <a:pt x="20262" y="5086"/>
                      </a:lnTo>
                      <a:lnTo>
                        <a:pt x="20310" y="5122"/>
                      </a:lnTo>
                      <a:lnTo>
                        <a:pt x="20322" y="5146"/>
                      </a:lnTo>
                      <a:lnTo>
                        <a:pt x="20322" y="5169"/>
                      </a:lnTo>
                      <a:lnTo>
                        <a:pt x="20298" y="5241"/>
                      </a:lnTo>
                      <a:lnTo>
                        <a:pt x="20298" y="5276"/>
                      </a:lnTo>
                      <a:lnTo>
                        <a:pt x="20381" y="5312"/>
                      </a:lnTo>
                      <a:lnTo>
                        <a:pt x="20453" y="5312"/>
                      </a:lnTo>
                      <a:lnTo>
                        <a:pt x="20512" y="5276"/>
                      </a:lnTo>
                      <a:lnTo>
                        <a:pt x="20571" y="5265"/>
                      </a:lnTo>
                      <a:lnTo>
                        <a:pt x="20690" y="5288"/>
                      </a:lnTo>
                      <a:lnTo>
                        <a:pt x="20750" y="5276"/>
                      </a:lnTo>
                      <a:lnTo>
                        <a:pt x="20785" y="5253"/>
                      </a:lnTo>
                      <a:lnTo>
                        <a:pt x="20821" y="5241"/>
                      </a:lnTo>
                      <a:lnTo>
                        <a:pt x="20833" y="5217"/>
                      </a:lnTo>
                      <a:lnTo>
                        <a:pt x="20857" y="5217"/>
                      </a:lnTo>
                      <a:lnTo>
                        <a:pt x="20880" y="5158"/>
                      </a:lnTo>
                      <a:lnTo>
                        <a:pt x="20904" y="5146"/>
                      </a:lnTo>
                      <a:lnTo>
                        <a:pt x="21094" y="5110"/>
                      </a:lnTo>
                      <a:lnTo>
                        <a:pt x="21035" y="5229"/>
                      </a:lnTo>
                      <a:lnTo>
                        <a:pt x="20987" y="5265"/>
                      </a:lnTo>
                      <a:lnTo>
                        <a:pt x="20892" y="5324"/>
                      </a:lnTo>
                      <a:lnTo>
                        <a:pt x="20857" y="5348"/>
                      </a:lnTo>
                      <a:lnTo>
                        <a:pt x="20750" y="5383"/>
                      </a:lnTo>
                      <a:lnTo>
                        <a:pt x="20714" y="5443"/>
                      </a:lnTo>
                      <a:lnTo>
                        <a:pt x="20714" y="5526"/>
                      </a:lnTo>
                      <a:lnTo>
                        <a:pt x="20726" y="5550"/>
                      </a:lnTo>
                      <a:lnTo>
                        <a:pt x="20726" y="5585"/>
                      </a:lnTo>
                      <a:lnTo>
                        <a:pt x="20167" y="6821"/>
                      </a:lnTo>
                      <a:lnTo>
                        <a:pt x="20132" y="6869"/>
                      </a:lnTo>
                      <a:lnTo>
                        <a:pt x="20132" y="6916"/>
                      </a:lnTo>
                      <a:lnTo>
                        <a:pt x="20096" y="6964"/>
                      </a:lnTo>
                      <a:lnTo>
                        <a:pt x="19466" y="8354"/>
                      </a:lnTo>
                      <a:lnTo>
                        <a:pt x="19419" y="8426"/>
                      </a:lnTo>
                      <a:lnTo>
                        <a:pt x="19419" y="8461"/>
                      </a:lnTo>
                      <a:lnTo>
                        <a:pt x="19050" y="9246"/>
                      </a:lnTo>
                      <a:lnTo>
                        <a:pt x="19015" y="9317"/>
                      </a:lnTo>
                      <a:lnTo>
                        <a:pt x="19015" y="9341"/>
                      </a:lnTo>
                      <a:lnTo>
                        <a:pt x="18931" y="9507"/>
                      </a:lnTo>
                      <a:lnTo>
                        <a:pt x="18920" y="9543"/>
                      </a:lnTo>
                      <a:lnTo>
                        <a:pt x="18920" y="9555"/>
                      </a:lnTo>
                      <a:lnTo>
                        <a:pt x="18884" y="9590"/>
                      </a:lnTo>
                      <a:lnTo>
                        <a:pt x="18753" y="9911"/>
                      </a:lnTo>
                      <a:lnTo>
                        <a:pt x="18706" y="9982"/>
                      </a:lnTo>
                      <a:lnTo>
                        <a:pt x="18694" y="10042"/>
                      </a:lnTo>
                      <a:lnTo>
                        <a:pt x="18670" y="10066"/>
                      </a:lnTo>
                      <a:lnTo>
                        <a:pt x="18539" y="10375"/>
                      </a:lnTo>
                      <a:lnTo>
                        <a:pt x="18468" y="10410"/>
                      </a:lnTo>
                      <a:lnTo>
                        <a:pt x="18444" y="10446"/>
                      </a:lnTo>
                      <a:lnTo>
                        <a:pt x="18420" y="10493"/>
                      </a:lnTo>
                      <a:lnTo>
                        <a:pt x="18302" y="10577"/>
                      </a:lnTo>
                      <a:lnTo>
                        <a:pt x="18278" y="10636"/>
                      </a:lnTo>
                      <a:lnTo>
                        <a:pt x="18230" y="10684"/>
                      </a:lnTo>
                      <a:lnTo>
                        <a:pt x="18230" y="10707"/>
                      </a:lnTo>
                      <a:lnTo>
                        <a:pt x="18230" y="10755"/>
                      </a:lnTo>
                      <a:lnTo>
                        <a:pt x="18242" y="10838"/>
                      </a:lnTo>
                      <a:lnTo>
                        <a:pt x="18278" y="10886"/>
                      </a:lnTo>
                      <a:lnTo>
                        <a:pt x="18290" y="10933"/>
                      </a:lnTo>
                      <a:lnTo>
                        <a:pt x="18349" y="11004"/>
                      </a:lnTo>
                      <a:lnTo>
                        <a:pt x="18373" y="11016"/>
                      </a:lnTo>
                      <a:lnTo>
                        <a:pt x="18385" y="11016"/>
                      </a:lnTo>
                      <a:lnTo>
                        <a:pt x="18409" y="11052"/>
                      </a:lnTo>
                      <a:lnTo>
                        <a:pt x="18444" y="11076"/>
                      </a:lnTo>
                      <a:lnTo>
                        <a:pt x="18480" y="11135"/>
                      </a:lnTo>
                      <a:lnTo>
                        <a:pt x="18563" y="11195"/>
                      </a:lnTo>
                      <a:lnTo>
                        <a:pt x="18611" y="11278"/>
                      </a:lnTo>
                      <a:lnTo>
                        <a:pt x="18622" y="11337"/>
                      </a:lnTo>
                      <a:lnTo>
                        <a:pt x="18634" y="11385"/>
                      </a:lnTo>
                      <a:lnTo>
                        <a:pt x="18634" y="11456"/>
                      </a:lnTo>
                      <a:lnTo>
                        <a:pt x="18646" y="11480"/>
                      </a:lnTo>
                      <a:lnTo>
                        <a:pt x="18670" y="11504"/>
                      </a:lnTo>
                      <a:lnTo>
                        <a:pt x="18670" y="11515"/>
                      </a:lnTo>
                      <a:lnTo>
                        <a:pt x="18670" y="1151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19" name="Freeform 308"/>
                <p:cNvSpPr>
                  <a:spLocks/>
                </p:cNvSpPr>
                <p:nvPr/>
              </p:nvSpPr>
              <p:spPr bwMode="auto">
                <a:xfrm>
                  <a:off x="-32061146" y="-9275763"/>
                  <a:ext cx="14093814" cy="7508884"/>
                </a:xfrm>
                <a:custGeom>
                  <a:avLst/>
                  <a:gdLst/>
                  <a:ahLst/>
                  <a:cxnLst>
                    <a:cxn ang="0">
                      <a:pos x="286" y="237"/>
                    </a:cxn>
                    <a:cxn ang="0">
                      <a:pos x="167" y="309"/>
                    </a:cxn>
                    <a:cxn ang="0">
                      <a:pos x="48" y="475"/>
                    </a:cxn>
                    <a:cxn ang="0">
                      <a:pos x="0" y="582"/>
                    </a:cxn>
                    <a:cxn ang="0">
                      <a:pos x="155" y="748"/>
                    </a:cxn>
                    <a:cxn ang="0">
                      <a:pos x="309" y="808"/>
                    </a:cxn>
                    <a:cxn ang="0">
                      <a:pos x="321" y="950"/>
                    </a:cxn>
                    <a:cxn ang="0">
                      <a:pos x="357" y="1093"/>
                    </a:cxn>
                    <a:cxn ang="0">
                      <a:pos x="523" y="1414"/>
                    </a:cxn>
                    <a:cxn ang="0">
                      <a:pos x="690" y="1616"/>
                    </a:cxn>
                    <a:cxn ang="0">
                      <a:pos x="820" y="1723"/>
                    </a:cxn>
                    <a:cxn ang="0">
                      <a:pos x="1034" y="1984"/>
                    </a:cxn>
                    <a:cxn ang="0">
                      <a:pos x="1308" y="2353"/>
                    </a:cxn>
                    <a:cxn ang="0">
                      <a:pos x="1177" y="2662"/>
                    </a:cxn>
                    <a:cxn ang="0">
                      <a:pos x="1629" y="2840"/>
                    </a:cxn>
                    <a:cxn ang="0">
                      <a:pos x="1878" y="2911"/>
                    </a:cxn>
                    <a:cxn ang="0">
                      <a:pos x="2092" y="2899"/>
                    </a:cxn>
                    <a:cxn ang="0">
                      <a:pos x="2187" y="2923"/>
                    </a:cxn>
                    <a:cxn ang="0">
                      <a:pos x="2211" y="3042"/>
                    </a:cxn>
                    <a:cxn ang="0">
                      <a:pos x="2235" y="3268"/>
                    </a:cxn>
                    <a:cxn ang="0">
                      <a:pos x="2282" y="3482"/>
                    </a:cxn>
                    <a:cxn ang="0">
                      <a:pos x="2793" y="3505"/>
                    </a:cxn>
                    <a:cxn ang="0">
                      <a:pos x="3292" y="3458"/>
                    </a:cxn>
                    <a:cxn ang="0">
                      <a:pos x="3518" y="3256"/>
                    </a:cxn>
                    <a:cxn ang="0">
                      <a:pos x="3744" y="3101"/>
                    </a:cxn>
                    <a:cxn ang="0">
                      <a:pos x="3982" y="2899"/>
                    </a:cxn>
                    <a:cxn ang="0">
                      <a:pos x="4172" y="2709"/>
                    </a:cxn>
                    <a:cxn ang="0">
                      <a:pos x="4243" y="2733"/>
                    </a:cxn>
                    <a:cxn ang="0">
                      <a:pos x="4207" y="2864"/>
                    </a:cxn>
                    <a:cxn ang="0">
                      <a:pos x="4184" y="2983"/>
                    </a:cxn>
                    <a:cxn ang="0">
                      <a:pos x="4231" y="3137"/>
                    </a:cxn>
                    <a:cxn ang="0">
                      <a:pos x="4136" y="3387"/>
                    </a:cxn>
                    <a:cxn ang="0">
                      <a:pos x="4279" y="4587"/>
                    </a:cxn>
                    <a:cxn ang="0">
                      <a:pos x="4683" y="4718"/>
                    </a:cxn>
                    <a:cxn ang="0">
                      <a:pos x="4920" y="4575"/>
                    </a:cxn>
                    <a:cxn ang="0">
                      <a:pos x="5396" y="4551"/>
                    </a:cxn>
                    <a:cxn ang="0">
                      <a:pos x="5823" y="4516"/>
                    </a:cxn>
                    <a:cxn ang="0">
                      <a:pos x="6299" y="4551"/>
                    </a:cxn>
                    <a:cxn ang="0">
                      <a:pos x="6477" y="4682"/>
                    </a:cxn>
                    <a:cxn ang="0">
                      <a:pos x="6715" y="4634"/>
                    </a:cxn>
                    <a:cxn ang="0">
                      <a:pos x="6929" y="4527"/>
                    </a:cxn>
                    <a:cxn ang="0">
                      <a:pos x="7131" y="4302"/>
                    </a:cxn>
                    <a:cxn ang="0">
                      <a:pos x="7345" y="4076"/>
                    </a:cxn>
                    <a:cxn ang="0">
                      <a:pos x="7606" y="4088"/>
                    </a:cxn>
                    <a:cxn ang="0">
                      <a:pos x="7784" y="3969"/>
                    </a:cxn>
                    <a:cxn ang="0">
                      <a:pos x="7998" y="3708"/>
                    </a:cxn>
                    <a:cxn ang="0">
                      <a:pos x="8188" y="3624"/>
                    </a:cxn>
                    <a:cxn ang="0">
                      <a:pos x="8676" y="3280"/>
                    </a:cxn>
                    <a:cxn ang="0">
                      <a:pos x="8723" y="3042"/>
                    </a:cxn>
                    <a:cxn ang="0">
                      <a:pos x="8545" y="2959"/>
                    </a:cxn>
                    <a:cxn ang="0">
                      <a:pos x="6394" y="2127"/>
                    </a:cxn>
                    <a:cxn ang="0">
                      <a:pos x="202" y="0"/>
                    </a:cxn>
                  </a:cxnLst>
                  <a:rect l="0" t="0" r="r" b="b"/>
                  <a:pathLst>
                    <a:path w="8878" h="4730">
                      <a:moveTo>
                        <a:pt x="202" y="0"/>
                      </a:moveTo>
                      <a:lnTo>
                        <a:pt x="202" y="0"/>
                      </a:lnTo>
                      <a:lnTo>
                        <a:pt x="202" y="35"/>
                      </a:lnTo>
                      <a:lnTo>
                        <a:pt x="286" y="237"/>
                      </a:lnTo>
                      <a:lnTo>
                        <a:pt x="274" y="297"/>
                      </a:lnTo>
                      <a:lnTo>
                        <a:pt x="250" y="309"/>
                      </a:lnTo>
                      <a:lnTo>
                        <a:pt x="202" y="309"/>
                      </a:lnTo>
                      <a:lnTo>
                        <a:pt x="167" y="309"/>
                      </a:lnTo>
                      <a:lnTo>
                        <a:pt x="107" y="344"/>
                      </a:lnTo>
                      <a:lnTo>
                        <a:pt x="24" y="333"/>
                      </a:lnTo>
                      <a:lnTo>
                        <a:pt x="12" y="380"/>
                      </a:lnTo>
                      <a:lnTo>
                        <a:pt x="48" y="475"/>
                      </a:lnTo>
                      <a:lnTo>
                        <a:pt x="36" y="475"/>
                      </a:lnTo>
                      <a:lnTo>
                        <a:pt x="36" y="511"/>
                      </a:lnTo>
                      <a:lnTo>
                        <a:pt x="0" y="558"/>
                      </a:lnTo>
                      <a:lnTo>
                        <a:pt x="0" y="582"/>
                      </a:lnTo>
                      <a:lnTo>
                        <a:pt x="60" y="653"/>
                      </a:lnTo>
                      <a:lnTo>
                        <a:pt x="119" y="689"/>
                      </a:lnTo>
                      <a:lnTo>
                        <a:pt x="131" y="725"/>
                      </a:lnTo>
                      <a:lnTo>
                        <a:pt x="155" y="748"/>
                      </a:lnTo>
                      <a:lnTo>
                        <a:pt x="191" y="784"/>
                      </a:lnTo>
                      <a:lnTo>
                        <a:pt x="214" y="808"/>
                      </a:lnTo>
                      <a:lnTo>
                        <a:pt x="250" y="808"/>
                      </a:lnTo>
                      <a:lnTo>
                        <a:pt x="309" y="808"/>
                      </a:lnTo>
                      <a:lnTo>
                        <a:pt x="345" y="844"/>
                      </a:lnTo>
                      <a:lnTo>
                        <a:pt x="357" y="879"/>
                      </a:lnTo>
                      <a:lnTo>
                        <a:pt x="357" y="915"/>
                      </a:lnTo>
                      <a:lnTo>
                        <a:pt x="321" y="950"/>
                      </a:lnTo>
                      <a:lnTo>
                        <a:pt x="286" y="1010"/>
                      </a:lnTo>
                      <a:lnTo>
                        <a:pt x="298" y="1046"/>
                      </a:lnTo>
                      <a:lnTo>
                        <a:pt x="309" y="1081"/>
                      </a:lnTo>
                      <a:lnTo>
                        <a:pt x="357" y="1093"/>
                      </a:lnTo>
                      <a:lnTo>
                        <a:pt x="440" y="1176"/>
                      </a:lnTo>
                      <a:lnTo>
                        <a:pt x="488" y="1283"/>
                      </a:lnTo>
                      <a:lnTo>
                        <a:pt x="500" y="1355"/>
                      </a:lnTo>
                      <a:lnTo>
                        <a:pt x="523" y="1414"/>
                      </a:lnTo>
                      <a:lnTo>
                        <a:pt x="559" y="1450"/>
                      </a:lnTo>
                      <a:lnTo>
                        <a:pt x="571" y="1521"/>
                      </a:lnTo>
                      <a:lnTo>
                        <a:pt x="595" y="1557"/>
                      </a:lnTo>
                      <a:lnTo>
                        <a:pt x="690" y="1616"/>
                      </a:lnTo>
                      <a:lnTo>
                        <a:pt x="749" y="1687"/>
                      </a:lnTo>
                      <a:lnTo>
                        <a:pt x="797" y="1699"/>
                      </a:lnTo>
                      <a:lnTo>
                        <a:pt x="820" y="1711"/>
                      </a:lnTo>
                      <a:lnTo>
                        <a:pt x="820" y="1723"/>
                      </a:lnTo>
                      <a:lnTo>
                        <a:pt x="832" y="1866"/>
                      </a:lnTo>
                      <a:lnTo>
                        <a:pt x="844" y="1877"/>
                      </a:lnTo>
                      <a:lnTo>
                        <a:pt x="892" y="1925"/>
                      </a:lnTo>
                      <a:lnTo>
                        <a:pt x="1034" y="1984"/>
                      </a:lnTo>
                      <a:lnTo>
                        <a:pt x="1094" y="2068"/>
                      </a:lnTo>
                      <a:lnTo>
                        <a:pt x="1165" y="2163"/>
                      </a:lnTo>
                      <a:lnTo>
                        <a:pt x="1284" y="2293"/>
                      </a:lnTo>
                      <a:lnTo>
                        <a:pt x="1308" y="2353"/>
                      </a:lnTo>
                      <a:lnTo>
                        <a:pt x="1308" y="2436"/>
                      </a:lnTo>
                      <a:lnTo>
                        <a:pt x="1284" y="2543"/>
                      </a:lnTo>
                      <a:lnTo>
                        <a:pt x="1260" y="2579"/>
                      </a:lnTo>
                      <a:lnTo>
                        <a:pt x="1177" y="2662"/>
                      </a:lnTo>
                      <a:lnTo>
                        <a:pt x="1082" y="2804"/>
                      </a:lnTo>
                      <a:lnTo>
                        <a:pt x="1046" y="2852"/>
                      </a:lnTo>
                      <a:lnTo>
                        <a:pt x="1046" y="2864"/>
                      </a:lnTo>
                      <a:lnTo>
                        <a:pt x="1629" y="2840"/>
                      </a:lnTo>
                      <a:lnTo>
                        <a:pt x="1640" y="2792"/>
                      </a:lnTo>
                      <a:lnTo>
                        <a:pt x="1747" y="2876"/>
                      </a:lnTo>
                      <a:lnTo>
                        <a:pt x="1831" y="2888"/>
                      </a:lnTo>
                      <a:lnTo>
                        <a:pt x="1878" y="2911"/>
                      </a:lnTo>
                      <a:lnTo>
                        <a:pt x="1937" y="2899"/>
                      </a:lnTo>
                      <a:lnTo>
                        <a:pt x="1961" y="2888"/>
                      </a:lnTo>
                      <a:lnTo>
                        <a:pt x="1997" y="2888"/>
                      </a:lnTo>
                      <a:lnTo>
                        <a:pt x="2092" y="2899"/>
                      </a:lnTo>
                      <a:lnTo>
                        <a:pt x="2116" y="2947"/>
                      </a:lnTo>
                      <a:lnTo>
                        <a:pt x="2151" y="2911"/>
                      </a:lnTo>
                      <a:lnTo>
                        <a:pt x="2175" y="2911"/>
                      </a:lnTo>
                      <a:lnTo>
                        <a:pt x="2187" y="2923"/>
                      </a:lnTo>
                      <a:lnTo>
                        <a:pt x="2187" y="2947"/>
                      </a:lnTo>
                      <a:lnTo>
                        <a:pt x="2175" y="2994"/>
                      </a:lnTo>
                      <a:lnTo>
                        <a:pt x="2187" y="3018"/>
                      </a:lnTo>
                      <a:lnTo>
                        <a:pt x="2211" y="3042"/>
                      </a:lnTo>
                      <a:lnTo>
                        <a:pt x="2211" y="3101"/>
                      </a:lnTo>
                      <a:lnTo>
                        <a:pt x="2187" y="3137"/>
                      </a:lnTo>
                      <a:lnTo>
                        <a:pt x="2199" y="3220"/>
                      </a:lnTo>
                      <a:lnTo>
                        <a:pt x="2235" y="3268"/>
                      </a:lnTo>
                      <a:lnTo>
                        <a:pt x="2282" y="3292"/>
                      </a:lnTo>
                      <a:lnTo>
                        <a:pt x="2306" y="3351"/>
                      </a:lnTo>
                      <a:lnTo>
                        <a:pt x="2306" y="3387"/>
                      </a:lnTo>
                      <a:lnTo>
                        <a:pt x="2282" y="3482"/>
                      </a:lnTo>
                      <a:lnTo>
                        <a:pt x="2294" y="3517"/>
                      </a:lnTo>
                      <a:lnTo>
                        <a:pt x="2674" y="3505"/>
                      </a:lnTo>
                      <a:lnTo>
                        <a:pt x="2686" y="3494"/>
                      </a:lnTo>
                      <a:lnTo>
                        <a:pt x="2793" y="3505"/>
                      </a:lnTo>
                      <a:lnTo>
                        <a:pt x="3007" y="3482"/>
                      </a:lnTo>
                      <a:lnTo>
                        <a:pt x="3126" y="3482"/>
                      </a:lnTo>
                      <a:lnTo>
                        <a:pt x="3209" y="3482"/>
                      </a:lnTo>
                      <a:lnTo>
                        <a:pt x="3292" y="3458"/>
                      </a:lnTo>
                      <a:lnTo>
                        <a:pt x="3399" y="3399"/>
                      </a:lnTo>
                      <a:lnTo>
                        <a:pt x="3447" y="3351"/>
                      </a:lnTo>
                      <a:lnTo>
                        <a:pt x="3494" y="3256"/>
                      </a:lnTo>
                      <a:lnTo>
                        <a:pt x="3518" y="3256"/>
                      </a:lnTo>
                      <a:lnTo>
                        <a:pt x="3566" y="3232"/>
                      </a:lnTo>
                      <a:lnTo>
                        <a:pt x="3649" y="3220"/>
                      </a:lnTo>
                      <a:lnTo>
                        <a:pt x="3684" y="3197"/>
                      </a:lnTo>
                      <a:lnTo>
                        <a:pt x="3744" y="3101"/>
                      </a:lnTo>
                      <a:lnTo>
                        <a:pt x="3827" y="3042"/>
                      </a:lnTo>
                      <a:lnTo>
                        <a:pt x="3886" y="2971"/>
                      </a:lnTo>
                      <a:lnTo>
                        <a:pt x="3946" y="2947"/>
                      </a:lnTo>
                      <a:lnTo>
                        <a:pt x="3982" y="2899"/>
                      </a:lnTo>
                      <a:lnTo>
                        <a:pt x="4005" y="2852"/>
                      </a:lnTo>
                      <a:lnTo>
                        <a:pt x="4065" y="2816"/>
                      </a:lnTo>
                      <a:lnTo>
                        <a:pt x="4100" y="2757"/>
                      </a:lnTo>
                      <a:lnTo>
                        <a:pt x="4172" y="2709"/>
                      </a:lnTo>
                      <a:lnTo>
                        <a:pt x="4267" y="2685"/>
                      </a:lnTo>
                      <a:lnTo>
                        <a:pt x="4279" y="2674"/>
                      </a:lnTo>
                      <a:lnTo>
                        <a:pt x="4279" y="2697"/>
                      </a:lnTo>
                      <a:lnTo>
                        <a:pt x="4243" y="2733"/>
                      </a:lnTo>
                      <a:lnTo>
                        <a:pt x="4255" y="2769"/>
                      </a:lnTo>
                      <a:lnTo>
                        <a:pt x="4231" y="2804"/>
                      </a:lnTo>
                      <a:lnTo>
                        <a:pt x="4219" y="2852"/>
                      </a:lnTo>
                      <a:lnTo>
                        <a:pt x="4207" y="2864"/>
                      </a:lnTo>
                      <a:lnTo>
                        <a:pt x="4184" y="2876"/>
                      </a:lnTo>
                      <a:lnTo>
                        <a:pt x="4172" y="2899"/>
                      </a:lnTo>
                      <a:lnTo>
                        <a:pt x="4172" y="2947"/>
                      </a:lnTo>
                      <a:lnTo>
                        <a:pt x="4184" y="2983"/>
                      </a:lnTo>
                      <a:lnTo>
                        <a:pt x="4207" y="2983"/>
                      </a:lnTo>
                      <a:lnTo>
                        <a:pt x="4231" y="3018"/>
                      </a:lnTo>
                      <a:lnTo>
                        <a:pt x="4243" y="3066"/>
                      </a:lnTo>
                      <a:lnTo>
                        <a:pt x="4231" y="3137"/>
                      </a:lnTo>
                      <a:lnTo>
                        <a:pt x="4172" y="3173"/>
                      </a:lnTo>
                      <a:lnTo>
                        <a:pt x="4136" y="3197"/>
                      </a:lnTo>
                      <a:lnTo>
                        <a:pt x="4148" y="3363"/>
                      </a:lnTo>
                      <a:lnTo>
                        <a:pt x="4136" y="3387"/>
                      </a:lnTo>
                      <a:lnTo>
                        <a:pt x="4160" y="3434"/>
                      </a:lnTo>
                      <a:lnTo>
                        <a:pt x="4160" y="3446"/>
                      </a:lnTo>
                      <a:lnTo>
                        <a:pt x="4219" y="4599"/>
                      </a:lnTo>
                      <a:lnTo>
                        <a:pt x="4279" y="4587"/>
                      </a:lnTo>
                      <a:lnTo>
                        <a:pt x="4326" y="4587"/>
                      </a:lnTo>
                      <a:lnTo>
                        <a:pt x="4493" y="4718"/>
                      </a:lnTo>
                      <a:lnTo>
                        <a:pt x="4540" y="4730"/>
                      </a:lnTo>
                      <a:lnTo>
                        <a:pt x="4683" y="4718"/>
                      </a:lnTo>
                      <a:lnTo>
                        <a:pt x="4778" y="4682"/>
                      </a:lnTo>
                      <a:lnTo>
                        <a:pt x="4861" y="4634"/>
                      </a:lnTo>
                      <a:lnTo>
                        <a:pt x="4885" y="4599"/>
                      </a:lnTo>
                      <a:lnTo>
                        <a:pt x="4920" y="4575"/>
                      </a:lnTo>
                      <a:lnTo>
                        <a:pt x="5075" y="4527"/>
                      </a:lnTo>
                      <a:lnTo>
                        <a:pt x="5206" y="4527"/>
                      </a:lnTo>
                      <a:lnTo>
                        <a:pt x="5289" y="4551"/>
                      </a:lnTo>
                      <a:lnTo>
                        <a:pt x="5396" y="4551"/>
                      </a:lnTo>
                      <a:lnTo>
                        <a:pt x="5491" y="4516"/>
                      </a:lnTo>
                      <a:lnTo>
                        <a:pt x="5621" y="4504"/>
                      </a:lnTo>
                      <a:lnTo>
                        <a:pt x="5752" y="4504"/>
                      </a:lnTo>
                      <a:lnTo>
                        <a:pt x="5823" y="4516"/>
                      </a:lnTo>
                      <a:lnTo>
                        <a:pt x="6026" y="4527"/>
                      </a:lnTo>
                      <a:lnTo>
                        <a:pt x="6073" y="4504"/>
                      </a:lnTo>
                      <a:lnTo>
                        <a:pt x="6097" y="4504"/>
                      </a:lnTo>
                      <a:lnTo>
                        <a:pt x="6299" y="4551"/>
                      </a:lnTo>
                      <a:lnTo>
                        <a:pt x="6358" y="4527"/>
                      </a:lnTo>
                      <a:lnTo>
                        <a:pt x="6441" y="4599"/>
                      </a:lnTo>
                      <a:lnTo>
                        <a:pt x="6453" y="4658"/>
                      </a:lnTo>
                      <a:lnTo>
                        <a:pt x="6477" y="4682"/>
                      </a:lnTo>
                      <a:lnTo>
                        <a:pt x="6525" y="4694"/>
                      </a:lnTo>
                      <a:lnTo>
                        <a:pt x="6632" y="4670"/>
                      </a:lnTo>
                      <a:lnTo>
                        <a:pt x="6691" y="4634"/>
                      </a:lnTo>
                      <a:lnTo>
                        <a:pt x="6715" y="4634"/>
                      </a:lnTo>
                      <a:lnTo>
                        <a:pt x="6750" y="4599"/>
                      </a:lnTo>
                      <a:lnTo>
                        <a:pt x="6786" y="4587"/>
                      </a:lnTo>
                      <a:lnTo>
                        <a:pt x="6893" y="4563"/>
                      </a:lnTo>
                      <a:lnTo>
                        <a:pt x="6929" y="4527"/>
                      </a:lnTo>
                      <a:lnTo>
                        <a:pt x="7012" y="4492"/>
                      </a:lnTo>
                      <a:lnTo>
                        <a:pt x="7036" y="4456"/>
                      </a:lnTo>
                      <a:lnTo>
                        <a:pt x="7083" y="4361"/>
                      </a:lnTo>
                      <a:lnTo>
                        <a:pt x="7131" y="4302"/>
                      </a:lnTo>
                      <a:lnTo>
                        <a:pt x="7154" y="4230"/>
                      </a:lnTo>
                      <a:lnTo>
                        <a:pt x="7202" y="4195"/>
                      </a:lnTo>
                      <a:lnTo>
                        <a:pt x="7226" y="4135"/>
                      </a:lnTo>
                      <a:lnTo>
                        <a:pt x="7345" y="4076"/>
                      </a:lnTo>
                      <a:lnTo>
                        <a:pt x="7380" y="4076"/>
                      </a:lnTo>
                      <a:lnTo>
                        <a:pt x="7463" y="4064"/>
                      </a:lnTo>
                      <a:lnTo>
                        <a:pt x="7559" y="4076"/>
                      </a:lnTo>
                      <a:lnTo>
                        <a:pt x="7606" y="4088"/>
                      </a:lnTo>
                      <a:lnTo>
                        <a:pt x="7642" y="4088"/>
                      </a:lnTo>
                      <a:lnTo>
                        <a:pt x="7677" y="4064"/>
                      </a:lnTo>
                      <a:lnTo>
                        <a:pt x="7701" y="4040"/>
                      </a:lnTo>
                      <a:lnTo>
                        <a:pt x="7784" y="3969"/>
                      </a:lnTo>
                      <a:lnTo>
                        <a:pt x="7844" y="3862"/>
                      </a:lnTo>
                      <a:lnTo>
                        <a:pt x="7927" y="3791"/>
                      </a:lnTo>
                      <a:lnTo>
                        <a:pt x="7963" y="3719"/>
                      </a:lnTo>
                      <a:lnTo>
                        <a:pt x="7998" y="3708"/>
                      </a:lnTo>
                      <a:lnTo>
                        <a:pt x="8058" y="3708"/>
                      </a:lnTo>
                      <a:lnTo>
                        <a:pt x="8105" y="3660"/>
                      </a:lnTo>
                      <a:lnTo>
                        <a:pt x="8153" y="3636"/>
                      </a:lnTo>
                      <a:lnTo>
                        <a:pt x="8188" y="3624"/>
                      </a:lnTo>
                      <a:lnTo>
                        <a:pt x="8224" y="3648"/>
                      </a:lnTo>
                      <a:lnTo>
                        <a:pt x="8450" y="3541"/>
                      </a:lnTo>
                      <a:lnTo>
                        <a:pt x="8545" y="3387"/>
                      </a:lnTo>
                      <a:lnTo>
                        <a:pt x="8676" y="3280"/>
                      </a:lnTo>
                      <a:lnTo>
                        <a:pt x="8866" y="3137"/>
                      </a:lnTo>
                      <a:lnTo>
                        <a:pt x="8878" y="3125"/>
                      </a:lnTo>
                      <a:lnTo>
                        <a:pt x="8842" y="3090"/>
                      </a:lnTo>
                      <a:lnTo>
                        <a:pt x="8723" y="3042"/>
                      </a:lnTo>
                      <a:lnTo>
                        <a:pt x="8699" y="3042"/>
                      </a:lnTo>
                      <a:lnTo>
                        <a:pt x="8628" y="3006"/>
                      </a:lnTo>
                      <a:lnTo>
                        <a:pt x="8569" y="2994"/>
                      </a:lnTo>
                      <a:lnTo>
                        <a:pt x="8545" y="2959"/>
                      </a:lnTo>
                      <a:lnTo>
                        <a:pt x="8545" y="2959"/>
                      </a:lnTo>
                      <a:lnTo>
                        <a:pt x="7998" y="2745"/>
                      </a:lnTo>
                      <a:lnTo>
                        <a:pt x="7772" y="2709"/>
                      </a:lnTo>
                      <a:lnTo>
                        <a:pt x="6394" y="2127"/>
                      </a:lnTo>
                      <a:lnTo>
                        <a:pt x="4683" y="725"/>
                      </a:lnTo>
                      <a:lnTo>
                        <a:pt x="1652" y="475"/>
                      </a:lnTo>
                      <a:lnTo>
                        <a:pt x="1629" y="463"/>
                      </a:lnTo>
                      <a:lnTo>
                        <a:pt x="202" y="0"/>
                      </a:lnTo>
                      <a:lnTo>
                        <a:pt x="202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20" name="Freeform 310"/>
                <p:cNvSpPr>
                  <a:spLocks/>
                </p:cNvSpPr>
                <p:nvPr/>
              </p:nvSpPr>
              <p:spPr bwMode="auto">
                <a:xfrm>
                  <a:off x="-18495968" y="-8220069"/>
                  <a:ext cx="13319113" cy="10829915"/>
                </a:xfrm>
                <a:custGeom>
                  <a:avLst/>
                  <a:gdLst/>
                  <a:ahLst/>
                  <a:cxnLst>
                    <a:cxn ang="0">
                      <a:pos x="6322" y="1248"/>
                    </a:cxn>
                    <a:cxn ang="0">
                      <a:pos x="6251" y="1557"/>
                    </a:cxn>
                    <a:cxn ang="0">
                      <a:pos x="6298" y="1795"/>
                    </a:cxn>
                    <a:cxn ang="0">
                      <a:pos x="6370" y="2223"/>
                    </a:cxn>
                    <a:cxn ang="0">
                      <a:pos x="6393" y="2852"/>
                    </a:cxn>
                    <a:cxn ang="0">
                      <a:pos x="6370" y="3565"/>
                    </a:cxn>
                    <a:cxn ang="0">
                      <a:pos x="7106" y="3554"/>
                    </a:cxn>
                    <a:cxn ang="0">
                      <a:pos x="7772" y="3660"/>
                    </a:cxn>
                    <a:cxn ang="0">
                      <a:pos x="8188" y="3672"/>
                    </a:cxn>
                    <a:cxn ang="0">
                      <a:pos x="8235" y="4076"/>
                    </a:cxn>
                    <a:cxn ang="0">
                      <a:pos x="8117" y="4587"/>
                    </a:cxn>
                    <a:cxn ang="0">
                      <a:pos x="8330" y="4908"/>
                    </a:cxn>
                    <a:cxn ang="0">
                      <a:pos x="8330" y="5372"/>
                    </a:cxn>
                    <a:cxn ang="0">
                      <a:pos x="7974" y="6049"/>
                    </a:cxn>
                    <a:cxn ang="0">
                      <a:pos x="7404" y="6786"/>
                    </a:cxn>
                    <a:cxn ang="0">
                      <a:pos x="6750" y="6596"/>
                    </a:cxn>
                    <a:cxn ang="0">
                      <a:pos x="6144" y="6655"/>
                    </a:cxn>
                    <a:cxn ang="0">
                      <a:pos x="5597" y="6204"/>
                    </a:cxn>
                    <a:cxn ang="0">
                      <a:pos x="5086" y="6037"/>
                    </a:cxn>
                    <a:cxn ang="0">
                      <a:pos x="4646" y="5704"/>
                    </a:cxn>
                    <a:cxn ang="0">
                      <a:pos x="4207" y="5657"/>
                    </a:cxn>
                    <a:cxn ang="0">
                      <a:pos x="3696" y="5455"/>
                    </a:cxn>
                    <a:cxn ang="0">
                      <a:pos x="3244" y="5491"/>
                    </a:cxn>
                    <a:cxn ang="0">
                      <a:pos x="2793" y="5146"/>
                    </a:cxn>
                    <a:cxn ang="0">
                      <a:pos x="2531" y="4956"/>
                    </a:cxn>
                    <a:cxn ang="0">
                      <a:pos x="2175" y="4552"/>
                    </a:cxn>
                    <a:cxn ang="0">
                      <a:pos x="1949" y="4302"/>
                    </a:cxn>
                    <a:cxn ang="0">
                      <a:pos x="1830" y="3874"/>
                    </a:cxn>
                    <a:cxn ang="0">
                      <a:pos x="1818" y="3351"/>
                    </a:cxn>
                    <a:cxn ang="0">
                      <a:pos x="1901" y="2757"/>
                    </a:cxn>
                    <a:cxn ang="0">
                      <a:pos x="1687" y="2092"/>
                    </a:cxn>
                    <a:cxn ang="0">
                      <a:pos x="1414" y="2258"/>
                    </a:cxn>
                    <a:cxn ang="0">
                      <a:pos x="1248" y="2223"/>
                    </a:cxn>
                    <a:cxn ang="0">
                      <a:pos x="986" y="2246"/>
                    </a:cxn>
                    <a:cxn ang="0">
                      <a:pos x="404" y="2401"/>
                    </a:cxn>
                    <a:cxn ang="0">
                      <a:pos x="0" y="2294"/>
                    </a:cxn>
                    <a:cxn ang="0">
                      <a:pos x="404" y="2139"/>
                    </a:cxn>
                    <a:cxn ang="0">
                      <a:pos x="523" y="1878"/>
                    </a:cxn>
                    <a:cxn ang="0">
                      <a:pos x="939" y="1842"/>
                    </a:cxn>
                    <a:cxn ang="0">
                      <a:pos x="1141" y="1937"/>
                    </a:cxn>
                    <a:cxn ang="0">
                      <a:pos x="1343" y="2020"/>
                    </a:cxn>
                    <a:cxn ang="0">
                      <a:pos x="1687" y="1735"/>
                    </a:cxn>
                    <a:cxn ang="0">
                      <a:pos x="2056" y="1818"/>
                    </a:cxn>
                    <a:cxn ang="0">
                      <a:pos x="2270" y="1628"/>
                    </a:cxn>
                    <a:cxn ang="0">
                      <a:pos x="2412" y="1260"/>
                    </a:cxn>
                    <a:cxn ang="0">
                      <a:pos x="2769" y="1236"/>
                    </a:cxn>
                    <a:cxn ang="0">
                      <a:pos x="3209" y="1105"/>
                    </a:cxn>
                    <a:cxn ang="0">
                      <a:pos x="3363" y="856"/>
                    </a:cxn>
                    <a:cxn ang="0">
                      <a:pos x="3470" y="630"/>
                    </a:cxn>
                    <a:cxn ang="0">
                      <a:pos x="3648" y="392"/>
                    </a:cxn>
                    <a:cxn ang="0">
                      <a:pos x="3874" y="83"/>
                    </a:cxn>
                    <a:cxn ang="0">
                      <a:pos x="4159" y="24"/>
                    </a:cxn>
                    <a:cxn ang="0">
                      <a:pos x="4848" y="95"/>
                    </a:cxn>
                    <a:cxn ang="0">
                      <a:pos x="5074" y="452"/>
                    </a:cxn>
                    <a:cxn ang="0">
                      <a:pos x="5300" y="511"/>
                    </a:cxn>
                    <a:cxn ang="0">
                      <a:pos x="5585" y="927"/>
                    </a:cxn>
                    <a:cxn ang="0">
                      <a:pos x="5942" y="880"/>
                    </a:cxn>
                    <a:cxn ang="0">
                      <a:pos x="6120" y="832"/>
                    </a:cxn>
                  </a:cxnLst>
                  <a:rect l="0" t="0" r="r" b="b"/>
                  <a:pathLst>
                    <a:path w="8390" h="6822">
                      <a:moveTo>
                        <a:pt x="6275" y="951"/>
                      </a:moveTo>
                      <a:lnTo>
                        <a:pt x="6286" y="963"/>
                      </a:lnTo>
                      <a:lnTo>
                        <a:pt x="6334" y="1010"/>
                      </a:lnTo>
                      <a:lnTo>
                        <a:pt x="6358" y="1058"/>
                      </a:lnTo>
                      <a:lnTo>
                        <a:pt x="6393" y="1082"/>
                      </a:lnTo>
                      <a:lnTo>
                        <a:pt x="6393" y="1141"/>
                      </a:lnTo>
                      <a:lnTo>
                        <a:pt x="6346" y="1189"/>
                      </a:lnTo>
                      <a:lnTo>
                        <a:pt x="6322" y="1248"/>
                      </a:lnTo>
                      <a:lnTo>
                        <a:pt x="6298" y="1319"/>
                      </a:lnTo>
                      <a:lnTo>
                        <a:pt x="6310" y="1391"/>
                      </a:lnTo>
                      <a:lnTo>
                        <a:pt x="6322" y="1426"/>
                      </a:lnTo>
                      <a:lnTo>
                        <a:pt x="6322" y="1438"/>
                      </a:lnTo>
                      <a:lnTo>
                        <a:pt x="6358" y="1474"/>
                      </a:lnTo>
                      <a:lnTo>
                        <a:pt x="6346" y="1509"/>
                      </a:lnTo>
                      <a:lnTo>
                        <a:pt x="6263" y="1521"/>
                      </a:lnTo>
                      <a:lnTo>
                        <a:pt x="6251" y="1557"/>
                      </a:lnTo>
                      <a:lnTo>
                        <a:pt x="6239" y="1616"/>
                      </a:lnTo>
                      <a:lnTo>
                        <a:pt x="6239" y="1664"/>
                      </a:lnTo>
                      <a:lnTo>
                        <a:pt x="6275" y="1676"/>
                      </a:lnTo>
                      <a:lnTo>
                        <a:pt x="6298" y="1688"/>
                      </a:lnTo>
                      <a:lnTo>
                        <a:pt x="6310" y="1700"/>
                      </a:lnTo>
                      <a:lnTo>
                        <a:pt x="6322" y="1723"/>
                      </a:lnTo>
                      <a:lnTo>
                        <a:pt x="6298" y="1771"/>
                      </a:lnTo>
                      <a:lnTo>
                        <a:pt x="6298" y="1795"/>
                      </a:lnTo>
                      <a:lnTo>
                        <a:pt x="6382" y="1937"/>
                      </a:lnTo>
                      <a:lnTo>
                        <a:pt x="6393" y="1973"/>
                      </a:lnTo>
                      <a:lnTo>
                        <a:pt x="6382" y="2032"/>
                      </a:lnTo>
                      <a:lnTo>
                        <a:pt x="6346" y="2056"/>
                      </a:lnTo>
                      <a:lnTo>
                        <a:pt x="6334" y="2080"/>
                      </a:lnTo>
                      <a:lnTo>
                        <a:pt x="6346" y="2104"/>
                      </a:lnTo>
                      <a:lnTo>
                        <a:pt x="6358" y="2151"/>
                      </a:lnTo>
                      <a:lnTo>
                        <a:pt x="6370" y="2223"/>
                      </a:lnTo>
                      <a:lnTo>
                        <a:pt x="6370" y="2341"/>
                      </a:lnTo>
                      <a:lnTo>
                        <a:pt x="6346" y="2436"/>
                      </a:lnTo>
                      <a:lnTo>
                        <a:pt x="6298" y="2508"/>
                      </a:lnTo>
                      <a:lnTo>
                        <a:pt x="6286" y="2555"/>
                      </a:lnTo>
                      <a:lnTo>
                        <a:pt x="6310" y="2627"/>
                      </a:lnTo>
                      <a:lnTo>
                        <a:pt x="6298" y="2722"/>
                      </a:lnTo>
                      <a:lnTo>
                        <a:pt x="6298" y="2745"/>
                      </a:lnTo>
                      <a:lnTo>
                        <a:pt x="6393" y="2852"/>
                      </a:lnTo>
                      <a:lnTo>
                        <a:pt x="6417" y="2900"/>
                      </a:lnTo>
                      <a:lnTo>
                        <a:pt x="6429" y="2959"/>
                      </a:lnTo>
                      <a:lnTo>
                        <a:pt x="6417" y="3149"/>
                      </a:lnTo>
                      <a:lnTo>
                        <a:pt x="6441" y="3256"/>
                      </a:lnTo>
                      <a:lnTo>
                        <a:pt x="6382" y="3435"/>
                      </a:lnTo>
                      <a:lnTo>
                        <a:pt x="6358" y="3530"/>
                      </a:lnTo>
                      <a:lnTo>
                        <a:pt x="6370" y="3554"/>
                      </a:lnTo>
                      <a:lnTo>
                        <a:pt x="6370" y="3565"/>
                      </a:lnTo>
                      <a:lnTo>
                        <a:pt x="6417" y="3577"/>
                      </a:lnTo>
                      <a:lnTo>
                        <a:pt x="6429" y="3565"/>
                      </a:lnTo>
                      <a:lnTo>
                        <a:pt x="6500" y="3577"/>
                      </a:lnTo>
                      <a:lnTo>
                        <a:pt x="6607" y="3565"/>
                      </a:lnTo>
                      <a:lnTo>
                        <a:pt x="6714" y="3577"/>
                      </a:lnTo>
                      <a:lnTo>
                        <a:pt x="6750" y="3565"/>
                      </a:lnTo>
                      <a:lnTo>
                        <a:pt x="7106" y="3565"/>
                      </a:lnTo>
                      <a:lnTo>
                        <a:pt x="7106" y="3554"/>
                      </a:lnTo>
                      <a:lnTo>
                        <a:pt x="7154" y="3565"/>
                      </a:lnTo>
                      <a:lnTo>
                        <a:pt x="7225" y="3565"/>
                      </a:lnTo>
                      <a:lnTo>
                        <a:pt x="7213" y="3554"/>
                      </a:lnTo>
                      <a:lnTo>
                        <a:pt x="7308" y="3565"/>
                      </a:lnTo>
                      <a:lnTo>
                        <a:pt x="7641" y="3554"/>
                      </a:lnTo>
                      <a:lnTo>
                        <a:pt x="7689" y="3625"/>
                      </a:lnTo>
                      <a:lnTo>
                        <a:pt x="7736" y="3660"/>
                      </a:lnTo>
                      <a:lnTo>
                        <a:pt x="7772" y="3660"/>
                      </a:lnTo>
                      <a:lnTo>
                        <a:pt x="7831" y="3613"/>
                      </a:lnTo>
                      <a:lnTo>
                        <a:pt x="7843" y="3613"/>
                      </a:lnTo>
                      <a:lnTo>
                        <a:pt x="7879" y="3660"/>
                      </a:lnTo>
                      <a:lnTo>
                        <a:pt x="7903" y="3672"/>
                      </a:lnTo>
                      <a:lnTo>
                        <a:pt x="8093" y="3649"/>
                      </a:lnTo>
                      <a:lnTo>
                        <a:pt x="8128" y="3649"/>
                      </a:lnTo>
                      <a:lnTo>
                        <a:pt x="8140" y="3660"/>
                      </a:lnTo>
                      <a:lnTo>
                        <a:pt x="8188" y="3672"/>
                      </a:lnTo>
                      <a:lnTo>
                        <a:pt x="8200" y="3708"/>
                      </a:lnTo>
                      <a:lnTo>
                        <a:pt x="8224" y="3744"/>
                      </a:lnTo>
                      <a:lnTo>
                        <a:pt x="8224" y="3791"/>
                      </a:lnTo>
                      <a:lnTo>
                        <a:pt x="8224" y="3839"/>
                      </a:lnTo>
                      <a:lnTo>
                        <a:pt x="8259" y="3934"/>
                      </a:lnTo>
                      <a:lnTo>
                        <a:pt x="8271" y="4017"/>
                      </a:lnTo>
                      <a:lnTo>
                        <a:pt x="8259" y="4053"/>
                      </a:lnTo>
                      <a:lnTo>
                        <a:pt x="8235" y="4076"/>
                      </a:lnTo>
                      <a:lnTo>
                        <a:pt x="8188" y="4100"/>
                      </a:lnTo>
                      <a:lnTo>
                        <a:pt x="8128" y="4148"/>
                      </a:lnTo>
                      <a:lnTo>
                        <a:pt x="8117" y="4195"/>
                      </a:lnTo>
                      <a:lnTo>
                        <a:pt x="8069" y="4219"/>
                      </a:lnTo>
                      <a:lnTo>
                        <a:pt x="8057" y="4231"/>
                      </a:lnTo>
                      <a:lnTo>
                        <a:pt x="8045" y="4385"/>
                      </a:lnTo>
                      <a:lnTo>
                        <a:pt x="8081" y="4492"/>
                      </a:lnTo>
                      <a:lnTo>
                        <a:pt x="8117" y="4587"/>
                      </a:lnTo>
                      <a:lnTo>
                        <a:pt x="8140" y="4599"/>
                      </a:lnTo>
                      <a:lnTo>
                        <a:pt x="8212" y="4635"/>
                      </a:lnTo>
                      <a:lnTo>
                        <a:pt x="8224" y="4671"/>
                      </a:lnTo>
                      <a:lnTo>
                        <a:pt x="8259" y="4789"/>
                      </a:lnTo>
                      <a:lnTo>
                        <a:pt x="8283" y="4801"/>
                      </a:lnTo>
                      <a:lnTo>
                        <a:pt x="8307" y="4813"/>
                      </a:lnTo>
                      <a:lnTo>
                        <a:pt x="8319" y="4837"/>
                      </a:lnTo>
                      <a:lnTo>
                        <a:pt x="8330" y="4908"/>
                      </a:lnTo>
                      <a:lnTo>
                        <a:pt x="8342" y="4980"/>
                      </a:lnTo>
                      <a:lnTo>
                        <a:pt x="8319" y="5039"/>
                      </a:lnTo>
                      <a:lnTo>
                        <a:pt x="8319" y="5051"/>
                      </a:lnTo>
                      <a:lnTo>
                        <a:pt x="8354" y="5087"/>
                      </a:lnTo>
                      <a:lnTo>
                        <a:pt x="8378" y="5134"/>
                      </a:lnTo>
                      <a:lnTo>
                        <a:pt x="8390" y="5193"/>
                      </a:lnTo>
                      <a:lnTo>
                        <a:pt x="8378" y="5277"/>
                      </a:lnTo>
                      <a:lnTo>
                        <a:pt x="8330" y="5372"/>
                      </a:lnTo>
                      <a:lnTo>
                        <a:pt x="8307" y="5372"/>
                      </a:lnTo>
                      <a:lnTo>
                        <a:pt x="8259" y="5419"/>
                      </a:lnTo>
                      <a:lnTo>
                        <a:pt x="8188" y="5526"/>
                      </a:lnTo>
                      <a:lnTo>
                        <a:pt x="8117" y="5752"/>
                      </a:lnTo>
                      <a:lnTo>
                        <a:pt x="8117" y="5907"/>
                      </a:lnTo>
                      <a:lnTo>
                        <a:pt x="8093" y="5942"/>
                      </a:lnTo>
                      <a:lnTo>
                        <a:pt x="8045" y="5978"/>
                      </a:lnTo>
                      <a:lnTo>
                        <a:pt x="7974" y="6049"/>
                      </a:lnTo>
                      <a:lnTo>
                        <a:pt x="7938" y="6120"/>
                      </a:lnTo>
                      <a:lnTo>
                        <a:pt x="7903" y="6239"/>
                      </a:lnTo>
                      <a:lnTo>
                        <a:pt x="7867" y="6358"/>
                      </a:lnTo>
                      <a:lnTo>
                        <a:pt x="7808" y="6465"/>
                      </a:lnTo>
                      <a:lnTo>
                        <a:pt x="7772" y="6513"/>
                      </a:lnTo>
                      <a:lnTo>
                        <a:pt x="7713" y="6548"/>
                      </a:lnTo>
                      <a:lnTo>
                        <a:pt x="7522" y="6667"/>
                      </a:lnTo>
                      <a:lnTo>
                        <a:pt x="7404" y="6786"/>
                      </a:lnTo>
                      <a:lnTo>
                        <a:pt x="7380" y="6822"/>
                      </a:lnTo>
                      <a:lnTo>
                        <a:pt x="7320" y="6786"/>
                      </a:lnTo>
                      <a:lnTo>
                        <a:pt x="7106" y="6643"/>
                      </a:lnTo>
                      <a:lnTo>
                        <a:pt x="7059" y="6572"/>
                      </a:lnTo>
                      <a:lnTo>
                        <a:pt x="7023" y="6572"/>
                      </a:lnTo>
                      <a:lnTo>
                        <a:pt x="6845" y="6620"/>
                      </a:lnTo>
                      <a:lnTo>
                        <a:pt x="6809" y="6620"/>
                      </a:lnTo>
                      <a:lnTo>
                        <a:pt x="6750" y="6596"/>
                      </a:lnTo>
                      <a:lnTo>
                        <a:pt x="6690" y="6608"/>
                      </a:lnTo>
                      <a:lnTo>
                        <a:pt x="6572" y="6667"/>
                      </a:lnTo>
                      <a:lnTo>
                        <a:pt x="6512" y="6667"/>
                      </a:lnTo>
                      <a:lnTo>
                        <a:pt x="6477" y="6643"/>
                      </a:lnTo>
                      <a:lnTo>
                        <a:pt x="6405" y="6643"/>
                      </a:lnTo>
                      <a:lnTo>
                        <a:pt x="6251" y="6667"/>
                      </a:lnTo>
                      <a:lnTo>
                        <a:pt x="6179" y="6667"/>
                      </a:lnTo>
                      <a:lnTo>
                        <a:pt x="6144" y="6655"/>
                      </a:lnTo>
                      <a:lnTo>
                        <a:pt x="6108" y="6631"/>
                      </a:lnTo>
                      <a:lnTo>
                        <a:pt x="6073" y="6560"/>
                      </a:lnTo>
                      <a:lnTo>
                        <a:pt x="5954" y="6477"/>
                      </a:lnTo>
                      <a:lnTo>
                        <a:pt x="5859" y="6346"/>
                      </a:lnTo>
                      <a:lnTo>
                        <a:pt x="5787" y="6215"/>
                      </a:lnTo>
                      <a:lnTo>
                        <a:pt x="5752" y="6204"/>
                      </a:lnTo>
                      <a:lnTo>
                        <a:pt x="5668" y="6215"/>
                      </a:lnTo>
                      <a:lnTo>
                        <a:pt x="5597" y="6204"/>
                      </a:lnTo>
                      <a:lnTo>
                        <a:pt x="5550" y="6180"/>
                      </a:lnTo>
                      <a:lnTo>
                        <a:pt x="5502" y="6168"/>
                      </a:lnTo>
                      <a:lnTo>
                        <a:pt x="5419" y="6180"/>
                      </a:lnTo>
                      <a:lnTo>
                        <a:pt x="5288" y="6120"/>
                      </a:lnTo>
                      <a:lnTo>
                        <a:pt x="5205" y="6120"/>
                      </a:lnTo>
                      <a:lnTo>
                        <a:pt x="5134" y="6061"/>
                      </a:lnTo>
                      <a:lnTo>
                        <a:pt x="5122" y="6049"/>
                      </a:lnTo>
                      <a:lnTo>
                        <a:pt x="5086" y="6037"/>
                      </a:lnTo>
                      <a:lnTo>
                        <a:pt x="4979" y="6061"/>
                      </a:lnTo>
                      <a:lnTo>
                        <a:pt x="4932" y="6013"/>
                      </a:lnTo>
                      <a:lnTo>
                        <a:pt x="4872" y="5966"/>
                      </a:lnTo>
                      <a:lnTo>
                        <a:pt x="4813" y="5895"/>
                      </a:lnTo>
                      <a:lnTo>
                        <a:pt x="4777" y="5883"/>
                      </a:lnTo>
                      <a:lnTo>
                        <a:pt x="4730" y="5847"/>
                      </a:lnTo>
                      <a:lnTo>
                        <a:pt x="4682" y="5776"/>
                      </a:lnTo>
                      <a:lnTo>
                        <a:pt x="4646" y="5704"/>
                      </a:lnTo>
                      <a:lnTo>
                        <a:pt x="4623" y="5669"/>
                      </a:lnTo>
                      <a:lnTo>
                        <a:pt x="4563" y="5657"/>
                      </a:lnTo>
                      <a:lnTo>
                        <a:pt x="4528" y="5657"/>
                      </a:lnTo>
                      <a:lnTo>
                        <a:pt x="4385" y="5740"/>
                      </a:lnTo>
                      <a:lnTo>
                        <a:pt x="4349" y="5740"/>
                      </a:lnTo>
                      <a:lnTo>
                        <a:pt x="4302" y="5716"/>
                      </a:lnTo>
                      <a:lnTo>
                        <a:pt x="4266" y="5693"/>
                      </a:lnTo>
                      <a:lnTo>
                        <a:pt x="4207" y="5657"/>
                      </a:lnTo>
                      <a:lnTo>
                        <a:pt x="4147" y="5562"/>
                      </a:lnTo>
                      <a:lnTo>
                        <a:pt x="4076" y="5538"/>
                      </a:lnTo>
                      <a:lnTo>
                        <a:pt x="4029" y="5526"/>
                      </a:lnTo>
                      <a:lnTo>
                        <a:pt x="4005" y="5491"/>
                      </a:lnTo>
                      <a:lnTo>
                        <a:pt x="3969" y="5467"/>
                      </a:lnTo>
                      <a:lnTo>
                        <a:pt x="3933" y="5443"/>
                      </a:lnTo>
                      <a:lnTo>
                        <a:pt x="3767" y="5431"/>
                      </a:lnTo>
                      <a:lnTo>
                        <a:pt x="3696" y="5455"/>
                      </a:lnTo>
                      <a:lnTo>
                        <a:pt x="3636" y="5526"/>
                      </a:lnTo>
                      <a:lnTo>
                        <a:pt x="3589" y="5538"/>
                      </a:lnTo>
                      <a:lnTo>
                        <a:pt x="3518" y="5538"/>
                      </a:lnTo>
                      <a:lnTo>
                        <a:pt x="3422" y="5514"/>
                      </a:lnTo>
                      <a:lnTo>
                        <a:pt x="3399" y="5514"/>
                      </a:lnTo>
                      <a:lnTo>
                        <a:pt x="3351" y="5538"/>
                      </a:lnTo>
                      <a:lnTo>
                        <a:pt x="3280" y="5491"/>
                      </a:lnTo>
                      <a:lnTo>
                        <a:pt x="3244" y="5491"/>
                      </a:lnTo>
                      <a:lnTo>
                        <a:pt x="3197" y="5502"/>
                      </a:lnTo>
                      <a:lnTo>
                        <a:pt x="3090" y="5479"/>
                      </a:lnTo>
                      <a:lnTo>
                        <a:pt x="3018" y="5384"/>
                      </a:lnTo>
                      <a:lnTo>
                        <a:pt x="2971" y="5336"/>
                      </a:lnTo>
                      <a:lnTo>
                        <a:pt x="2959" y="5229"/>
                      </a:lnTo>
                      <a:lnTo>
                        <a:pt x="2947" y="5205"/>
                      </a:lnTo>
                      <a:lnTo>
                        <a:pt x="2911" y="5170"/>
                      </a:lnTo>
                      <a:lnTo>
                        <a:pt x="2793" y="5146"/>
                      </a:lnTo>
                      <a:lnTo>
                        <a:pt x="2745" y="5122"/>
                      </a:lnTo>
                      <a:lnTo>
                        <a:pt x="2698" y="5051"/>
                      </a:lnTo>
                      <a:lnTo>
                        <a:pt x="2674" y="5039"/>
                      </a:lnTo>
                      <a:lnTo>
                        <a:pt x="2662" y="5098"/>
                      </a:lnTo>
                      <a:lnTo>
                        <a:pt x="2650" y="5063"/>
                      </a:lnTo>
                      <a:lnTo>
                        <a:pt x="2614" y="5039"/>
                      </a:lnTo>
                      <a:lnTo>
                        <a:pt x="2579" y="4991"/>
                      </a:lnTo>
                      <a:lnTo>
                        <a:pt x="2531" y="4956"/>
                      </a:lnTo>
                      <a:lnTo>
                        <a:pt x="2377" y="4920"/>
                      </a:lnTo>
                      <a:lnTo>
                        <a:pt x="2353" y="4908"/>
                      </a:lnTo>
                      <a:lnTo>
                        <a:pt x="2341" y="4896"/>
                      </a:lnTo>
                      <a:lnTo>
                        <a:pt x="2329" y="4849"/>
                      </a:lnTo>
                      <a:lnTo>
                        <a:pt x="2293" y="4801"/>
                      </a:lnTo>
                      <a:lnTo>
                        <a:pt x="2282" y="4754"/>
                      </a:lnTo>
                      <a:lnTo>
                        <a:pt x="2246" y="4635"/>
                      </a:lnTo>
                      <a:lnTo>
                        <a:pt x="2175" y="4552"/>
                      </a:lnTo>
                      <a:lnTo>
                        <a:pt x="2139" y="4587"/>
                      </a:lnTo>
                      <a:lnTo>
                        <a:pt x="2139" y="4623"/>
                      </a:lnTo>
                      <a:lnTo>
                        <a:pt x="2115" y="4611"/>
                      </a:lnTo>
                      <a:lnTo>
                        <a:pt x="2091" y="4599"/>
                      </a:lnTo>
                      <a:lnTo>
                        <a:pt x="2080" y="4587"/>
                      </a:lnTo>
                      <a:lnTo>
                        <a:pt x="2091" y="4480"/>
                      </a:lnTo>
                      <a:lnTo>
                        <a:pt x="2044" y="4350"/>
                      </a:lnTo>
                      <a:lnTo>
                        <a:pt x="1949" y="4302"/>
                      </a:lnTo>
                      <a:lnTo>
                        <a:pt x="1901" y="4243"/>
                      </a:lnTo>
                      <a:lnTo>
                        <a:pt x="1901" y="4171"/>
                      </a:lnTo>
                      <a:lnTo>
                        <a:pt x="1925" y="4112"/>
                      </a:lnTo>
                      <a:lnTo>
                        <a:pt x="1854" y="4065"/>
                      </a:lnTo>
                      <a:lnTo>
                        <a:pt x="1830" y="4029"/>
                      </a:lnTo>
                      <a:lnTo>
                        <a:pt x="1842" y="3981"/>
                      </a:lnTo>
                      <a:lnTo>
                        <a:pt x="1830" y="3946"/>
                      </a:lnTo>
                      <a:lnTo>
                        <a:pt x="1830" y="3874"/>
                      </a:lnTo>
                      <a:lnTo>
                        <a:pt x="1866" y="3827"/>
                      </a:lnTo>
                      <a:lnTo>
                        <a:pt x="1878" y="3791"/>
                      </a:lnTo>
                      <a:lnTo>
                        <a:pt x="1925" y="3696"/>
                      </a:lnTo>
                      <a:lnTo>
                        <a:pt x="1925" y="3672"/>
                      </a:lnTo>
                      <a:lnTo>
                        <a:pt x="1901" y="3554"/>
                      </a:lnTo>
                      <a:lnTo>
                        <a:pt x="1830" y="3482"/>
                      </a:lnTo>
                      <a:lnTo>
                        <a:pt x="1806" y="3447"/>
                      </a:lnTo>
                      <a:lnTo>
                        <a:pt x="1818" y="3351"/>
                      </a:lnTo>
                      <a:lnTo>
                        <a:pt x="1806" y="3316"/>
                      </a:lnTo>
                      <a:lnTo>
                        <a:pt x="1759" y="3256"/>
                      </a:lnTo>
                      <a:lnTo>
                        <a:pt x="1735" y="3126"/>
                      </a:lnTo>
                      <a:lnTo>
                        <a:pt x="1735" y="3090"/>
                      </a:lnTo>
                      <a:lnTo>
                        <a:pt x="1782" y="3019"/>
                      </a:lnTo>
                      <a:lnTo>
                        <a:pt x="1794" y="2947"/>
                      </a:lnTo>
                      <a:lnTo>
                        <a:pt x="1854" y="2876"/>
                      </a:lnTo>
                      <a:lnTo>
                        <a:pt x="1901" y="2757"/>
                      </a:lnTo>
                      <a:lnTo>
                        <a:pt x="1901" y="2698"/>
                      </a:lnTo>
                      <a:lnTo>
                        <a:pt x="1842" y="2472"/>
                      </a:lnTo>
                      <a:lnTo>
                        <a:pt x="1842" y="2448"/>
                      </a:lnTo>
                      <a:lnTo>
                        <a:pt x="1866" y="2258"/>
                      </a:lnTo>
                      <a:lnTo>
                        <a:pt x="1842" y="2211"/>
                      </a:lnTo>
                      <a:lnTo>
                        <a:pt x="1782" y="2139"/>
                      </a:lnTo>
                      <a:lnTo>
                        <a:pt x="1723" y="2092"/>
                      </a:lnTo>
                      <a:lnTo>
                        <a:pt x="1687" y="2092"/>
                      </a:lnTo>
                      <a:lnTo>
                        <a:pt x="1616" y="2175"/>
                      </a:lnTo>
                      <a:lnTo>
                        <a:pt x="1580" y="2234"/>
                      </a:lnTo>
                      <a:lnTo>
                        <a:pt x="1497" y="2270"/>
                      </a:lnTo>
                      <a:lnTo>
                        <a:pt x="1473" y="2234"/>
                      </a:lnTo>
                      <a:lnTo>
                        <a:pt x="1450" y="2223"/>
                      </a:lnTo>
                      <a:lnTo>
                        <a:pt x="1438" y="2234"/>
                      </a:lnTo>
                      <a:lnTo>
                        <a:pt x="1426" y="2246"/>
                      </a:lnTo>
                      <a:lnTo>
                        <a:pt x="1414" y="2258"/>
                      </a:lnTo>
                      <a:lnTo>
                        <a:pt x="1402" y="2234"/>
                      </a:lnTo>
                      <a:lnTo>
                        <a:pt x="1402" y="2211"/>
                      </a:lnTo>
                      <a:lnTo>
                        <a:pt x="1355" y="2211"/>
                      </a:lnTo>
                      <a:lnTo>
                        <a:pt x="1331" y="2187"/>
                      </a:lnTo>
                      <a:lnTo>
                        <a:pt x="1307" y="2187"/>
                      </a:lnTo>
                      <a:lnTo>
                        <a:pt x="1295" y="2211"/>
                      </a:lnTo>
                      <a:lnTo>
                        <a:pt x="1260" y="2211"/>
                      </a:lnTo>
                      <a:lnTo>
                        <a:pt x="1248" y="2223"/>
                      </a:lnTo>
                      <a:lnTo>
                        <a:pt x="1212" y="2234"/>
                      </a:lnTo>
                      <a:lnTo>
                        <a:pt x="1200" y="2211"/>
                      </a:lnTo>
                      <a:lnTo>
                        <a:pt x="1105" y="2223"/>
                      </a:lnTo>
                      <a:lnTo>
                        <a:pt x="1081" y="2234"/>
                      </a:lnTo>
                      <a:lnTo>
                        <a:pt x="1081" y="2258"/>
                      </a:lnTo>
                      <a:lnTo>
                        <a:pt x="1069" y="2270"/>
                      </a:lnTo>
                      <a:lnTo>
                        <a:pt x="998" y="2258"/>
                      </a:lnTo>
                      <a:lnTo>
                        <a:pt x="986" y="2246"/>
                      </a:lnTo>
                      <a:lnTo>
                        <a:pt x="939" y="2258"/>
                      </a:lnTo>
                      <a:lnTo>
                        <a:pt x="808" y="2294"/>
                      </a:lnTo>
                      <a:lnTo>
                        <a:pt x="760" y="2318"/>
                      </a:lnTo>
                      <a:lnTo>
                        <a:pt x="677" y="2329"/>
                      </a:lnTo>
                      <a:lnTo>
                        <a:pt x="618" y="2365"/>
                      </a:lnTo>
                      <a:lnTo>
                        <a:pt x="535" y="2389"/>
                      </a:lnTo>
                      <a:lnTo>
                        <a:pt x="463" y="2377"/>
                      </a:lnTo>
                      <a:lnTo>
                        <a:pt x="404" y="2401"/>
                      </a:lnTo>
                      <a:lnTo>
                        <a:pt x="333" y="2460"/>
                      </a:lnTo>
                      <a:lnTo>
                        <a:pt x="333" y="2460"/>
                      </a:lnTo>
                      <a:lnTo>
                        <a:pt x="297" y="2425"/>
                      </a:lnTo>
                      <a:lnTo>
                        <a:pt x="178" y="2377"/>
                      </a:lnTo>
                      <a:lnTo>
                        <a:pt x="154" y="2377"/>
                      </a:lnTo>
                      <a:lnTo>
                        <a:pt x="83" y="2341"/>
                      </a:lnTo>
                      <a:lnTo>
                        <a:pt x="24" y="2329"/>
                      </a:lnTo>
                      <a:lnTo>
                        <a:pt x="0" y="2294"/>
                      </a:lnTo>
                      <a:lnTo>
                        <a:pt x="0" y="2294"/>
                      </a:lnTo>
                      <a:lnTo>
                        <a:pt x="12" y="2294"/>
                      </a:lnTo>
                      <a:lnTo>
                        <a:pt x="36" y="2282"/>
                      </a:lnTo>
                      <a:lnTo>
                        <a:pt x="178" y="2223"/>
                      </a:lnTo>
                      <a:lnTo>
                        <a:pt x="285" y="2163"/>
                      </a:lnTo>
                      <a:lnTo>
                        <a:pt x="356" y="2151"/>
                      </a:lnTo>
                      <a:lnTo>
                        <a:pt x="368" y="2151"/>
                      </a:lnTo>
                      <a:lnTo>
                        <a:pt x="404" y="2139"/>
                      </a:lnTo>
                      <a:lnTo>
                        <a:pt x="428" y="2080"/>
                      </a:lnTo>
                      <a:lnTo>
                        <a:pt x="428" y="2056"/>
                      </a:lnTo>
                      <a:lnTo>
                        <a:pt x="535" y="1985"/>
                      </a:lnTo>
                      <a:lnTo>
                        <a:pt x="547" y="1961"/>
                      </a:lnTo>
                      <a:lnTo>
                        <a:pt x="558" y="1937"/>
                      </a:lnTo>
                      <a:lnTo>
                        <a:pt x="547" y="1914"/>
                      </a:lnTo>
                      <a:lnTo>
                        <a:pt x="535" y="1914"/>
                      </a:lnTo>
                      <a:lnTo>
                        <a:pt x="523" y="1878"/>
                      </a:lnTo>
                      <a:lnTo>
                        <a:pt x="523" y="1854"/>
                      </a:lnTo>
                      <a:lnTo>
                        <a:pt x="535" y="1842"/>
                      </a:lnTo>
                      <a:lnTo>
                        <a:pt x="594" y="1842"/>
                      </a:lnTo>
                      <a:lnTo>
                        <a:pt x="665" y="1854"/>
                      </a:lnTo>
                      <a:lnTo>
                        <a:pt x="772" y="1866"/>
                      </a:lnTo>
                      <a:lnTo>
                        <a:pt x="796" y="1866"/>
                      </a:lnTo>
                      <a:lnTo>
                        <a:pt x="867" y="1830"/>
                      </a:lnTo>
                      <a:lnTo>
                        <a:pt x="939" y="1842"/>
                      </a:lnTo>
                      <a:lnTo>
                        <a:pt x="998" y="1818"/>
                      </a:lnTo>
                      <a:lnTo>
                        <a:pt x="1046" y="1807"/>
                      </a:lnTo>
                      <a:lnTo>
                        <a:pt x="1081" y="1830"/>
                      </a:lnTo>
                      <a:lnTo>
                        <a:pt x="1093" y="1842"/>
                      </a:lnTo>
                      <a:lnTo>
                        <a:pt x="1105" y="1842"/>
                      </a:lnTo>
                      <a:lnTo>
                        <a:pt x="1129" y="1902"/>
                      </a:lnTo>
                      <a:lnTo>
                        <a:pt x="1129" y="1937"/>
                      </a:lnTo>
                      <a:lnTo>
                        <a:pt x="1141" y="1937"/>
                      </a:lnTo>
                      <a:lnTo>
                        <a:pt x="1165" y="1925"/>
                      </a:lnTo>
                      <a:lnTo>
                        <a:pt x="1200" y="1925"/>
                      </a:lnTo>
                      <a:lnTo>
                        <a:pt x="1224" y="1949"/>
                      </a:lnTo>
                      <a:lnTo>
                        <a:pt x="1236" y="1985"/>
                      </a:lnTo>
                      <a:lnTo>
                        <a:pt x="1260" y="2020"/>
                      </a:lnTo>
                      <a:lnTo>
                        <a:pt x="1283" y="2044"/>
                      </a:lnTo>
                      <a:lnTo>
                        <a:pt x="1307" y="2044"/>
                      </a:lnTo>
                      <a:lnTo>
                        <a:pt x="1343" y="2020"/>
                      </a:lnTo>
                      <a:lnTo>
                        <a:pt x="1414" y="1890"/>
                      </a:lnTo>
                      <a:lnTo>
                        <a:pt x="1438" y="1866"/>
                      </a:lnTo>
                      <a:lnTo>
                        <a:pt x="1450" y="1854"/>
                      </a:lnTo>
                      <a:lnTo>
                        <a:pt x="1485" y="1842"/>
                      </a:lnTo>
                      <a:lnTo>
                        <a:pt x="1592" y="1842"/>
                      </a:lnTo>
                      <a:lnTo>
                        <a:pt x="1628" y="1866"/>
                      </a:lnTo>
                      <a:lnTo>
                        <a:pt x="1676" y="1878"/>
                      </a:lnTo>
                      <a:lnTo>
                        <a:pt x="1687" y="1735"/>
                      </a:lnTo>
                      <a:lnTo>
                        <a:pt x="1711" y="1688"/>
                      </a:lnTo>
                      <a:lnTo>
                        <a:pt x="1818" y="1676"/>
                      </a:lnTo>
                      <a:lnTo>
                        <a:pt x="1866" y="1628"/>
                      </a:lnTo>
                      <a:lnTo>
                        <a:pt x="1901" y="1605"/>
                      </a:lnTo>
                      <a:lnTo>
                        <a:pt x="1937" y="1640"/>
                      </a:lnTo>
                      <a:lnTo>
                        <a:pt x="1961" y="1712"/>
                      </a:lnTo>
                      <a:lnTo>
                        <a:pt x="2008" y="1783"/>
                      </a:lnTo>
                      <a:lnTo>
                        <a:pt x="2056" y="1818"/>
                      </a:lnTo>
                      <a:lnTo>
                        <a:pt x="2091" y="1818"/>
                      </a:lnTo>
                      <a:lnTo>
                        <a:pt x="2127" y="1795"/>
                      </a:lnTo>
                      <a:lnTo>
                        <a:pt x="2151" y="1747"/>
                      </a:lnTo>
                      <a:lnTo>
                        <a:pt x="2187" y="1712"/>
                      </a:lnTo>
                      <a:lnTo>
                        <a:pt x="2187" y="1700"/>
                      </a:lnTo>
                      <a:lnTo>
                        <a:pt x="2198" y="1688"/>
                      </a:lnTo>
                      <a:lnTo>
                        <a:pt x="2222" y="1664"/>
                      </a:lnTo>
                      <a:lnTo>
                        <a:pt x="2270" y="1628"/>
                      </a:lnTo>
                      <a:lnTo>
                        <a:pt x="2317" y="1557"/>
                      </a:lnTo>
                      <a:lnTo>
                        <a:pt x="2317" y="1533"/>
                      </a:lnTo>
                      <a:lnTo>
                        <a:pt x="2282" y="1474"/>
                      </a:lnTo>
                      <a:lnTo>
                        <a:pt x="2270" y="1438"/>
                      </a:lnTo>
                      <a:lnTo>
                        <a:pt x="2282" y="1367"/>
                      </a:lnTo>
                      <a:lnTo>
                        <a:pt x="2305" y="1343"/>
                      </a:lnTo>
                      <a:lnTo>
                        <a:pt x="2353" y="1319"/>
                      </a:lnTo>
                      <a:lnTo>
                        <a:pt x="2412" y="1260"/>
                      </a:lnTo>
                      <a:lnTo>
                        <a:pt x="2484" y="1248"/>
                      </a:lnTo>
                      <a:lnTo>
                        <a:pt x="2507" y="1272"/>
                      </a:lnTo>
                      <a:lnTo>
                        <a:pt x="2507" y="1296"/>
                      </a:lnTo>
                      <a:lnTo>
                        <a:pt x="2519" y="1307"/>
                      </a:lnTo>
                      <a:lnTo>
                        <a:pt x="2614" y="1296"/>
                      </a:lnTo>
                      <a:lnTo>
                        <a:pt x="2674" y="1319"/>
                      </a:lnTo>
                      <a:lnTo>
                        <a:pt x="2709" y="1272"/>
                      </a:lnTo>
                      <a:lnTo>
                        <a:pt x="2769" y="1236"/>
                      </a:lnTo>
                      <a:lnTo>
                        <a:pt x="2828" y="1224"/>
                      </a:lnTo>
                      <a:lnTo>
                        <a:pt x="2864" y="1260"/>
                      </a:lnTo>
                      <a:lnTo>
                        <a:pt x="2888" y="1260"/>
                      </a:lnTo>
                      <a:lnTo>
                        <a:pt x="2923" y="1212"/>
                      </a:lnTo>
                      <a:lnTo>
                        <a:pt x="3018" y="1189"/>
                      </a:lnTo>
                      <a:lnTo>
                        <a:pt x="3173" y="1212"/>
                      </a:lnTo>
                      <a:lnTo>
                        <a:pt x="3220" y="1165"/>
                      </a:lnTo>
                      <a:lnTo>
                        <a:pt x="3209" y="1105"/>
                      </a:lnTo>
                      <a:lnTo>
                        <a:pt x="3220" y="1022"/>
                      </a:lnTo>
                      <a:lnTo>
                        <a:pt x="3185" y="975"/>
                      </a:lnTo>
                      <a:lnTo>
                        <a:pt x="3185" y="939"/>
                      </a:lnTo>
                      <a:lnTo>
                        <a:pt x="3197" y="915"/>
                      </a:lnTo>
                      <a:lnTo>
                        <a:pt x="3244" y="915"/>
                      </a:lnTo>
                      <a:lnTo>
                        <a:pt x="3304" y="927"/>
                      </a:lnTo>
                      <a:lnTo>
                        <a:pt x="3327" y="915"/>
                      </a:lnTo>
                      <a:lnTo>
                        <a:pt x="3363" y="856"/>
                      </a:lnTo>
                      <a:lnTo>
                        <a:pt x="3363" y="808"/>
                      </a:lnTo>
                      <a:lnTo>
                        <a:pt x="3375" y="785"/>
                      </a:lnTo>
                      <a:lnTo>
                        <a:pt x="3482" y="761"/>
                      </a:lnTo>
                      <a:lnTo>
                        <a:pt x="3506" y="749"/>
                      </a:lnTo>
                      <a:lnTo>
                        <a:pt x="3506" y="725"/>
                      </a:lnTo>
                      <a:lnTo>
                        <a:pt x="3494" y="701"/>
                      </a:lnTo>
                      <a:lnTo>
                        <a:pt x="3482" y="642"/>
                      </a:lnTo>
                      <a:lnTo>
                        <a:pt x="3470" y="630"/>
                      </a:lnTo>
                      <a:lnTo>
                        <a:pt x="3399" y="630"/>
                      </a:lnTo>
                      <a:lnTo>
                        <a:pt x="3363" y="618"/>
                      </a:lnTo>
                      <a:lnTo>
                        <a:pt x="3363" y="571"/>
                      </a:lnTo>
                      <a:lnTo>
                        <a:pt x="3375" y="547"/>
                      </a:lnTo>
                      <a:lnTo>
                        <a:pt x="3411" y="547"/>
                      </a:lnTo>
                      <a:lnTo>
                        <a:pt x="3446" y="464"/>
                      </a:lnTo>
                      <a:lnTo>
                        <a:pt x="3601" y="416"/>
                      </a:lnTo>
                      <a:lnTo>
                        <a:pt x="3648" y="392"/>
                      </a:lnTo>
                      <a:lnTo>
                        <a:pt x="3660" y="369"/>
                      </a:lnTo>
                      <a:lnTo>
                        <a:pt x="3660" y="321"/>
                      </a:lnTo>
                      <a:lnTo>
                        <a:pt x="3672" y="285"/>
                      </a:lnTo>
                      <a:lnTo>
                        <a:pt x="3731" y="262"/>
                      </a:lnTo>
                      <a:lnTo>
                        <a:pt x="3803" y="250"/>
                      </a:lnTo>
                      <a:lnTo>
                        <a:pt x="3850" y="202"/>
                      </a:lnTo>
                      <a:lnTo>
                        <a:pt x="3838" y="131"/>
                      </a:lnTo>
                      <a:lnTo>
                        <a:pt x="3874" y="83"/>
                      </a:lnTo>
                      <a:lnTo>
                        <a:pt x="3886" y="36"/>
                      </a:lnTo>
                      <a:lnTo>
                        <a:pt x="3898" y="24"/>
                      </a:lnTo>
                      <a:lnTo>
                        <a:pt x="4005" y="24"/>
                      </a:lnTo>
                      <a:lnTo>
                        <a:pt x="4005" y="24"/>
                      </a:lnTo>
                      <a:lnTo>
                        <a:pt x="4064" y="24"/>
                      </a:lnTo>
                      <a:lnTo>
                        <a:pt x="4112" y="12"/>
                      </a:lnTo>
                      <a:lnTo>
                        <a:pt x="4171" y="36"/>
                      </a:lnTo>
                      <a:lnTo>
                        <a:pt x="4159" y="24"/>
                      </a:lnTo>
                      <a:lnTo>
                        <a:pt x="4302" y="12"/>
                      </a:lnTo>
                      <a:lnTo>
                        <a:pt x="4540" y="12"/>
                      </a:lnTo>
                      <a:lnTo>
                        <a:pt x="4540" y="0"/>
                      </a:lnTo>
                      <a:lnTo>
                        <a:pt x="4742" y="24"/>
                      </a:lnTo>
                      <a:lnTo>
                        <a:pt x="4753" y="36"/>
                      </a:lnTo>
                      <a:lnTo>
                        <a:pt x="4777" y="83"/>
                      </a:lnTo>
                      <a:lnTo>
                        <a:pt x="4813" y="95"/>
                      </a:lnTo>
                      <a:lnTo>
                        <a:pt x="4848" y="95"/>
                      </a:lnTo>
                      <a:lnTo>
                        <a:pt x="4848" y="83"/>
                      </a:lnTo>
                      <a:lnTo>
                        <a:pt x="4908" y="119"/>
                      </a:lnTo>
                      <a:lnTo>
                        <a:pt x="4932" y="179"/>
                      </a:lnTo>
                      <a:lnTo>
                        <a:pt x="4920" y="274"/>
                      </a:lnTo>
                      <a:lnTo>
                        <a:pt x="4944" y="309"/>
                      </a:lnTo>
                      <a:lnTo>
                        <a:pt x="5003" y="345"/>
                      </a:lnTo>
                      <a:lnTo>
                        <a:pt x="5039" y="381"/>
                      </a:lnTo>
                      <a:lnTo>
                        <a:pt x="5074" y="452"/>
                      </a:lnTo>
                      <a:lnTo>
                        <a:pt x="5122" y="476"/>
                      </a:lnTo>
                      <a:lnTo>
                        <a:pt x="5134" y="476"/>
                      </a:lnTo>
                      <a:lnTo>
                        <a:pt x="5157" y="440"/>
                      </a:lnTo>
                      <a:lnTo>
                        <a:pt x="5157" y="440"/>
                      </a:lnTo>
                      <a:lnTo>
                        <a:pt x="5205" y="428"/>
                      </a:lnTo>
                      <a:lnTo>
                        <a:pt x="5205" y="428"/>
                      </a:lnTo>
                      <a:lnTo>
                        <a:pt x="5241" y="428"/>
                      </a:lnTo>
                      <a:lnTo>
                        <a:pt x="5300" y="511"/>
                      </a:lnTo>
                      <a:lnTo>
                        <a:pt x="5324" y="630"/>
                      </a:lnTo>
                      <a:lnTo>
                        <a:pt x="5360" y="713"/>
                      </a:lnTo>
                      <a:lnTo>
                        <a:pt x="5407" y="737"/>
                      </a:lnTo>
                      <a:lnTo>
                        <a:pt x="5478" y="713"/>
                      </a:lnTo>
                      <a:lnTo>
                        <a:pt x="5514" y="713"/>
                      </a:lnTo>
                      <a:lnTo>
                        <a:pt x="5526" y="725"/>
                      </a:lnTo>
                      <a:lnTo>
                        <a:pt x="5550" y="856"/>
                      </a:lnTo>
                      <a:lnTo>
                        <a:pt x="5585" y="927"/>
                      </a:lnTo>
                      <a:lnTo>
                        <a:pt x="5680" y="951"/>
                      </a:lnTo>
                      <a:lnTo>
                        <a:pt x="5847" y="1034"/>
                      </a:lnTo>
                      <a:lnTo>
                        <a:pt x="5871" y="1034"/>
                      </a:lnTo>
                      <a:lnTo>
                        <a:pt x="5906" y="1010"/>
                      </a:lnTo>
                      <a:lnTo>
                        <a:pt x="5918" y="998"/>
                      </a:lnTo>
                      <a:lnTo>
                        <a:pt x="5918" y="939"/>
                      </a:lnTo>
                      <a:lnTo>
                        <a:pt x="5942" y="903"/>
                      </a:lnTo>
                      <a:lnTo>
                        <a:pt x="5942" y="880"/>
                      </a:lnTo>
                      <a:lnTo>
                        <a:pt x="5977" y="868"/>
                      </a:lnTo>
                      <a:lnTo>
                        <a:pt x="6025" y="892"/>
                      </a:lnTo>
                      <a:lnTo>
                        <a:pt x="6037" y="880"/>
                      </a:lnTo>
                      <a:lnTo>
                        <a:pt x="6049" y="868"/>
                      </a:lnTo>
                      <a:lnTo>
                        <a:pt x="6073" y="820"/>
                      </a:lnTo>
                      <a:lnTo>
                        <a:pt x="6084" y="808"/>
                      </a:lnTo>
                      <a:lnTo>
                        <a:pt x="6108" y="820"/>
                      </a:lnTo>
                      <a:lnTo>
                        <a:pt x="6120" y="832"/>
                      </a:lnTo>
                      <a:lnTo>
                        <a:pt x="6144" y="868"/>
                      </a:lnTo>
                      <a:lnTo>
                        <a:pt x="6203" y="880"/>
                      </a:lnTo>
                      <a:lnTo>
                        <a:pt x="6251" y="939"/>
                      </a:lnTo>
                      <a:lnTo>
                        <a:pt x="6275" y="951"/>
                      </a:lnTo>
                      <a:lnTo>
                        <a:pt x="6275" y="951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21" name="Freeform 312"/>
                <p:cNvSpPr>
                  <a:spLocks/>
                </p:cNvSpPr>
                <p:nvPr/>
              </p:nvSpPr>
              <p:spPr bwMode="auto">
                <a:xfrm>
                  <a:off x="-8591544" y="-9540872"/>
                  <a:ext cx="21337590" cy="20129499"/>
                </a:xfrm>
                <a:custGeom>
                  <a:avLst/>
                  <a:gdLst/>
                  <a:ahLst/>
                  <a:cxnLst>
                    <a:cxn ang="0">
                      <a:pos x="1557" y="8010"/>
                    </a:cxn>
                    <a:cxn ang="0">
                      <a:pos x="1747" y="8794"/>
                    </a:cxn>
                    <a:cxn ang="0">
                      <a:pos x="1569" y="9460"/>
                    </a:cxn>
                    <a:cxn ang="0">
                      <a:pos x="3838" y="10708"/>
                    </a:cxn>
                    <a:cxn ang="0">
                      <a:pos x="3969" y="10922"/>
                    </a:cxn>
                    <a:cxn ang="0">
                      <a:pos x="4183" y="11955"/>
                    </a:cxn>
                    <a:cxn ang="0">
                      <a:pos x="4587" y="12134"/>
                    </a:cxn>
                    <a:cxn ang="0">
                      <a:pos x="4753" y="12146"/>
                    </a:cxn>
                    <a:cxn ang="0">
                      <a:pos x="4753" y="12217"/>
                    </a:cxn>
                    <a:cxn ang="0">
                      <a:pos x="4789" y="12276"/>
                    </a:cxn>
                    <a:cxn ang="0">
                      <a:pos x="4789" y="12348"/>
                    </a:cxn>
                    <a:cxn ang="0">
                      <a:pos x="5003" y="12526"/>
                    </a:cxn>
                    <a:cxn ang="0">
                      <a:pos x="5526" y="12276"/>
                    </a:cxn>
                    <a:cxn ang="0">
                      <a:pos x="5811" y="11884"/>
                    </a:cxn>
                    <a:cxn ang="0">
                      <a:pos x="6286" y="11789"/>
                    </a:cxn>
                    <a:cxn ang="0">
                      <a:pos x="6964" y="11825"/>
                    </a:cxn>
                    <a:cxn ang="0">
                      <a:pos x="7653" y="12217"/>
                    </a:cxn>
                    <a:cxn ang="0">
                      <a:pos x="8283" y="11979"/>
                    </a:cxn>
                    <a:cxn ang="0">
                      <a:pos x="8877" y="12122"/>
                    </a:cxn>
                    <a:cxn ang="0">
                      <a:pos x="9317" y="11706"/>
                    </a:cxn>
                    <a:cxn ang="0">
                      <a:pos x="9174" y="12526"/>
                    </a:cxn>
                    <a:cxn ang="0">
                      <a:pos x="10054" y="12657"/>
                    </a:cxn>
                    <a:cxn ang="0">
                      <a:pos x="9899" y="11825"/>
                    </a:cxn>
                    <a:cxn ang="0">
                      <a:pos x="10363" y="11100"/>
                    </a:cxn>
                    <a:cxn ang="0">
                      <a:pos x="10529" y="10720"/>
                    </a:cxn>
                    <a:cxn ang="0">
                      <a:pos x="10731" y="10411"/>
                    </a:cxn>
                    <a:cxn ang="0">
                      <a:pos x="11301" y="10030"/>
                    </a:cxn>
                    <a:cxn ang="0">
                      <a:pos x="11575" y="9686"/>
                    </a:cxn>
                    <a:cxn ang="0">
                      <a:pos x="12062" y="9044"/>
                    </a:cxn>
                    <a:cxn ang="0">
                      <a:pos x="12502" y="8295"/>
                    </a:cxn>
                    <a:cxn ang="0">
                      <a:pos x="12668" y="7689"/>
                    </a:cxn>
                    <a:cxn ang="0">
                      <a:pos x="12918" y="6905"/>
                    </a:cxn>
                    <a:cxn ang="0">
                      <a:pos x="12953" y="6477"/>
                    </a:cxn>
                    <a:cxn ang="0">
                      <a:pos x="12858" y="6192"/>
                    </a:cxn>
                    <a:cxn ang="0">
                      <a:pos x="12870" y="5740"/>
                    </a:cxn>
                    <a:cxn ang="0">
                      <a:pos x="12906" y="5087"/>
                    </a:cxn>
                    <a:cxn ang="0">
                      <a:pos x="12965" y="4160"/>
                    </a:cxn>
                    <a:cxn ang="0">
                      <a:pos x="13215" y="3542"/>
                    </a:cxn>
                    <a:cxn ang="0">
                      <a:pos x="11373" y="2781"/>
                    </a:cxn>
                    <a:cxn ang="0">
                      <a:pos x="5764" y="2425"/>
                    </a:cxn>
                    <a:cxn ang="0">
                      <a:pos x="5395" y="2033"/>
                    </a:cxn>
                    <a:cxn ang="0">
                      <a:pos x="4825" y="1640"/>
                    </a:cxn>
                    <a:cxn ang="0">
                      <a:pos x="4646" y="1165"/>
                    </a:cxn>
                    <a:cxn ang="0">
                      <a:pos x="4207" y="179"/>
                    </a:cxn>
                    <a:cxn ang="0">
                      <a:pos x="3910" y="416"/>
                    </a:cxn>
                    <a:cxn ang="0">
                      <a:pos x="3886" y="1141"/>
                    </a:cxn>
                    <a:cxn ang="0">
                      <a:pos x="2769" y="1724"/>
                    </a:cxn>
                    <a:cxn ang="0">
                      <a:pos x="1854" y="1735"/>
                    </a:cxn>
                    <a:cxn ang="0">
                      <a:pos x="535" y="1759"/>
                    </a:cxn>
                    <a:cxn ang="0">
                      <a:pos x="154" y="1973"/>
                    </a:cxn>
                    <a:cxn ang="0">
                      <a:pos x="0" y="2448"/>
                    </a:cxn>
                    <a:cxn ang="0">
                      <a:pos x="107" y="2888"/>
                    </a:cxn>
                    <a:cxn ang="0">
                      <a:pos x="59" y="3577"/>
                    </a:cxn>
                    <a:cxn ang="0">
                      <a:pos x="190" y="4397"/>
                    </a:cxn>
                    <a:cxn ang="0">
                      <a:pos x="1402" y="4386"/>
                    </a:cxn>
                    <a:cxn ang="0">
                      <a:pos x="1949" y="4504"/>
                    </a:cxn>
                    <a:cxn ang="0">
                      <a:pos x="1878" y="5027"/>
                    </a:cxn>
                    <a:cxn ang="0">
                      <a:pos x="2068" y="5645"/>
                    </a:cxn>
                    <a:cxn ang="0">
                      <a:pos x="2068" y="6204"/>
                    </a:cxn>
                    <a:cxn ang="0">
                      <a:pos x="1569" y="7297"/>
                    </a:cxn>
                  </a:cxnLst>
                  <a:rect l="0" t="0" r="r" b="b"/>
                  <a:pathLst>
                    <a:path w="13441" h="12680">
                      <a:moveTo>
                        <a:pt x="1141" y="7654"/>
                      </a:moveTo>
                      <a:lnTo>
                        <a:pt x="1153" y="7654"/>
                      </a:lnTo>
                      <a:lnTo>
                        <a:pt x="1236" y="7689"/>
                      </a:lnTo>
                      <a:lnTo>
                        <a:pt x="1343" y="7725"/>
                      </a:lnTo>
                      <a:lnTo>
                        <a:pt x="1438" y="7761"/>
                      </a:lnTo>
                      <a:lnTo>
                        <a:pt x="1462" y="7772"/>
                      </a:lnTo>
                      <a:lnTo>
                        <a:pt x="1497" y="7820"/>
                      </a:lnTo>
                      <a:lnTo>
                        <a:pt x="1497" y="7856"/>
                      </a:lnTo>
                      <a:lnTo>
                        <a:pt x="1545" y="7939"/>
                      </a:lnTo>
                      <a:lnTo>
                        <a:pt x="1557" y="7963"/>
                      </a:lnTo>
                      <a:lnTo>
                        <a:pt x="1557" y="8010"/>
                      </a:lnTo>
                      <a:lnTo>
                        <a:pt x="1497" y="8093"/>
                      </a:lnTo>
                      <a:lnTo>
                        <a:pt x="1462" y="8200"/>
                      </a:lnTo>
                      <a:lnTo>
                        <a:pt x="1497" y="8248"/>
                      </a:lnTo>
                      <a:lnTo>
                        <a:pt x="1497" y="8331"/>
                      </a:lnTo>
                      <a:lnTo>
                        <a:pt x="1580" y="8426"/>
                      </a:lnTo>
                      <a:lnTo>
                        <a:pt x="1592" y="8521"/>
                      </a:lnTo>
                      <a:lnTo>
                        <a:pt x="1640" y="8592"/>
                      </a:lnTo>
                      <a:lnTo>
                        <a:pt x="1652" y="8640"/>
                      </a:lnTo>
                      <a:lnTo>
                        <a:pt x="1711" y="8699"/>
                      </a:lnTo>
                      <a:lnTo>
                        <a:pt x="1723" y="8735"/>
                      </a:lnTo>
                      <a:lnTo>
                        <a:pt x="1747" y="8794"/>
                      </a:lnTo>
                      <a:lnTo>
                        <a:pt x="1747" y="8854"/>
                      </a:lnTo>
                      <a:lnTo>
                        <a:pt x="1735" y="8866"/>
                      </a:lnTo>
                      <a:lnTo>
                        <a:pt x="1747" y="8889"/>
                      </a:lnTo>
                      <a:lnTo>
                        <a:pt x="1759" y="8985"/>
                      </a:lnTo>
                      <a:lnTo>
                        <a:pt x="1771" y="9294"/>
                      </a:lnTo>
                      <a:lnTo>
                        <a:pt x="1414" y="9294"/>
                      </a:lnTo>
                      <a:lnTo>
                        <a:pt x="1450" y="9329"/>
                      </a:lnTo>
                      <a:lnTo>
                        <a:pt x="1438" y="9341"/>
                      </a:lnTo>
                      <a:lnTo>
                        <a:pt x="1485" y="9400"/>
                      </a:lnTo>
                      <a:lnTo>
                        <a:pt x="1509" y="9400"/>
                      </a:lnTo>
                      <a:lnTo>
                        <a:pt x="1569" y="9460"/>
                      </a:lnTo>
                      <a:lnTo>
                        <a:pt x="1569" y="9472"/>
                      </a:lnTo>
                      <a:lnTo>
                        <a:pt x="1628" y="9543"/>
                      </a:lnTo>
                      <a:lnTo>
                        <a:pt x="1640" y="9543"/>
                      </a:lnTo>
                      <a:lnTo>
                        <a:pt x="1782" y="9721"/>
                      </a:lnTo>
                      <a:lnTo>
                        <a:pt x="1794" y="9721"/>
                      </a:lnTo>
                      <a:lnTo>
                        <a:pt x="1818" y="9781"/>
                      </a:lnTo>
                      <a:lnTo>
                        <a:pt x="1901" y="10684"/>
                      </a:lnTo>
                      <a:lnTo>
                        <a:pt x="2080" y="10684"/>
                      </a:lnTo>
                      <a:lnTo>
                        <a:pt x="2531" y="10684"/>
                      </a:lnTo>
                      <a:lnTo>
                        <a:pt x="2579" y="10696"/>
                      </a:lnTo>
                      <a:lnTo>
                        <a:pt x="3838" y="10708"/>
                      </a:lnTo>
                      <a:lnTo>
                        <a:pt x="3874" y="10684"/>
                      </a:lnTo>
                      <a:lnTo>
                        <a:pt x="3910" y="10660"/>
                      </a:lnTo>
                      <a:lnTo>
                        <a:pt x="3957" y="10636"/>
                      </a:lnTo>
                      <a:lnTo>
                        <a:pt x="3993" y="10636"/>
                      </a:lnTo>
                      <a:lnTo>
                        <a:pt x="4005" y="10648"/>
                      </a:lnTo>
                      <a:lnTo>
                        <a:pt x="4040" y="10684"/>
                      </a:lnTo>
                      <a:lnTo>
                        <a:pt x="4040" y="10720"/>
                      </a:lnTo>
                      <a:lnTo>
                        <a:pt x="4017" y="10779"/>
                      </a:lnTo>
                      <a:lnTo>
                        <a:pt x="3969" y="10815"/>
                      </a:lnTo>
                      <a:lnTo>
                        <a:pt x="3957" y="10838"/>
                      </a:lnTo>
                      <a:lnTo>
                        <a:pt x="3969" y="10922"/>
                      </a:lnTo>
                      <a:lnTo>
                        <a:pt x="3910" y="11017"/>
                      </a:lnTo>
                      <a:lnTo>
                        <a:pt x="3886" y="11029"/>
                      </a:lnTo>
                      <a:lnTo>
                        <a:pt x="3874" y="11064"/>
                      </a:lnTo>
                      <a:lnTo>
                        <a:pt x="3862" y="11100"/>
                      </a:lnTo>
                      <a:lnTo>
                        <a:pt x="3886" y="11147"/>
                      </a:lnTo>
                      <a:lnTo>
                        <a:pt x="3886" y="11195"/>
                      </a:lnTo>
                      <a:lnTo>
                        <a:pt x="3838" y="11231"/>
                      </a:lnTo>
                      <a:lnTo>
                        <a:pt x="3874" y="11492"/>
                      </a:lnTo>
                      <a:lnTo>
                        <a:pt x="3945" y="11706"/>
                      </a:lnTo>
                      <a:lnTo>
                        <a:pt x="4076" y="11860"/>
                      </a:lnTo>
                      <a:lnTo>
                        <a:pt x="4183" y="11955"/>
                      </a:lnTo>
                      <a:lnTo>
                        <a:pt x="4219" y="11967"/>
                      </a:lnTo>
                      <a:lnTo>
                        <a:pt x="4231" y="11920"/>
                      </a:lnTo>
                      <a:lnTo>
                        <a:pt x="4254" y="11920"/>
                      </a:lnTo>
                      <a:lnTo>
                        <a:pt x="4302" y="12039"/>
                      </a:lnTo>
                      <a:lnTo>
                        <a:pt x="4326" y="12051"/>
                      </a:lnTo>
                      <a:lnTo>
                        <a:pt x="4349" y="12051"/>
                      </a:lnTo>
                      <a:lnTo>
                        <a:pt x="4409" y="12039"/>
                      </a:lnTo>
                      <a:lnTo>
                        <a:pt x="4516" y="12098"/>
                      </a:lnTo>
                      <a:lnTo>
                        <a:pt x="4563" y="12110"/>
                      </a:lnTo>
                      <a:lnTo>
                        <a:pt x="4587" y="12122"/>
                      </a:lnTo>
                      <a:lnTo>
                        <a:pt x="4587" y="12134"/>
                      </a:lnTo>
                      <a:lnTo>
                        <a:pt x="4611" y="12158"/>
                      </a:lnTo>
                      <a:lnTo>
                        <a:pt x="4658" y="12158"/>
                      </a:lnTo>
                      <a:lnTo>
                        <a:pt x="4706" y="12169"/>
                      </a:lnTo>
                      <a:lnTo>
                        <a:pt x="4706" y="12146"/>
                      </a:lnTo>
                      <a:lnTo>
                        <a:pt x="4706" y="12146"/>
                      </a:lnTo>
                      <a:lnTo>
                        <a:pt x="4718" y="12134"/>
                      </a:lnTo>
                      <a:lnTo>
                        <a:pt x="4730" y="12122"/>
                      </a:lnTo>
                      <a:lnTo>
                        <a:pt x="4730" y="12122"/>
                      </a:lnTo>
                      <a:lnTo>
                        <a:pt x="4742" y="12134"/>
                      </a:lnTo>
                      <a:lnTo>
                        <a:pt x="4742" y="12134"/>
                      </a:lnTo>
                      <a:lnTo>
                        <a:pt x="4753" y="12146"/>
                      </a:lnTo>
                      <a:lnTo>
                        <a:pt x="4742" y="12146"/>
                      </a:lnTo>
                      <a:lnTo>
                        <a:pt x="4753" y="12158"/>
                      </a:lnTo>
                      <a:lnTo>
                        <a:pt x="4753" y="12158"/>
                      </a:lnTo>
                      <a:lnTo>
                        <a:pt x="4753" y="12169"/>
                      </a:lnTo>
                      <a:lnTo>
                        <a:pt x="4753" y="12181"/>
                      </a:lnTo>
                      <a:lnTo>
                        <a:pt x="4765" y="12181"/>
                      </a:lnTo>
                      <a:lnTo>
                        <a:pt x="4765" y="12193"/>
                      </a:lnTo>
                      <a:lnTo>
                        <a:pt x="4753" y="12193"/>
                      </a:lnTo>
                      <a:lnTo>
                        <a:pt x="4765" y="12205"/>
                      </a:lnTo>
                      <a:lnTo>
                        <a:pt x="4765" y="12205"/>
                      </a:lnTo>
                      <a:lnTo>
                        <a:pt x="4753" y="12217"/>
                      </a:lnTo>
                      <a:lnTo>
                        <a:pt x="4765" y="12229"/>
                      </a:lnTo>
                      <a:lnTo>
                        <a:pt x="4765" y="12229"/>
                      </a:lnTo>
                      <a:lnTo>
                        <a:pt x="4765" y="12241"/>
                      </a:lnTo>
                      <a:lnTo>
                        <a:pt x="4765" y="12241"/>
                      </a:lnTo>
                      <a:lnTo>
                        <a:pt x="4777" y="12241"/>
                      </a:lnTo>
                      <a:lnTo>
                        <a:pt x="4777" y="12253"/>
                      </a:lnTo>
                      <a:lnTo>
                        <a:pt x="4777" y="12253"/>
                      </a:lnTo>
                      <a:lnTo>
                        <a:pt x="4789" y="12253"/>
                      </a:lnTo>
                      <a:lnTo>
                        <a:pt x="4777" y="12264"/>
                      </a:lnTo>
                      <a:lnTo>
                        <a:pt x="4789" y="12264"/>
                      </a:lnTo>
                      <a:lnTo>
                        <a:pt x="4789" y="12276"/>
                      </a:lnTo>
                      <a:lnTo>
                        <a:pt x="4801" y="12288"/>
                      </a:lnTo>
                      <a:lnTo>
                        <a:pt x="4801" y="12288"/>
                      </a:lnTo>
                      <a:lnTo>
                        <a:pt x="4789" y="12300"/>
                      </a:lnTo>
                      <a:lnTo>
                        <a:pt x="4801" y="12312"/>
                      </a:lnTo>
                      <a:lnTo>
                        <a:pt x="4789" y="12312"/>
                      </a:lnTo>
                      <a:lnTo>
                        <a:pt x="4789" y="12312"/>
                      </a:lnTo>
                      <a:lnTo>
                        <a:pt x="4789" y="12324"/>
                      </a:lnTo>
                      <a:lnTo>
                        <a:pt x="4789" y="12336"/>
                      </a:lnTo>
                      <a:lnTo>
                        <a:pt x="4777" y="12336"/>
                      </a:lnTo>
                      <a:lnTo>
                        <a:pt x="4777" y="12348"/>
                      </a:lnTo>
                      <a:lnTo>
                        <a:pt x="4789" y="12348"/>
                      </a:lnTo>
                      <a:lnTo>
                        <a:pt x="4801" y="12348"/>
                      </a:lnTo>
                      <a:lnTo>
                        <a:pt x="4801" y="12360"/>
                      </a:lnTo>
                      <a:lnTo>
                        <a:pt x="4801" y="12360"/>
                      </a:lnTo>
                      <a:lnTo>
                        <a:pt x="4813" y="12360"/>
                      </a:lnTo>
                      <a:lnTo>
                        <a:pt x="4825" y="12360"/>
                      </a:lnTo>
                      <a:lnTo>
                        <a:pt x="4825" y="12371"/>
                      </a:lnTo>
                      <a:lnTo>
                        <a:pt x="4872" y="12466"/>
                      </a:lnTo>
                      <a:lnTo>
                        <a:pt x="4920" y="12490"/>
                      </a:lnTo>
                      <a:lnTo>
                        <a:pt x="4967" y="12538"/>
                      </a:lnTo>
                      <a:lnTo>
                        <a:pt x="4991" y="12550"/>
                      </a:lnTo>
                      <a:lnTo>
                        <a:pt x="5003" y="12526"/>
                      </a:lnTo>
                      <a:lnTo>
                        <a:pt x="5015" y="12538"/>
                      </a:lnTo>
                      <a:lnTo>
                        <a:pt x="5027" y="12550"/>
                      </a:lnTo>
                      <a:lnTo>
                        <a:pt x="5122" y="12466"/>
                      </a:lnTo>
                      <a:lnTo>
                        <a:pt x="5169" y="12455"/>
                      </a:lnTo>
                      <a:lnTo>
                        <a:pt x="5205" y="12443"/>
                      </a:lnTo>
                      <a:lnTo>
                        <a:pt x="5288" y="12419"/>
                      </a:lnTo>
                      <a:lnTo>
                        <a:pt x="5360" y="12395"/>
                      </a:lnTo>
                      <a:lnTo>
                        <a:pt x="5395" y="12407"/>
                      </a:lnTo>
                      <a:lnTo>
                        <a:pt x="5466" y="12360"/>
                      </a:lnTo>
                      <a:lnTo>
                        <a:pt x="5490" y="12300"/>
                      </a:lnTo>
                      <a:lnTo>
                        <a:pt x="5526" y="12276"/>
                      </a:lnTo>
                      <a:lnTo>
                        <a:pt x="5562" y="12169"/>
                      </a:lnTo>
                      <a:lnTo>
                        <a:pt x="5633" y="12110"/>
                      </a:lnTo>
                      <a:lnTo>
                        <a:pt x="5657" y="12098"/>
                      </a:lnTo>
                      <a:lnTo>
                        <a:pt x="5692" y="12098"/>
                      </a:lnTo>
                      <a:lnTo>
                        <a:pt x="5704" y="12086"/>
                      </a:lnTo>
                      <a:lnTo>
                        <a:pt x="5704" y="12027"/>
                      </a:lnTo>
                      <a:lnTo>
                        <a:pt x="5740" y="11979"/>
                      </a:lnTo>
                      <a:lnTo>
                        <a:pt x="5740" y="11932"/>
                      </a:lnTo>
                      <a:lnTo>
                        <a:pt x="5775" y="11920"/>
                      </a:lnTo>
                      <a:lnTo>
                        <a:pt x="5799" y="11896"/>
                      </a:lnTo>
                      <a:lnTo>
                        <a:pt x="5811" y="11884"/>
                      </a:lnTo>
                      <a:lnTo>
                        <a:pt x="5847" y="11884"/>
                      </a:lnTo>
                      <a:lnTo>
                        <a:pt x="5871" y="11860"/>
                      </a:lnTo>
                      <a:lnTo>
                        <a:pt x="5894" y="11837"/>
                      </a:lnTo>
                      <a:lnTo>
                        <a:pt x="6049" y="11837"/>
                      </a:lnTo>
                      <a:lnTo>
                        <a:pt x="6073" y="11837"/>
                      </a:lnTo>
                      <a:lnTo>
                        <a:pt x="6096" y="11813"/>
                      </a:lnTo>
                      <a:lnTo>
                        <a:pt x="6132" y="11813"/>
                      </a:lnTo>
                      <a:lnTo>
                        <a:pt x="6180" y="11837"/>
                      </a:lnTo>
                      <a:lnTo>
                        <a:pt x="6203" y="11837"/>
                      </a:lnTo>
                      <a:lnTo>
                        <a:pt x="6251" y="11789"/>
                      </a:lnTo>
                      <a:lnTo>
                        <a:pt x="6286" y="11789"/>
                      </a:lnTo>
                      <a:lnTo>
                        <a:pt x="6334" y="11777"/>
                      </a:lnTo>
                      <a:lnTo>
                        <a:pt x="6358" y="11742"/>
                      </a:lnTo>
                      <a:lnTo>
                        <a:pt x="6477" y="11670"/>
                      </a:lnTo>
                      <a:lnTo>
                        <a:pt x="6524" y="11658"/>
                      </a:lnTo>
                      <a:lnTo>
                        <a:pt x="6643" y="11658"/>
                      </a:lnTo>
                      <a:lnTo>
                        <a:pt x="6714" y="11706"/>
                      </a:lnTo>
                      <a:lnTo>
                        <a:pt x="6762" y="11730"/>
                      </a:lnTo>
                      <a:lnTo>
                        <a:pt x="6821" y="11765"/>
                      </a:lnTo>
                      <a:lnTo>
                        <a:pt x="6857" y="11777"/>
                      </a:lnTo>
                      <a:lnTo>
                        <a:pt x="6916" y="11813"/>
                      </a:lnTo>
                      <a:lnTo>
                        <a:pt x="6964" y="11825"/>
                      </a:lnTo>
                      <a:lnTo>
                        <a:pt x="7011" y="11849"/>
                      </a:lnTo>
                      <a:lnTo>
                        <a:pt x="7071" y="11837"/>
                      </a:lnTo>
                      <a:lnTo>
                        <a:pt x="7142" y="11860"/>
                      </a:lnTo>
                      <a:lnTo>
                        <a:pt x="7178" y="11920"/>
                      </a:lnTo>
                      <a:lnTo>
                        <a:pt x="7225" y="11967"/>
                      </a:lnTo>
                      <a:lnTo>
                        <a:pt x="7308" y="12003"/>
                      </a:lnTo>
                      <a:lnTo>
                        <a:pt x="7344" y="12039"/>
                      </a:lnTo>
                      <a:lnTo>
                        <a:pt x="7427" y="12074"/>
                      </a:lnTo>
                      <a:lnTo>
                        <a:pt x="7510" y="12098"/>
                      </a:lnTo>
                      <a:lnTo>
                        <a:pt x="7546" y="12134"/>
                      </a:lnTo>
                      <a:lnTo>
                        <a:pt x="7653" y="12217"/>
                      </a:lnTo>
                      <a:lnTo>
                        <a:pt x="7724" y="12193"/>
                      </a:lnTo>
                      <a:lnTo>
                        <a:pt x="7784" y="12193"/>
                      </a:lnTo>
                      <a:lnTo>
                        <a:pt x="7891" y="12158"/>
                      </a:lnTo>
                      <a:lnTo>
                        <a:pt x="7962" y="12169"/>
                      </a:lnTo>
                      <a:lnTo>
                        <a:pt x="7998" y="12158"/>
                      </a:lnTo>
                      <a:lnTo>
                        <a:pt x="8057" y="12110"/>
                      </a:lnTo>
                      <a:lnTo>
                        <a:pt x="8093" y="12098"/>
                      </a:lnTo>
                      <a:lnTo>
                        <a:pt x="8128" y="12039"/>
                      </a:lnTo>
                      <a:lnTo>
                        <a:pt x="8164" y="12015"/>
                      </a:lnTo>
                      <a:lnTo>
                        <a:pt x="8247" y="12003"/>
                      </a:lnTo>
                      <a:lnTo>
                        <a:pt x="8283" y="11979"/>
                      </a:lnTo>
                      <a:lnTo>
                        <a:pt x="8402" y="12003"/>
                      </a:lnTo>
                      <a:lnTo>
                        <a:pt x="8437" y="12051"/>
                      </a:lnTo>
                      <a:lnTo>
                        <a:pt x="8497" y="12086"/>
                      </a:lnTo>
                      <a:lnTo>
                        <a:pt x="8509" y="12122"/>
                      </a:lnTo>
                      <a:lnTo>
                        <a:pt x="8521" y="12158"/>
                      </a:lnTo>
                      <a:lnTo>
                        <a:pt x="8533" y="12193"/>
                      </a:lnTo>
                      <a:lnTo>
                        <a:pt x="8592" y="12217"/>
                      </a:lnTo>
                      <a:lnTo>
                        <a:pt x="8639" y="12205"/>
                      </a:lnTo>
                      <a:lnTo>
                        <a:pt x="8758" y="12158"/>
                      </a:lnTo>
                      <a:lnTo>
                        <a:pt x="8853" y="12146"/>
                      </a:lnTo>
                      <a:lnTo>
                        <a:pt x="8877" y="12122"/>
                      </a:lnTo>
                      <a:lnTo>
                        <a:pt x="8901" y="12074"/>
                      </a:lnTo>
                      <a:lnTo>
                        <a:pt x="8937" y="12003"/>
                      </a:lnTo>
                      <a:lnTo>
                        <a:pt x="8996" y="11979"/>
                      </a:lnTo>
                      <a:lnTo>
                        <a:pt x="9044" y="11944"/>
                      </a:lnTo>
                      <a:lnTo>
                        <a:pt x="9103" y="11872"/>
                      </a:lnTo>
                      <a:lnTo>
                        <a:pt x="9139" y="11849"/>
                      </a:lnTo>
                      <a:lnTo>
                        <a:pt x="9174" y="11777"/>
                      </a:lnTo>
                      <a:lnTo>
                        <a:pt x="9210" y="11753"/>
                      </a:lnTo>
                      <a:lnTo>
                        <a:pt x="9246" y="11718"/>
                      </a:lnTo>
                      <a:lnTo>
                        <a:pt x="9281" y="11706"/>
                      </a:lnTo>
                      <a:lnTo>
                        <a:pt x="9317" y="11706"/>
                      </a:lnTo>
                      <a:lnTo>
                        <a:pt x="9341" y="11753"/>
                      </a:lnTo>
                      <a:lnTo>
                        <a:pt x="9352" y="11825"/>
                      </a:lnTo>
                      <a:lnTo>
                        <a:pt x="9341" y="12062"/>
                      </a:lnTo>
                      <a:lnTo>
                        <a:pt x="9317" y="12193"/>
                      </a:lnTo>
                      <a:lnTo>
                        <a:pt x="9281" y="12241"/>
                      </a:lnTo>
                      <a:lnTo>
                        <a:pt x="9186" y="12264"/>
                      </a:lnTo>
                      <a:lnTo>
                        <a:pt x="9150" y="12300"/>
                      </a:lnTo>
                      <a:lnTo>
                        <a:pt x="9103" y="12383"/>
                      </a:lnTo>
                      <a:lnTo>
                        <a:pt x="9091" y="12443"/>
                      </a:lnTo>
                      <a:lnTo>
                        <a:pt x="9115" y="12490"/>
                      </a:lnTo>
                      <a:lnTo>
                        <a:pt x="9174" y="12526"/>
                      </a:lnTo>
                      <a:lnTo>
                        <a:pt x="9257" y="12562"/>
                      </a:lnTo>
                      <a:lnTo>
                        <a:pt x="9305" y="12609"/>
                      </a:lnTo>
                      <a:lnTo>
                        <a:pt x="9352" y="12645"/>
                      </a:lnTo>
                      <a:lnTo>
                        <a:pt x="9424" y="12621"/>
                      </a:lnTo>
                      <a:lnTo>
                        <a:pt x="9459" y="12609"/>
                      </a:lnTo>
                      <a:lnTo>
                        <a:pt x="9555" y="12621"/>
                      </a:lnTo>
                      <a:lnTo>
                        <a:pt x="9650" y="12597"/>
                      </a:lnTo>
                      <a:lnTo>
                        <a:pt x="9828" y="12609"/>
                      </a:lnTo>
                      <a:lnTo>
                        <a:pt x="9935" y="12657"/>
                      </a:lnTo>
                      <a:lnTo>
                        <a:pt x="10018" y="12680"/>
                      </a:lnTo>
                      <a:lnTo>
                        <a:pt x="10054" y="12657"/>
                      </a:lnTo>
                      <a:lnTo>
                        <a:pt x="10042" y="12585"/>
                      </a:lnTo>
                      <a:lnTo>
                        <a:pt x="9982" y="12478"/>
                      </a:lnTo>
                      <a:lnTo>
                        <a:pt x="9947" y="12360"/>
                      </a:lnTo>
                      <a:lnTo>
                        <a:pt x="9923" y="12312"/>
                      </a:lnTo>
                      <a:lnTo>
                        <a:pt x="9887" y="12276"/>
                      </a:lnTo>
                      <a:lnTo>
                        <a:pt x="9863" y="12253"/>
                      </a:lnTo>
                      <a:lnTo>
                        <a:pt x="9840" y="12193"/>
                      </a:lnTo>
                      <a:lnTo>
                        <a:pt x="9840" y="12134"/>
                      </a:lnTo>
                      <a:lnTo>
                        <a:pt x="9852" y="11991"/>
                      </a:lnTo>
                      <a:lnTo>
                        <a:pt x="9899" y="11884"/>
                      </a:lnTo>
                      <a:lnTo>
                        <a:pt x="9899" y="11825"/>
                      </a:lnTo>
                      <a:lnTo>
                        <a:pt x="9899" y="11789"/>
                      </a:lnTo>
                      <a:lnTo>
                        <a:pt x="9899" y="11718"/>
                      </a:lnTo>
                      <a:lnTo>
                        <a:pt x="9935" y="11635"/>
                      </a:lnTo>
                      <a:lnTo>
                        <a:pt x="9994" y="11563"/>
                      </a:lnTo>
                      <a:lnTo>
                        <a:pt x="10042" y="11504"/>
                      </a:lnTo>
                      <a:lnTo>
                        <a:pt x="10101" y="11290"/>
                      </a:lnTo>
                      <a:lnTo>
                        <a:pt x="10184" y="11219"/>
                      </a:lnTo>
                      <a:lnTo>
                        <a:pt x="10196" y="11195"/>
                      </a:lnTo>
                      <a:lnTo>
                        <a:pt x="10232" y="11147"/>
                      </a:lnTo>
                      <a:lnTo>
                        <a:pt x="10291" y="11136"/>
                      </a:lnTo>
                      <a:lnTo>
                        <a:pt x="10363" y="11100"/>
                      </a:lnTo>
                      <a:lnTo>
                        <a:pt x="10398" y="11005"/>
                      </a:lnTo>
                      <a:lnTo>
                        <a:pt x="10422" y="10993"/>
                      </a:lnTo>
                      <a:lnTo>
                        <a:pt x="10422" y="10945"/>
                      </a:lnTo>
                      <a:lnTo>
                        <a:pt x="10434" y="10922"/>
                      </a:lnTo>
                      <a:lnTo>
                        <a:pt x="10493" y="10922"/>
                      </a:lnTo>
                      <a:lnTo>
                        <a:pt x="10517" y="10886"/>
                      </a:lnTo>
                      <a:lnTo>
                        <a:pt x="10553" y="10874"/>
                      </a:lnTo>
                      <a:lnTo>
                        <a:pt x="10565" y="10791"/>
                      </a:lnTo>
                      <a:lnTo>
                        <a:pt x="10565" y="10755"/>
                      </a:lnTo>
                      <a:lnTo>
                        <a:pt x="10541" y="10743"/>
                      </a:lnTo>
                      <a:lnTo>
                        <a:pt x="10529" y="10720"/>
                      </a:lnTo>
                      <a:lnTo>
                        <a:pt x="10505" y="10720"/>
                      </a:lnTo>
                      <a:lnTo>
                        <a:pt x="10493" y="10696"/>
                      </a:lnTo>
                      <a:lnTo>
                        <a:pt x="10481" y="10660"/>
                      </a:lnTo>
                      <a:lnTo>
                        <a:pt x="10481" y="10613"/>
                      </a:lnTo>
                      <a:lnTo>
                        <a:pt x="10493" y="10589"/>
                      </a:lnTo>
                      <a:lnTo>
                        <a:pt x="10588" y="10553"/>
                      </a:lnTo>
                      <a:lnTo>
                        <a:pt x="10636" y="10565"/>
                      </a:lnTo>
                      <a:lnTo>
                        <a:pt x="10636" y="10553"/>
                      </a:lnTo>
                      <a:lnTo>
                        <a:pt x="10636" y="10482"/>
                      </a:lnTo>
                      <a:lnTo>
                        <a:pt x="10683" y="10422"/>
                      </a:lnTo>
                      <a:lnTo>
                        <a:pt x="10731" y="10411"/>
                      </a:lnTo>
                      <a:lnTo>
                        <a:pt x="10767" y="10375"/>
                      </a:lnTo>
                      <a:lnTo>
                        <a:pt x="10838" y="10363"/>
                      </a:lnTo>
                      <a:lnTo>
                        <a:pt x="10909" y="10304"/>
                      </a:lnTo>
                      <a:lnTo>
                        <a:pt x="10921" y="10268"/>
                      </a:lnTo>
                      <a:lnTo>
                        <a:pt x="10933" y="10185"/>
                      </a:lnTo>
                      <a:lnTo>
                        <a:pt x="10981" y="10102"/>
                      </a:lnTo>
                      <a:lnTo>
                        <a:pt x="11004" y="10102"/>
                      </a:lnTo>
                      <a:lnTo>
                        <a:pt x="11123" y="10114"/>
                      </a:lnTo>
                      <a:lnTo>
                        <a:pt x="11171" y="10102"/>
                      </a:lnTo>
                      <a:lnTo>
                        <a:pt x="11254" y="10090"/>
                      </a:lnTo>
                      <a:lnTo>
                        <a:pt x="11301" y="10030"/>
                      </a:lnTo>
                      <a:lnTo>
                        <a:pt x="11373" y="10030"/>
                      </a:lnTo>
                      <a:lnTo>
                        <a:pt x="11397" y="10018"/>
                      </a:lnTo>
                      <a:lnTo>
                        <a:pt x="11432" y="9947"/>
                      </a:lnTo>
                      <a:lnTo>
                        <a:pt x="11480" y="9900"/>
                      </a:lnTo>
                      <a:lnTo>
                        <a:pt x="11527" y="9805"/>
                      </a:lnTo>
                      <a:lnTo>
                        <a:pt x="11539" y="9781"/>
                      </a:lnTo>
                      <a:lnTo>
                        <a:pt x="11515" y="9721"/>
                      </a:lnTo>
                      <a:lnTo>
                        <a:pt x="11527" y="9698"/>
                      </a:lnTo>
                      <a:lnTo>
                        <a:pt x="11527" y="9686"/>
                      </a:lnTo>
                      <a:lnTo>
                        <a:pt x="11563" y="9698"/>
                      </a:lnTo>
                      <a:lnTo>
                        <a:pt x="11575" y="9686"/>
                      </a:lnTo>
                      <a:lnTo>
                        <a:pt x="11634" y="9614"/>
                      </a:lnTo>
                      <a:lnTo>
                        <a:pt x="11622" y="9579"/>
                      </a:lnTo>
                      <a:lnTo>
                        <a:pt x="11658" y="9519"/>
                      </a:lnTo>
                      <a:lnTo>
                        <a:pt x="11646" y="9424"/>
                      </a:lnTo>
                      <a:lnTo>
                        <a:pt x="11670" y="9377"/>
                      </a:lnTo>
                      <a:lnTo>
                        <a:pt x="11682" y="9305"/>
                      </a:lnTo>
                      <a:lnTo>
                        <a:pt x="11741" y="9234"/>
                      </a:lnTo>
                      <a:lnTo>
                        <a:pt x="11789" y="9163"/>
                      </a:lnTo>
                      <a:lnTo>
                        <a:pt x="11955" y="9068"/>
                      </a:lnTo>
                      <a:lnTo>
                        <a:pt x="12003" y="9068"/>
                      </a:lnTo>
                      <a:lnTo>
                        <a:pt x="12062" y="9044"/>
                      </a:lnTo>
                      <a:lnTo>
                        <a:pt x="12110" y="9091"/>
                      </a:lnTo>
                      <a:lnTo>
                        <a:pt x="12133" y="9091"/>
                      </a:lnTo>
                      <a:lnTo>
                        <a:pt x="12228" y="9056"/>
                      </a:lnTo>
                      <a:lnTo>
                        <a:pt x="12335" y="8973"/>
                      </a:lnTo>
                      <a:lnTo>
                        <a:pt x="12371" y="8866"/>
                      </a:lnTo>
                      <a:lnTo>
                        <a:pt x="12407" y="8830"/>
                      </a:lnTo>
                      <a:lnTo>
                        <a:pt x="12430" y="8747"/>
                      </a:lnTo>
                      <a:lnTo>
                        <a:pt x="12502" y="8533"/>
                      </a:lnTo>
                      <a:lnTo>
                        <a:pt x="12514" y="8474"/>
                      </a:lnTo>
                      <a:lnTo>
                        <a:pt x="12490" y="8331"/>
                      </a:lnTo>
                      <a:lnTo>
                        <a:pt x="12502" y="8295"/>
                      </a:lnTo>
                      <a:lnTo>
                        <a:pt x="12502" y="8260"/>
                      </a:lnTo>
                      <a:lnTo>
                        <a:pt x="12514" y="8200"/>
                      </a:lnTo>
                      <a:lnTo>
                        <a:pt x="12561" y="8105"/>
                      </a:lnTo>
                      <a:lnTo>
                        <a:pt x="12585" y="8069"/>
                      </a:lnTo>
                      <a:lnTo>
                        <a:pt x="12597" y="8034"/>
                      </a:lnTo>
                      <a:lnTo>
                        <a:pt x="12668" y="7998"/>
                      </a:lnTo>
                      <a:lnTo>
                        <a:pt x="12680" y="7963"/>
                      </a:lnTo>
                      <a:lnTo>
                        <a:pt x="12668" y="7939"/>
                      </a:lnTo>
                      <a:lnTo>
                        <a:pt x="12668" y="7808"/>
                      </a:lnTo>
                      <a:lnTo>
                        <a:pt x="12692" y="7737"/>
                      </a:lnTo>
                      <a:lnTo>
                        <a:pt x="12668" y="7689"/>
                      </a:lnTo>
                      <a:lnTo>
                        <a:pt x="12680" y="7630"/>
                      </a:lnTo>
                      <a:lnTo>
                        <a:pt x="12656" y="7582"/>
                      </a:lnTo>
                      <a:lnTo>
                        <a:pt x="12656" y="7558"/>
                      </a:lnTo>
                      <a:lnTo>
                        <a:pt x="12739" y="7463"/>
                      </a:lnTo>
                      <a:lnTo>
                        <a:pt x="12775" y="7333"/>
                      </a:lnTo>
                      <a:lnTo>
                        <a:pt x="12775" y="7333"/>
                      </a:lnTo>
                      <a:lnTo>
                        <a:pt x="12858" y="7250"/>
                      </a:lnTo>
                      <a:lnTo>
                        <a:pt x="12894" y="7143"/>
                      </a:lnTo>
                      <a:lnTo>
                        <a:pt x="12941" y="7083"/>
                      </a:lnTo>
                      <a:lnTo>
                        <a:pt x="12941" y="7000"/>
                      </a:lnTo>
                      <a:lnTo>
                        <a:pt x="12918" y="6905"/>
                      </a:lnTo>
                      <a:lnTo>
                        <a:pt x="12918" y="6810"/>
                      </a:lnTo>
                      <a:lnTo>
                        <a:pt x="12930" y="6786"/>
                      </a:lnTo>
                      <a:lnTo>
                        <a:pt x="12965" y="6774"/>
                      </a:lnTo>
                      <a:lnTo>
                        <a:pt x="12977" y="6703"/>
                      </a:lnTo>
                      <a:lnTo>
                        <a:pt x="13013" y="6703"/>
                      </a:lnTo>
                      <a:lnTo>
                        <a:pt x="13025" y="6691"/>
                      </a:lnTo>
                      <a:lnTo>
                        <a:pt x="13036" y="6584"/>
                      </a:lnTo>
                      <a:lnTo>
                        <a:pt x="13036" y="6560"/>
                      </a:lnTo>
                      <a:lnTo>
                        <a:pt x="13025" y="6536"/>
                      </a:lnTo>
                      <a:lnTo>
                        <a:pt x="12977" y="6536"/>
                      </a:lnTo>
                      <a:lnTo>
                        <a:pt x="12953" y="6477"/>
                      </a:lnTo>
                      <a:lnTo>
                        <a:pt x="12918" y="6477"/>
                      </a:lnTo>
                      <a:lnTo>
                        <a:pt x="12906" y="6465"/>
                      </a:lnTo>
                      <a:lnTo>
                        <a:pt x="12894" y="6441"/>
                      </a:lnTo>
                      <a:lnTo>
                        <a:pt x="12906" y="6406"/>
                      </a:lnTo>
                      <a:lnTo>
                        <a:pt x="12882" y="6358"/>
                      </a:lnTo>
                      <a:lnTo>
                        <a:pt x="12846" y="6299"/>
                      </a:lnTo>
                      <a:lnTo>
                        <a:pt x="12823" y="6275"/>
                      </a:lnTo>
                      <a:lnTo>
                        <a:pt x="12823" y="6251"/>
                      </a:lnTo>
                      <a:lnTo>
                        <a:pt x="12823" y="6239"/>
                      </a:lnTo>
                      <a:lnTo>
                        <a:pt x="12858" y="6227"/>
                      </a:lnTo>
                      <a:lnTo>
                        <a:pt x="12858" y="6192"/>
                      </a:lnTo>
                      <a:lnTo>
                        <a:pt x="12858" y="6144"/>
                      </a:lnTo>
                      <a:lnTo>
                        <a:pt x="12882" y="6121"/>
                      </a:lnTo>
                      <a:lnTo>
                        <a:pt x="12894" y="6061"/>
                      </a:lnTo>
                      <a:lnTo>
                        <a:pt x="12930" y="6014"/>
                      </a:lnTo>
                      <a:lnTo>
                        <a:pt x="12930" y="6002"/>
                      </a:lnTo>
                      <a:lnTo>
                        <a:pt x="12906" y="5942"/>
                      </a:lnTo>
                      <a:lnTo>
                        <a:pt x="12918" y="5871"/>
                      </a:lnTo>
                      <a:lnTo>
                        <a:pt x="12918" y="5812"/>
                      </a:lnTo>
                      <a:lnTo>
                        <a:pt x="12894" y="5776"/>
                      </a:lnTo>
                      <a:lnTo>
                        <a:pt x="12870" y="5764"/>
                      </a:lnTo>
                      <a:lnTo>
                        <a:pt x="12870" y="5740"/>
                      </a:lnTo>
                      <a:lnTo>
                        <a:pt x="12882" y="5598"/>
                      </a:lnTo>
                      <a:lnTo>
                        <a:pt x="12882" y="5550"/>
                      </a:lnTo>
                      <a:lnTo>
                        <a:pt x="12882" y="5514"/>
                      </a:lnTo>
                      <a:lnTo>
                        <a:pt x="12918" y="5455"/>
                      </a:lnTo>
                      <a:lnTo>
                        <a:pt x="12918" y="5431"/>
                      </a:lnTo>
                      <a:lnTo>
                        <a:pt x="12930" y="5384"/>
                      </a:lnTo>
                      <a:lnTo>
                        <a:pt x="12918" y="5360"/>
                      </a:lnTo>
                      <a:lnTo>
                        <a:pt x="12870" y="5301"/>
                      </a:lnTo>
                      <a:lnTo>
                        <a:pt x="12834" y="5253"/>
                      </a:lnTo>
                      <a:lnTo>
                        <a:pt x="12894" y="5099"/>
                      </a:lnTo>
                      <a:lnTo>
                        <a:pt x="12906" y="5087"/>
                      </a:lnTo>
                      <a:lnTo>
                        <a:pt x="12906" y="5039"/>
                      </a:lnTo>
                      <a:lnTo>
                        <a:pt x="12846" y="4944"/>
                      </a:lnTo>
                      <a:lnTo>
                        <a:pt x="12811" y="4849"/>
                      </a:lnTo>
                      <a:lnTo>
                        <a:pt x="12811" y="4813"/>
                      </a:lnTo>
                      <a:lnTo>
                        <a:pt x="12846" y="4671"/>
                      </a:lnTo>
                      <a:lnTo>
                        <a:pt x="12882" y="4576"/>
                      </a:lnTo>
                      <a:lnTo>
                        <a:pt x="12906" y="4457"/>
                      </a:lnTo>
                      <a:lnTo>
                        <a:pt x="12953" y="4374"/>
                      </a:lnTo>
                      <a:lnTo>
                        <a:pt x="12941" y="4290"/>
                      </a:lnTo>
                      <a:lnTo>
                        <a:pt x="12941" y="4231"/>
                      </a:lnTo>
                      <a:lnTo>
                        <a:pt x="12965" y="4160"/>
                      </a:lnTo>
                      <a:lnTo>
                        <a:pt x="12965" y="4065"/>
                      </a:lnTo>
                      <a:lnTo>
                        <a:pt x="13001" y="4017"/>
                      </a:lnTo>
                      <a:lnTo>
                        <a:pt x="12989" y="3934"/>
                      </a:lnTo>
                      <a:lnTo>
                        <a:pt x="12989" y="3875"/>
                      </a:lnTo>
                      <a:lnTo>
                        <a:pt x="13025" y="3839"/>
                      </a:lnTo>
                      <a:lnTo>
                        <a:pt x="13096" y="3744"/>
                      </a:lnTo>
                      <a:lnTo>
                        <a:pt x="13120" y="3672"/>
                      </a:lnTo>
                      <a:lnTo>
                        <a:pt x="13132" y="3637"/>
                      </a:lnTo>
                      <a:lnTo>
                        <a:pt x="13179" y="3601"/>
                      </a:lnTo>
                      <a:lnTo>
                        <a:pt x="13191" y="3577"/>
                      </a:lnTo>
                      <a:lnTo>
                        <a:pt x="13215" y="3542"/>
                      </a:lnTo>
                      <a:lnTo>
                        <a:pt x="13227" y="3482"/>
                      </a:lnTo>
                      <a:lnTo>
                        <a:pt x="13238" y="3328"/>
                      </a:lnTo>
                      <a:lnTo>
                        <a:pt x="13262" y="3280"/>
                      </a:lnTo>
                      <a:lnTo>
                        <a:pt x="13322" y="3221"/>
                      </a:lnTo>
                      <a:lnTo>
                        <a:pt x="13345" y="3173"/>
                      </a:lnTo>
                      <a:lnTo>
                        <a:pt x="13393" y="3031"/>
                      </a:lnTo>
                      <a:lnTo>
                        <a:pt x="13429" y="2983"/>
                      </a:lnTo>
                      <a:lnTo>
                        <a:pt x="13441" y="2971"/>
                      </a:lnTo>
                      <a:lnTo>
                        <a:pt x="13429" y="2971"/>
                      </a:lnTo>
                      <a:lnTo>
                        <a:pt x="12502" y="2888"/>
                      </a:lnTo>
                      <a:lnTo>
                        <a:pt x="11373" y="2781"/>
                      </a:lnTo>
                      <a:lnTo>
                        <a:pt x="10636" y="2722"/>
                      </a:lnTo>
                      <a:lnTo>
                        <a:pt x="10077" y="2674"/>
                      </a:lnTo>
                      <a:lnTo>
                        <a:pt x="9352" y="2615"/>
                      </a:lnTo>
                      <a:lnTo>
                        <a:pt x="9198" y="2603"/>
                      </a:lnTo>
                      <a:lnTo>
                        <a:pt x="9115" y="2603"/>
                      </a:lnTo>
                      <a:lnTo>
                        <a:pt x="8663" y="2567"/>
                      </a:lnTo>
                      <a:lnTo>
                        <a:pt x="7831" y="2508"/>
                      </a:lnTo>
                      <a:lnTo>
                        <a:pt x="6928" y="2448"/>
                      </a:lnTo>
                      <a:lnTo>
                        <a:pt x="5859" y="2365"/>
                      </a:lnTo>
                      <a:lnTo>
                        <a:pt x="5775" y="2413"/>
                      </a:lnTo>
                      <a:lnTo>
                        <a:pt x="5764" y="2425"/>
                      </a:lnTo>
                      <a:lnTo>
                        <a:pt x="5740" y="2437"/>
                      </a:lnTo>
                      <a:lnTo>
                        <a:pt x="5716" y="2413"/>
                      </a:lnTo>
                      <a:lnTo>
                        <a:pt x="5680" y="2294"/>
                      </a:lnTo>
                      <a:lnTo>
                        <a:pt x="5645" y="2246"/>
                      </a:lnTo>
                      <a:lnTo>
                        <a:pt x="5585" y="2223"/>
                      </a:lnTo>
                      <a:lnTo>
                        <a:pt x="5502" y="2223"/>
                      </a:lnTo>
                      <a:lnTo>
                        <a:pt x="5455" y="2211"/>
                      </a:lnTo>
                      <a:lnTo>
                        <a:pt x="5419" y="2199"/>
                      </a:lnTo>
                      <a:lnTo>
                        <a:pt x="5395" y="2139"/>
                      </a:lnTo>
                      <a:lnTo>
                        <a:pt x="5419" y="2080"/>
                      </a:lnTo>
                      <a:lnTo>
                        <a:pt x="5395" y="2033"/>
                      </a:lnTo>
                      <a:lnTo>
                        <a:pt x="5360" y="1985"/>
                      </a:lnTo>
                      <a:lnTo>
                        <a:pt x="5312" y="1961"/>
                      </a:lnTo>
                      <a:lnTo>
                        <a:pt x="5253" y="1914"/>
                      </a:lnTo>
                      <a:lnTo>
                        <a:pt x="5229" y="1878"/>
                      </a:lnTo>
                      <a:lnTo>
                        <a:pt x="5193" y="1854"/>
                      </a:lnTo>
                      <a:lnTo>
                        <a:pt x="4991" y="1795"/>
                      </a:lnTo>
                      <a:lnTo>
                        <a:pt x="4944" y="1747"/>
                      </a:lnTo>
                      <a:lnTo>
                        <a:pt x="4944" y="1700"/>
                      </a:lnTo>
                      <a:lnTo>
                        <a:pt x="4932" y="1664"/>
                      </a:lnTo>
                      <a:lnTo>
                        <a:pt x="4860" y="1664"/>
                      </a:lnTo>
                      <a:lnTo>
                        <a:pt x="4825" y="1640"/>
                      </a:lnTo>
                      <a:lnTo>
                        <a:pt x="4777" y="1652"/>
                      </a:lnTo>
                      <a:lnTo>
                        <a:pt x="4742" y="1640"/>
                      </a:lnTo>
                      <a:lnTo>
                        <a:pt x="4718" y="1617"/>
                      </a:lnTo>
                      <a:lnTo>
                        <a:pt x="4706" y="1533"/>
                      </a:lnTo>
                      <a:lnTo>
                        <a:pt x="4694" y="1498"/>
                      </a:lnTo>
                      <a:lnTo>
                        <a:pt x="4694" y="1462"/>
                      </a:lnTo>
                      <a:lnTo>
                        <a:pt x="4682" y="1403"/>
                      </a:lnTo>
                      <a:lnTo>
                        <a:pt x="4670" y="1331"/>
                      </a:lnTo>
                      <a:lnTo>
                        <a:pt x="4635" y="1260"/>
                      </a:lnTo>
                      <a:lnTo>
                        <a:pt x="4646" y="1213"/>
                      </a:lnTo>
                      <a:lnTo>
                        <a:pt x="4646" y="1165"/>
                      </a:lnTo>
                      <a:lnTo>
                        <a:pt x="4670" y="1070"/>
                      </a:lnTo>
                      <a:lnTo>
                        <a:pt x="4670" y="1022"/>
                      </a:lnTo>
                      <a:lnTo>
                        <a:pt x="4611" y="951"/>
                      </a:lnTo>
                      <a:lnTo>
                        <a:pt x="4599" y="904"/>
                      </a:lnTo>
                      <a:lnTo>
                        <a:pt x="4456" y="690"/>
                      </a:lnTo>
                      <a:lnTo>
                        <a:pt x="4444" y="630"/>
                      </a:lnTo>
                      <a:lnTo>
                        <a:pt x="4409" y="535"/>
                      </a:lnTo>
                      <a:lnTo>
                        <a:pt x="4326" y="369"/>
                      </a:lnTo>
                      <a:lnTo>
                        <a:pt x="4314" y="345"/>
                      </a:lnTo>
                      <a:lnTo>
                        <a:pt x="4278" y="238"/>
                      </a:lnTo>
                      <a:lnTo>
                        <a:pt x="4207" y="179"/>
                      </a:lnTo>
                      <a:lnTo>
                        <a:pt x="4147" y="36"/>
                      </a:lnTo>
                      <a:lnTo>
                        <a:pt x="4124" y="24"/>
                      </a:lnTo>
                      <a:lnTo>
                        <a:pt x="4088" y="0"/>
                      </a:lnTo>
                      <a:lnTo>
                        <a:pt x="4088" y="0"/>
                      </a:lnTo>
                      <a:lnTo>
                        <a:pt x="4064" y="24"/>
                      </a:lnTo>
                      <a:lnTo>
                        <a:pt x="4005" y="95"/>
                      </a:lnTo>
                      <a:lnTo>
                        <a:pt x="3981" y="179"/>
                      </a:lnTo>
                      <a:lnTo>
                        <a:pt x="4005" y="286"/>
                      </a:lnTo>
                      <a:lnTo>
                        <a:pt x="3993" y="333"/>
                      </a:lnTo>
                      <a:lnTo>
                        <a:pt x="3933" y="381"/>
                      </a:lnTo>
                      <a:lnTo>
                        <a:pt x="3910" y="416"/>
                      </a:lnTo>
                      <a:lnTo>
                        <a:pt x="3898" y="476"/>
                      </a:lnTo>
                      <a:lnTo>
                        <a:pt x="3874" y="523"/>
                      </a:lnTo>
                      <a:lnTo>
                        <a:pt x="3827" y="559"/>
                      </a:lnTo>
                      <a:lnTo>
                        <a:pt x="3803" y="606"/>
                      </a:lnTo>
                      <a:lnTo>
                        <a:pt x="3803" y="654"/>
                      </a:lnTo>
                      <a:lnTo>
                        <a:pt x="3850" y="713"/>
                      </a:lnTo>
                      <a:lnTo>
                        <a:pt x="3910" y="868"/>
                      </a:lnTo>
                      <a:lnTo>
                        <a:pt x="3898" y="915"/>
                      </a:lnTo>
                      <a:lnTo>
                        <a:pt x="3874" y="963"/>
                      </a:lnTo>
                      <a:lnTo>
                        <a:pt x="3874" y="1082"/>
                      </a:lnTo>
                      <a:lnTo>
                        <a:pt x="3886" y="1141"/>
                      </a:lnTo>
                      <a:lnTo>
                        <a:pt x="3827" y="1201"/>
                      </a:lnTo>
                      <a:lnTo>
                        <a:pt x="3815" y="1272"/>
                      </a:lnTo>
                      <a:lnTo>
                        <a:pt x="3767" y="1355"/>
                      </a:lnTo>
                      <a:lnTo>
                        <a:pt x="3755" y="1403"/>
                      </a:lnTo>
                      <a:lnTo>
                        <a:pt x="3779" y="1522"/>
                      </a:lnTo>
                      <a:lnTo>
                        <a:pt x="3755" y="1593"/>
                      </a:lnTo>
                      <a:lnTo>
                        <a:pt x="3755" y="1628"/>
                      </a:lnTo>
                      <a:lnTo>
                        <a:pt x="3803" y="1652"/>
                      </a:lnTo>
                      <a:lnTo>
                        <a:pt x="3743" y="1712"/>
                      </a:lnTo>
                      <a:lnTo>
                        <a:pt x="3529" y="1700"/>
                      </a:lnTo>
                      <a:lnTo>
                        <a:pt x="2769" y="1724"/>
                      </a:lnTo>
                      <a:lnTo>
                        <a:pt x="2745" y="1712"/>
                      </a:lnTo>
                      <a:lnTo>
                        <a:pt x="2709" y="1724"/>
                      </a:lnTo>
                      <a:lnTo>
                        <a:pt x="2377" y="1724"/>
                      </a:lnTo>
                      <a:lnTo>
                        <a:pt x="2293" y="1724"/>
                      </a:lnTo>
                      <a:lnTo>
                        <a:pt x="2293" y="1724"/>
                      </a:lnTo>
                      <a:lnTo>
                        <a:pt x="2008" y="1735"/>
                      </a:lnTo>
                      <a:lnTo>
                        <a:pt x="1961" y="1724"/>
                      </a:lnTo>
                      <a:lnTo>
                        <a:pt x="1913" y="1735"/>
                      </a:lnTo>
                      <a:lnTo>
                        <a:pt x="1913" y="1747"/>
                      </a:lnTo>
                      <a:lnTo>
                        <a:pt x="1866" y="1735"/>
                      </a:lnTo>
                      <a:lnTo>
                        <a:pt x="1854" y="1735"/>
                      </a:lnTo>
                      <a:lnTo>
                        <a:pt x="1592" y="1735"/>
                      </a:lnTo>
                      <a:lnTo>
                        <a:pt x="1592" y="1747"/>
                      </a:lnTo>
                      <a:lnTo>
                        <a:pt x="1533" y="1735"/>
                      </a:lnTo>
                      <a:lnTo>
                        <a:pt x="1176" y="1747"/>
                      </a:lnTo>
                      <a:lnTo>
                        <a:pt x="1105" y="1735"/>
                      </a:lnTo>
                      <a:lnTo>
                        <a:pt x="1105" y="1747"/>
                      </a:lnTo>
                      <a:lnTo>
                        <a:pt x="879" y="1759"/>
                      </a:lnTo>
                      <a:lnTo>
                        <a:pt x="689" y="1759"/>
                      </a:lnTo>
                      <a:lnTo>
                        <a:pt x="558" y="1747"/>
                      </a:lnTo>
                      <a:lnTo>
                        <a:pt x="558" y="1759"/>
                      </a:lnTo>
                      <a:lnTo>
                        <a:pt x="535" y="1759"/>
                      </a:lnTo>
                      <a:lnTo>
                        <a:pt x="249" y="1759"/>
                      </a:lnTo>
                      <a:lnTo>
                        <a:pt x="202" y="1759"/>
                      </a:lnTo>
                      <a:lnTo>
                        <a:pt x="202" y="1771"/>
                      </a:lnTo>
                      <a:lnTo>
                        <a:pt x="71" y="1771"/>
                      </a:lnTo>
                      <a:lnTo>
                        <a:pt x="36" y="1783"/>
                      </a:lnTo>
                      <a:lnTo>
                        <a:pt x="36" y="1783"/>
                      </a:lnTo>
                      <a:lnTo>
                        <a:pt x="47" y="1795"/>
                      </a:lnTo>
                      <a:lnTo>
                        <a:pt x="95" y="1842"/>
                      </a:lnTo>
                      <a:lnTo>
                        <a:pt x="119" y="1890"/>
                      </a:lnTo>
                      <a:lnTo>
                        <a:pt x="154" y="1914"/>
                      </a:lnTo>
                      <a:lnTo>
                        <a:pt x="154" y="1973"/>
                      </a:lnTo>
                      <a:lnTo>
                        <a:pt x="107" y="2021"/>
                      </a:lnTo>
                      <a:lnTo>
                        <a:pt x="83" y="2080"/>
                      </a:lnTo>
                      <a:lnTo>
                        <a:pt x="59" y="2151"/>
                      </a:lnTo>
                      <a:lnTo>
                        <a:pt x="71" y="2223"/>
                      </a:lnTo>
                      <a:lnTo>
                        <a:pt x="83" y="2258"/>
                      </a:lnTo>
                      <a:lnTo>
                        <a:pt x="83" y="2270"/>
                      </a:lnTo>
                      <a:lnTo>
                        <a:pt x="119" y="2306"/>
                      </a:lnTo>
                      <a:lnTo>
                        <a:pt x="107" y="2341"/>
                      </a:lnTo>
                      <a:lnTo>
                        <a:pt x="24" y="2353"/>
                      </a:lnTo>
                      <a:lnTo>
                        <a:pt x="12" y="2389"/>
                      </a:lnTo>
                      <a:lnTo>
                        <a:pt x="0" y="2448"/>
                      </a:lnTo>
                      <a:lnTo>
                        <a:pt x="0" y="2496"/>
                      </a:lnTo>
                      <a:lnTo>
                        <a:pt x="36" y="2508"/>
                      </a:lnTo>
                      <a:lnTo>
                        <a:pt x="59" y="2520"/>
                      </a:lnTo>
                      <a:lnTo>
                        <a:pt x="71" y="2532"/>
                      </a:lnTo>
                      <a:lnTo>
                        <a:pt x="83" y="2555"/>
                      </a:lnTo>
                      <a:lnTo>
                        <a:pt x="59" y="2603"/>
                      </a:lnTo>
                      <a:lnTo>
                        <a:pt x="59" y="2627"/>
                      </a:lnTo>
                      <a:lnTo>
                        <a:pt x="143" y="2769"/>
                      </a:lnTo>
                      <a:lnTo>
                        <a:pt x="154" y="2805"/>
                      </a:lnTo>
                      <a:lnTo>
                        <a:pt x="143" y="2864"/>
                      </a:lnTo>
                      <a:lnTo>
                        <a:pt x="107" y="2888"/>
                      </a:lnTo>
                      <a:lnTo>
                        <a:pt x="95" y="2912"/>
                      </a:lnTo>
                      <a:lnTo>
                        <a:pt x="107" y="2936"/>
                      </a:lnTo>
                      <a:lnTo>
                        <a:pt x="119" y="2983"/>
                      </a:lnTo>
                      <a:lnTo>
                        <a:pt x="131" y="3055"/>
                      </a:lnTo>
                      <a:lnTo>
                        <a:pt x="131" y="3173"/>
                      </a:lnTo>
                      <a:lnTo>
                        <a:pt x="107" y="3268"/>
                      </a:lnTo>
                      <a:lnTo>
                        <a:pt x="59" y="3340"/>
                      </a:lnTo>
                      <a:lnTo>
                        <a:pt x="47" y="3387"/>
                      </a:lnTo>
                      <a:lnTo>
                        <a:pt x="71" y="3459"/>
                      </a:lnTo>
                      <a:lnTo>
                        <a:pt x="59" y="3554"/>
                      </a:lnTo>
                      <a:lnTo>
                        <a:pt x="59" y="3577"/>
                      </a:lnTo>
                      <a:lnTo>
                        <a:pt x="154" y="3684"/>
                      </a:lnTo>
                      <a:lnTo>
                        <a:pt x="178" y="3732"/>
                      </a:lnTo>
                      <a:lnTo>
                        <a:pt x="190" y="3791"/>
                      </a:lnTo>
                      <a:lnTo>
                        <a:pt x="178" y="3981"/>
                      </a:lnTo>
                      <a:lnTo>
                        <a:pt x="202" y="4088"/>
                      </a:lnTo>
                      <a:lnTo>
                        <a:pt x="143" y="4267"/>
                      </a:lnTo>
                      <a:lnTo>
                        <a:pt x="119" y="4362"/>
                      </a:lnTo>
                      <a:lnTo>
                        <a:pt x="131" y="4386"/>
                      </a:lnTo>
                      <a:lnTo>
                        <a:pt x="131" y="4397"/>
                      </a:lnTo>
                      <a:lnTo>
                        <a:pt x="178" y="4409"/>
                      </a:lnTo>
                      <a:lnTo>
                        <a:pt x="190" y="4397"/>
                      </a:lnTo>
                      <a:lnTo>
                        <a:pt x="261" y="4409"/>
                      </a:lnTo>
                      <a:lnTo>
                        <a:pt x="368" y="4397"/>
                      </a:lnTo>
                      <a:lnTo>
                        <a:pt x="475" y="4409"/>
                      </a:lnTo>
                      <a:lnTo>
                        <a:pt x="511" y="4397"/>
                      </a:lnTo>
                      <a:lnTo>
                        <a:pt x="867" y="4397"/>
                      </a:lnTo>
                      <a:lnTo>
                        <a:pt x="867" y="4386"/>
                      </a:lnTo>
                      <a:lnTo>
                        <a:pt x="915" y="4397"/>
                      </a:lnTo>
                      <a:lnTo>
                        <a:pt x="986" y="4397"/>
                      </a:lnTo>
                      <a:lnTo>
                        <a:pt x="974" y="4386"/>
                      </a:lnTo>
                      <a:lnTo>
                        <a:pt x="1069" y="4397"/>
                      </a:lnTo>
                      <a:lnTo>
                        <a:pt x="1402" y="4386"/>
                      </a:lnTo>
                      <a:lnTo>
                        <a:pt x="1450" y="4457"/>
                      </a:lnTo>
                      <a:lnTo>
                        <a:pt x="1497" y="4492"/>
                      </a:lnTo>
                      <a:lnTo>
                        <a:pt x="1533" y="4492"/>
                      </a:lnTo>
                      <a:lnTo>
                        <a:pt x="1592" y="4445"/>
                      </a:lnTo>
                      <a:lnTo>
                        <a:pt x="1604" y="4445"/>
                      </a:lnTo>
                      <a:lnTo>
                        <a:pt x="1640" y="4492"/>
                      </a:lnTo>
                      <a:lnTo>
                        <a:pt x="1664" y="4504"/>
                      </a:lnTo>
                      <a:lnTo>
                        <a:pt x="1854" y="4481"/>
                      </a:lnTo>
                      <a:lnTo>
                        <a:pt x="1889" y="4481"/>
                      </a:lnTo>
                      <a:lnTo>
                        <a:pt x="1901" y="4492"/>
                      </a:lnTo>
                      <a:lnTo>
                        <a:pt x="1949" y="4504"/>
                      </a:lnTo>
                      <a:lnTo>
                        <a:pt x="1961" y="4540"/>
                      </a:lnTo>
                      <a:lnTo>
                        <a:pt x="1985" y="4576"/>
                      </a:lnTo>
                      <a:lnTo>
                        <a:pt x="1985" y="4623"/>
                      </a:lnTo>
                      <a:lnTo>
                        <a:pt x="1985" y="4671"/>
                      </a:lnTo>
                      <a:lnTo>
                        <a:pt x="2020" y="4766"/>
                      </a:lnTo>
                      <a:lnTo>
                        <a:pt x="2032" y="4849"/>
                      </a:lnTo>
                      <a:lnTo>
                        <a:pt x="2020" y="4885"/>
                      </a:lnTo>
                      <a:lnTo>
                        <a:pt x="1996" y="4908"/>
                      </a:lnTo>
                      <a:lnTo>
                        <a:pt x="1949" y="4932"/>
                      </a:lnTo>
                      <a:lnTo>
                        <a:pt x="1889" y="4980"/>
                      </a:lnTo>
                      <a:lnTo>
                        <a:pt x="1878" y="5027"/>
                      </a:lnTo>
                      <a:lnTo>
                        <a:pt x="1830" y="5051"/>
                      </a:lnTo>
                      <a:lnTo>
                        <a:pt x="1818" y="5063"/>
                      </a:lnTo>
                      <a:lnTo>
                        <a:pt x="1806" y="5217"/>
                      </a:lnTo>
                      <a:lnTo>
                        <a:pt x="1842" y="5324"/>
                      </a:lnTo>
                      <a:lnTo>
                        <a:pt x="1878" y="5419"/>
                      </a:lnTo>
                      <a:lnTo>
                        <a:pt x="1901" y="5431"/>
                      </a:lnTo>
                      <a:lnTo>
                        <a:pt x="1973" y="5467"/>
                      </a:lnTo>
                      <a:lnTo>
                        <a:pt x="1985" y="5503"/>
                      </a:lnTo>
                      <a:lnTo>
                        <a:pt x="2020" y="5621"/>
                      </a:lnTo>
                      <a:lnTo>
                        <a:pt x="2044" y="5633"/>
                      </a:lnTo>
                      <a:lnTo>
                        <a:pt x="2068" y="5645"/>
                      </a:lnTo>
                      <a:lnTo>
                        <a:pt x="2080" y="5669"/>
                      </a:lnTo>
                      <a:lnTo>
                        <a:pt x="2091" y="5740"/>
                      </a:lnTo>
                      <a:lnTo>
                        <a:pt x="2103" y="5812"/>
                      </a:lnTo>
                      <a:lnTo>
                        <a:pt x="2080" y="5871"/>
                      </a:lnTo>
                      <a:lnTo>
                        <a:pt x="2080" y="5883"/>
                      </a:lnTo>
                      <a:lnTo>
                        <a:pt x="2115" y="5919"/>
                      </a:lnTo>
                      <a:lnTo>
                        <a:pt x="2139" y="5966"/>
                      </a:lnTo>
                      <a:lnTo>
                        <a:pt x="2151" y="6025"/>
                      </a:lnTo>
                      <a:lnTo>
                        <a:pt x="2139" y="6109"/>
                      </a:lnTo>
                      <a:lnTo>
                        <a:pt x="2091" y="6204"/>
                      </a:lnTo>
                      <a:lnTo>
                        <a:pt x="2068" y="6204"/>
                      </a:lnTo>
                      <a:lnTo>
                        <a:pt x="2020" y="6251"/>
                      </a:lnTo>
                      <a:lnTo>
                        <a:pt x="1949" y="6358"/>
                      </a:lnTo>
                      <a:lnTo>
                        <a:pt x="1878" y="6584"/>
                      </a:lnTo>
                      <a:lnTo>
                        <a:pt x="1878" y="6739"/>
                      </a:lnTo>
                      <a:lnTo>
                        <a:pt x="1854" y="6774"/>
                      </a:lnTo>
                      <a:lnTo>
                        <a:pt x="1806" y="6810"/>
                      </a:lnTo>
                      <a:lnTo>
                        <a:pt x="1735" y="6881"/>
                      </a:lnTo>
                      <a:lnTo>
                        <a:pt x="1699" y="6952"/>
                      </a:lnTo>
                      <a:lnTo>
                        <a:pt x="1664" y="7071"/>
                      </a:lnTo>
                      <a:lnTo>
                        <a:pt x="1628" y="7190"/>
                      </a:lnTo>
                      <a:lnTo>
                        <a:pt x="1569" y="7297"/>
                      </a:lnTo>
                      <a:lnTo>
                        <a:pt x="1533" y="7345"/>
                      </a:lnTo>
                      <a:lnTo>
                        <a:pt x="1474" y="7380"/>
                      </a:lnTo>
                      <a:lnTo>
                        <a:pt x="1283" y="7499"/>
                      </a:lnTo>
                      <a:lnTo>
                        <a:pt x="1165" y="7618"/>
                      </a:lnTo>
                      <a:lnTo>
                        <a:pt x="1141" y="765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22" name="Freeform 314"/>
                <p:cNvSpPr>
                  <a:spLocks/>
                </p:cNvSpPr>
                <p:nvPr/>
              </p:nvSpPr>
              <p:spPr bwMode="auto">
                <a:xfrm>
                  <a:off x="-1743078" y="8966193"/>
                  <a:ext cx="12941295" cy="13036551"/>
                </a:xfrm>
                <a:custGeom>
                  <a:avLst/>
                  <a:gdLst/>
                  <a:ahLst/>
                  <a:cxnLst>
                    <a:cxn ang="0">
                      <a:pos x="356" y="559"/>
                    </a:cxn>
                    <a:cxn ang="0">
                      <a:pos x="428" y="808"/>
                    </a:cxn>
                    <a:cxn ang="0">
                      <a:pos x="677" y="1236"/>
                    </a:cxn>
                    <a:cxn ang="0">
                      <a:pos x="487" y="2235"/>
                    </a:cxn>
                    <a:cxn ang="0">
                      <a:pos x="142" y="2829"/>
                    </a:cxn>
                    <a:cxn ang="0">
                      <a:pos x="59" y="3031"/>
                    </a:cxn>
                    <a:cxn ang="0">
                      <a:pos x="83" y="3566"/>
                    </a:cxn>
                    <a:cxn ang="0">
                      <a:pos x="71" y="3803"/>
                    </a:cxn>
                    <a:cxn ang="0">
                      <a:pos x="237" y="4267"/>
                    </a:cxn>
                    <a:cxn ang="0">
                      <a:pos x="344" y="4433"/>
                    </a:cxn>
                    <a:cxn ang="0">
                      <a:pos x="368" y="4825"/>
                    </a:cxn>
                    <a:cxn ang="0">
                      <a:pos x="273" y="5229"/>
                    </a:cxn>
                    <a:cxn ang="0">
                      <a:pos x="309" y="5693"/>
                    </a:cxn>
                    <a:cxn ang="0">
                      <a:pos x="499" y="5954"/>
                    </a:cxn>
                    <a:cxn ang="0">
                      <a:pos x="713" y="6014"/>
                    </a:cxn>
                    <a:cxn ang="0">
                      <a:pos x="1164" y="6061"/>
                    </a:cxn>
                    <a:cxn ang="0">
                      <a:pos x="1473" y="6097"/>
                    </a:cxn>
                    <a:cxn ang="0">
                      <a:pos x="1759" y="6061"/>
                    </a:cxn>
                    <a:cxn ang="0">
                      <a:pos x="2270" y="6097"/>
                    </a:cxn>
                    <a:cxn ang="0">
                      <a:pos x="2602" y="6109"/>
                    </a:cxn>
                    <a:cxn ang="0">
                      <a:pos x="2888" y="6632"/>
                    </a:cxn>
                    <a:cxn ang="0">
                      <a:pos x="2971" y="7154"/>
                    </a:cxn>
                    <a:cxn ang="0">
                      <a:pos x="2994" y="7630"/>
                    </a:cxn>
                    <a:cxn ang="0">
                      <a:pos x="3280" y="8153"/>
                    </a:cxn>
                    <a:cxn ang="0">
                      <a:pos x="3707" y="8058"/>
                    </a:cxn>
                    <a:cxn ang="0">
                      <a:pos x="4123" y="7986"/>
                    </a:cxn>
                    <a:cxn ang="0">
                      <a:pos x="4587" y="7820"/>
                    </a:cxn>
                    <a:cxn ang="0">
                      <a:pos x="4884" y="7333"/>
                    </a:cxn>
                    <a:cxn ang="0">
                      <a:pos x="5217" y="6762"/>
                    </a:cxn>
                    <a:cxn ang="0">
                      <a:pos x="5858" y="6323"/>
                    </a:cxn>
                    <a:cxn ang="0">
                      <a:pos x="6548" y="5705"/>
                    </a:cxn>
                    <a:cxn ang="0">
                      <a:pos x="7166" y="4659"/>
                    </a:cxn>
                    <a:cxn ang="0">
                      <a:pos x="7427" y="4100"/>
                    </a:cxn>
                    <a:cxn ang="0">
                      <a:pos x="7843" y="3768"/>
                    </a:cxn>
                    <a:cxn ang="0">
                      <a:pos x="8045" y="3126"/>
                    </a:cxn>
                    <a:cxn ang="0">
                      <a:pos x="8152" y="2769"/>
                    </a:cxn>
                    <a:cxn ang="0">
                      <a:pos x="7879" y="2508"/>
                    </a:cxn>
                    <a:cxn ang="0">
                      <a:pos x="7118" y="2223"/>
                    </a:cxn>
                    <a:cxn ang="0">
                      <a:pos x="6750" y="2009"/>
                    </a:cxn>
                    <a:cxn ang="0">
                      <a:pos x="6227" y="1795"/>
                    </a:cxn>
                    <a:cxn ang="0">
                      <a:pos x="5954" y="1522"/>
                    </a:cxn>
                    <a:cxn ang="0">
                      <a:pos x="5977" y="1343"/>
                    </a:cxn>
                    <a:cxn ang="0">
                      <a:pos x="5680" y="1106"/>
                    </a:cxn>
                    <a:cxn ang="0">
                      <a:pos x="4991" y="951"/>
                    </a:cxn>
                    <a:cxn ang="0">
                      <a:pos x="5003" y="535"/>
                    </a:cxn>
                    <a:cxn ang="0">
                      <a:pos x="4825" y="191"/>
                    </a:cxn>
                    <a:cxn ang="0">
                      <a:pos x="4325" y="547"/>
                    </a:cxn>
                    <a:cxn ang="0">
                      <a:pos x="3933" y="345"/>
                    </a:cxn>
                    <a:cxn ang="0">
                      <a:pos x="3410" y="535"/>
                    </a:cxn>
                    <a:cxn ang="0">
                      <a:pos x="2828" y="202"/>
                    </a:cxn>
                    <a:cxn ang="0">
                      <a:pos x="2329" y="0"/>
                    </a:cxn>
                    <a:cxn ang="0">
                      <a:pos x="1818" y="155"/>
                    </a:cxn>
                    <a:cxn ang="0">
                      <a:pos x="1461" y="262"/>
                    </a:cxn>
                    <a:cxn ang="0">
                      <a:pos x="1212" y="618"/>
                    </a:cxn>
                    <a:cxn ang="0">
                      <a:pos x="713" y="892"/>
                    </a:cxn>
                    <a:cxn ang="0">
                      <a:pos x="499" y="702"/>
                    </a:cxn>
                    <a:cxn ang="0">
                      <a:pos x="475" y="654"/>
                    </a:cxn>
                    <a:cxn ang="0">
                      <a:pos x="475" y="595"/>
                    </a:cxn>
                    <a:cxn ang="0">
                      <a:pos x="451" y="547"/>
                    </a:cxn>
                    <a:cxn ang="0">
                      <a:pos x="428" y="488"/>
                    </a:cxn>
                    <a:cxn ang="0">
                      <a:pos x="392" y="511"/>
                    </a:cxn>
                  </a:cxnLst>
                  <a:rect l="0" t="0" r="r" b="b"/>
                  <a:pathLst>
                    <a:path w="8152" h="8212">
                      <a:moveTo>
                        <a:pt x="344" y="500"/>
                      </a:moveTo>
                      <a:lnTo>
                        <a:pt x="344" y="500"/>
                      </a:lnTo>
                      <a:lnTo>
                        <a:pt x="344" y="511"/>
                      </a:lnTo>
                      <a:lnTo>
                        <a:pt x="356" y="523"/>
                      </a:lnTo>
                      <a:lnTo>
                        <a:pt x="344" y="535"/>
                      </a:lnTo>
                      <a:lnTo>
                        <a:pt x="356" y="535"/>
                      </a:lnTo>
                      <a:lnTo>
                        <a:pt x="344" y="547"/>
                      </a:lnTo>
                      <a:lnTo>
                        <a:pt x="368" y="547"/>
                      </a:lnTo>
                      <a:lnTo>
                        <a:pt x="356" y="559"/>
                      </a:lnTo>
                      <a:lnTo>
                        <a:pt x="356" y="571"/>
                      </a:lnTo>
                      <a:lnTo>
                        <a:pt x="368" y="571"/>
                      </a:lnTo>
                      <a:lnTo>
                        <a:pt x="368" y="571"/>
                      </a:lnTo>
                      <a:lnTo>
                        <a:pt x="368" y="595"/>
                      </a:lnTo>
                      <a:lnTo>
                        <a:pt x="392" y="666"/>
                      </a:lnTo>
                      <a:lnTo>
                        <a:pt x="416" y="702"/>
                      </a:lnTo>
                      <a:lnTo>
                        <a:pt x="428" y="761"/>
                      </a:lnTo>
                      <a:lnTo>
                        <a:pt x="451" y="808"/>
                      </a:lnTo>
                      <a:lnTo>
                        <a:pt x="428" y="808"/>
                      </a:lnTo>
                      <a:lnTo>
                        <a:pt x="416" y="844"/>
                      </a:lnTo>
                      <a:lnTo>
                        <a:pt x="475" y="951"/>
                      </a:lnTo>
                      <a:lnTo>
                        <a:pt x="499" y="1022"/>
                      </a:lnTo>
                      <a:lnTo>
                        <a:pt x="511" y="1011"/>
                      </a:lnTo>
                      <a:lnTo>
                        <a:pt x="535" y="1046"/>
                      </a:lnTo>
                      <a:lnTo>
                        <a:pt x="523" y="1058"/>
                      </a:lnTo>
                      <a:lnTo>
                        <a:pt x="570" y="1117"/>
                      </a:lnTo>
                      <a:lnTo>
                        <a:pt x="594" y="1165"/>
                      </a:lnTo>
                      <a:lnTo>
                        <a:pt x="677" y="1236"/>
                      </a:lnTo>
                      <a:lnTo>
                        <a:pt x="725" y="1272"/>
                      </a:lnTo>
                      <a:lnTo>
                        <a:pt x="725" y="1296"/>
                      </a:lnTo>
                      <a:lnTo>
                        <a:pt x="689" y="1343"/>
                      </a:lnTo>
                      <a:lnTo>
                        <a:pt x="630" y="1355"/>
                      </a:lnTo>
                      <a:lnTo>
                        <a:pt x="606" y="1391"/>
                      </a:lnTo>
                      <a:lnTo>
                        <a:pt x="404" y="2056"/>
                      </a:lnTo>
                      <a:lnTo>
                        <a:pt x="416" y="2092"/>
                      </a:lnTo>
                      <a:lnTo>
                        <a:pt x="451" y="2151"/>
                      </a:lnTo>
                      <a:lnTo>
                        <a:pt x="487" y="2235"/>
                      </a:lnTo>
                      <a:lnTo>
                        <a:pt x="487" y="2246"/>
                      </a:lnTo>
                      <a:lnTo>
                        <a:pt x="487" y="2258"/>
                      </a:lnTo>
                      <a:lnTo>
                        <a:pt x="475" y="2270"/>
                      </a:lnTo>
                      <a:lnTo>
                        <a:pt x="404" y="2282"/>
                      </a:lnTo>
                      <a:lnTo>
                        <a:pt x="368" y="2294"/>
                      </a:lnTo>
                      <a:lnTo>
                        <a:pt x="321" y="2437"/>
                      </a:lnTo>
                      <a:lnTo>
                        <a:pt x="237" y="2591"/>
                      </a:lnTo>
                      <a:lnTo>
                        <a:pt x="178" y="2746"/>
                      </a:lnTo>
                      <a:lnTo>
                        <a:pt x="142" y="2829"/>
                      </a:lnTo>
                      <a:lnTo>
                        <a:pt x="130" y="2864"/>
                      </a:lnTo>
                      <a:lnTo>
                        <a:pt x="107" y="2900"/>
                      </a:lnTo>
                      <a:lnTo>
                        <a:pt x="95" y="2936"/>
                      </a:lnTo>
                      <a:lnTo>
                        <a:pt x="83" y="2959"/>
                      </a:lnTo>
                      <a:lnTo>
                        <a:pt x="71" y="2995"/>
                      </a:lnTo>
                      <a:lnTo>
                        <a:pt x="59" y="2995"/>
                      </a:lnTo>
                      <a:lnTo>
                        <a:pt x="59" y="3019"/>
                      </a:lnTo>
                      <a:lnTo>
                        <a:pt x="59" y="3031"/>
                      </a:lnTo>
                      <a:lnTo>
                        <a:pt x="59" y="3031"/>
                      </a:lnTo>
                      <a:lnTo>
                        <a:pt x="0" y="3138"/>
                      </a:lnTo>
                      <a:lnTo>
                        <a:pt x="35" y="3209"/>
                      </a:lnTo>
                      <a:lnTo>
                        <a:pt x="47" y="3197"/>
                      </a:lnTo>
                      <a:lnTo>
                        <a:pt x="190" y="3316"/>
                      </a:lnTo>
                      <a:lnTo>
                        <a:pt x="273" y="3352"/>
                      </a:lnTo>
                      <a:lnTo>
                        <a:pt x="309" y="3387"/>
                      </a:lnTo>
                      <a:lnTo>
                        <a:pt x="285" y="3447"/>
                      </a:lnTo>
                      <a:lnTo>
                        <a:pt x="202" y="3482"/>
                      </a:lnTo>
                      <a:lnTo>
                        <a:pt x="83" y="3566"/>
                      </a:lnTo>
                      <a:lnTo>
                        <a:pt x="12" y="3601"/>
                      </a:lnTo>
                      <a:lnTo>
                        <a:pt x="0" y="3649"/>
                      </a:lnTo>
                      <a:lnTo>
                        <a:pt x="24" y="3661"/>
                      </a:lnTo>
                      <a:lnTo>
                        <a:pt x="35" y="3684"/>
                      </a:lnTo>
                      <a:lnTo>
                        <a:pt x="0" y="3720"/>
                      </a:lnTo>
                      <a:lnTo>
                        <a:pt x="0" y="3732"/>
                      </a:lnTo>
                      <a:lnTo>
                        <a:pt x="12" y="3756"/>
                      </a:lnTo>
                      <a:lnTo>
                        <a:pt x="47" y="3768"/>
                      </a:lnTo>
                      <a:lnTo>
                        <a:pt x="71" y="3803"/>
                      </a:lnTo>
                      <a:lnTo>
                        <a:pt x="95" y="3886"/>
                      </a:lnTo>
                      <a:lnTo>
                        <a:pt x="166" y="3946"/>
                      </a:lnTo>
                      <a:lnTo>
                        <a:pt x="166" y="3970"/>
                      </a:lnTo>
                      <a:lnTo>
                        <a:pt x="178" y="4029"/>
                      </a:lnTo>
                      <a:lnTo>
                        <a:pt x="202" y="4077"/>
                      </a:lnTo>
                      <a:lnTo>
                        <a:pt x="214" y="4160"/>
                      </a:lnTo>
                      <a:lnTo>
                        <a:pt x="202" y="4243"/>
                      </a:lnTo>
                      <a:lnTo>
                        <a:pt x="214" y="4267"/>
                      </a:lnTo>
                      <a:lnTo>
                        <a:pt x="237" y="4267"/>
                      </a:lnTo>
                      <a:lnTo>
                        <a:pt x="261" y="4243"/>
                      </a:lnTo>
                      <a:lnTo>
                        <a:pt x="273" y="4243"/>
                      </a:lnTo>
                      <a:lnTo>
                        <a:pt x="309" y="4255"/>
                      </a:lnTo>
                      <a:lnTo>
                        <a:pt x="332" y="4302"/>
                      </a:lnTo>
                      <a:lnTo>
                        <a:pt x="321" y="4326"/>
                      </a:lnTo>
                      <a:lnTo>
                        <a:pt x="285" y="4350"/>
                      </a:lnTo>
                      <a:lnTo>
                        <a:pt x="309" y="4386"/>
                      </a:lnTo>
                      <a:lnTo>
                        <a:pt x="332" y="4421"/>
                      </a:lnTo>
                      <a:lnTo>
                        <a:pt x="344" y="4433"/>
                      </a:lnTo>
                      <a:lnTo>
                        <a:pt x="321" y="4469"/>
                      </a:lnTo>
                      <a:lnTo>
                        <a:pt x="297" y="4481"/>
                      </a:lnTo>
                      <a:lnTo>
                        <a:pt x="309" y="4528"/>
                      </a:lnTo>
                      <a:lnTo>
                        <a:pt x="332" y="4540"/>
                      </a:lnTo>
                      <a:lnTo>
                        <a:pt x="380" y="4576"/>
                      </a:lnTo>
                      <a:lnTo>
                        <a:pt x="392" y="4599"/>
                      </a:lnTo>
                      <a:lnTo>
                        <a:pt x="380" y="4730"/>
                      </a:lnTo>
                      <a:lnTo>
                        <a:pt x="368" y="4754"/>
                      </a:lnTo>
                      <a:lnTo>
                        <a:pt x="368" y="4825"/>
                      </a:lnTo>
                      <a:lnTo>
                        <a:pt x="356" y="4908"/>
                      </a:lnTo>
                      <a:lnTo>
                        <a:pt x="309" y="4944"/>
                      </a:lnTo>
                      <a:lnTo>
                        <a:pt x="309" y="4956"/>
                      </a:lnTo>
                      <a:lnTo>
                        <a:pt x="309" y="4980"/>
                      </a:lnTo>
                      <a:lnTo>
                        <a:pt x="356" y="5003"/>
                      </a:lnTo>
                      <a:lnTo>
                        <a:pt x="368" y="5027"/>
                      </a:lnTo>
                      <a:lnTo>
                        <a:pt x="332" y="5087"/>
                      </a:lnTo>
                      <a:lnTo>
                        <a:pt x="285" y="5170"/>
                      </a:lnTo>
                      <a:lnTo>
                        <a:pt x="273" y="5229"/>
                      </a:lnTo>
                      <a:lnTo>
                        <a:pt x="273" y="5265"/>
                      </a:lnTo>
                      <a:lnTo>
                        <a:pt x="309" y="5336"/>
                      </a:lnTo>
                      <a:lnTo>
                        <a:pt x="309" y="5384"/>
                      </a:lnTo>
                      <a:lnTo>
                        <a:pt x="332" y="5431"/>
                      </a:lnTo>
                      <a:lnTo>
                        <a:pt x="321" y="5479"/>
                      </a:lnTo>
                      <a:lnTo>
                        <a:pt x="321" y="5550"/>
                      </a:lnTo>
                      <a:lnTo>
                        <a:pt x="285" y="5645"/>
                      </a:lnTo>
                      <a:lnTo>
                        <a:pt x="285" y="5681"/>
                      </a:lnTo>
                      <a:lnTo>
                        <a:pt x="309" y="5693"/>
                      </a:lnTo>
                      <a:lnTo>
                        <a:pt x="309" y="5717"/>
                      </a:lnTo>
                      <a:lnTo>
                        <a:pt x="261" y="5835"/>
                      </a:lnTo>
                      <a:lnTo>
                        <a:pt x="273" y="5847"/>
                      </a:lnTo>
                      <a:lnTo>
                        <a:pt x="297" y="5835"/>
                      </a:lnTo>
                      <a:lnTo>
                        <a:pt x="309" y="5907"/>
                      </a:lnTo>
                      <a:lnTo>
                        <a:pt x="356" y="5942"/>
                      </a:lnTo>
                      <a:lnTo>
                        <a:pt x="404" y="5930"/>
                      </a:lnTo>
                      <a:lnTo>
                        <a:pt x="439" y="5954"/>
                      </a:lnTo>
                      <a:lnTo>
                        <a:pt x="499" y="5954"/>
                      </a:lnTo>
                      <a:lnTo>
                        <a:pt x="511" y="5954"/>
                      </a:lnTo>
                      <a:lnTo>
                        <a:pt x="523" y="5919"/>
                      </a:lnTo>
                      <a:lnTo>
                        <a:pt x="582" y="5919"/>
                      </a:lnTo>
                      <a:lnTo>
                        <a:pt x="606" y="5930"/>
                      </a:lnTo>
                      <a:lnTo>
                        <a:pt x="641" y="5930"/>
                      </a:lnTo>
                      <a:lnTo>
                        <a:pt x="653" y="5954"/>
                      </a:lnTo>
                      <a:lnTo>
                        <a:pt x="677" y="6002"/>
                      </a:lnTo>
                      <a:lnTo>
                        <a:pt x="689" y="6014"/>
                      </a:lnTo>
                      <a:lnTo>
                        <a:pt x="713" y="6014"/>
                      </a:lnTo>
                      <a:lnTo>
                        <a:pt x="760" y="5990"/>
                      </a:lnTo>
                      <a:lnTo>
                        <a:pt x="808" y="6014"/>
                      </a:lnTo>
                      <a:lnTo>
                        <a:pt x="867" y="6014"/>
                      </a:lnTo>
                      <a:lnTo>
                        <a:pt x="962" y="6073"/>
                      </a:lnTo>
                      <a:lnTo>
                        <a:pt x="1010" y="6061"/>
                      </a:lnTo>
                      <a:lnTo>
                        <a:pt x="1069" y="6073"/>
                      </a:lnTo>
                      <a:lnTo>
                        <a:pt x="1117" y="6037"/>
                      </a:lnTo>
                      <a:lnTo>
                        <a:pt x="1141" y="6037"/>
                      </a:lnTo>
                      <a:lnTo>
                        <a:pt x="1164" y="6061"/>
                      </a:lnTo>
                      <a:lnTo>
                        <a:pt x="1188" y="6061"/>
                      </a:lnTo>
                      <a:lnTo>
                        <a:pt x="1224" y="6085"/>
                      </a:lnTo>
                      <a:lnTo>
                        <a:pt x="1259" y="6085"/>
                      </a:lnTo>
                      <a:lnTo>
                        <a:pt x="1283" y="6061"/>
                      </a:lnTo>
                      <a:lnTo>
                        <a:pt x="1319" y="6073"/>
                      </a:lnTo>
                      <a:lnTo>
                        <a:pt x="1366" y="6049"/>
                      </a:lnTo>
                      <a:lnTo>
                        <a:pt x="1402" y="6073"/>
                      </a:lnTo>
                      <a:lnTo>
                        <a:pt x="1438" y="6073"/>
                      </a:lnTo>
                      <a:lnTo>
                        <a:pt x="1473" y="6097"/>
                      </a:lnTo>
                      <a:lnTo>
                        <a:pt x="1509" y="6132"/>
                      </a:lnTo>
                      <a:lnTo>
                        <a:pt x="1521" y="6132"/>
                      </a:lnTo>
                      <a:lnTo>
                        <a:pt x="1545" y="6109"/>
                      </a:lnTo>
                      <a:lnTo>
                        <a:pt x="1557" y="6073"/>
                      </a:lnTo>
                      <a:lnTo>
                        <a:pt x="1568" y="6061"/>
                      </a:lnTo>
                      <a:lnTo>
                        <a:pt x="1652" y="6073"/>
                      </a:lnTo>
                      <a:lnTo>
                        <a:pt x="1699" y="6037"/>
                      </a:lnTo>
                      <a:lnTo>
                        <a:pt x="1735" y="6061"/>
                      </a:lnTo>
                      <a:lnTo>
                        <a:pt x="1759" y="6061"/>
                      </a:lnTo>
                      <a:lnTo>
                        <a:pt x="1818" y="6002"/>
                      </a:lnTo>
                      <a:lnTo>
                        <a:pt x="1877" y="5883"/>
                      </a:lnTo>
                      <a:lnTo>
                        <a:pt x="1925" y="5871"/>
                      </a:lnTo>
                      <a:lnTo>
                        <a:pt x="1996" y="5883"/>
                      </a:lnTo>
                      <a:lnTo>
                        <a:pt x="2079" y="6002"/>
                      </a:lnTo>
                      <a:lnTo>
                        <a:pt x="2115" y="6025"/>
                      </a:lnTo>
                      <a:lnTo>
                        <a:pt x="2174" y="6037"/>
                      </a:lnTo>
                      <a:lnTo>
                        <a:pt x="2222" y="6085"/>
                      </a:lnTo>
                      <a:lnTo>
                        <a:pt x="2270" y="6097"/>
                      </a:lnTo>
                      <a:lnTo>
                        <a:pt x="2305" y="6085"/>
                      </a:lnTo>
                      <a:lnTo>
                        <a:pt x="2353" y="6109"/>
                      </a:lnTo>
                      <a:lnTo>
                        <a:pt x="2388" y="6085"/>
                      </a:lnTo>
                      <a:lnTo>
                        <a:pt x="2424" y="6097"/>
                      </a:lnTo>
                      <a:lnTo>
                        <a:pt x="2448" y="6085"/>
                      </a:lnTo>
                      <a:lnTo>
                        <a:pt x="2495" y="6097"/>
                      </a:lnTo>
                      <a:lnTo>
                        <a:pt x="2543" y="6073"/>
                      </a:lnTo>
                      <a:lnTo>
                        <a:pt x="2567" y="6085"/>
                      </a:lnTo>
                      <a:lnTo>
                        <a:pt x="2602" y="6109"/>
                      </a:lnTo>
                      <a:lnTo>
                        <a:pt x="2650" y="6156"/>
                      </a:lnTo>
                      <a:lnTo>
                        <a:pt x="2685" y="6216"/>
                      </a:lnTo>
                      <a:lnTo>
                        <a:pt x="2721" y="6299"/>
                      </a:lnTo>
                      <a:lnTo>
                        <a:pt x="2733" y="6370"/>
                      </a:lnTo>
                      <a:lnTo>
                        <a:pt x="2757" y="6441"/>
                      </a:lnTo>
                      <a:lnTo>
                        <a:pt x="2781" y="6477"/>
                      </a:lnTo>
                      <a:lnTo>
                        <a:pt x="2864" y="6548"/>
                      </a:lnTo>
                      <a:lnTo>
                        <a:pt x="2888" y="6572"/>
                      </a:lnTo>
                      <a:lnTo>
                        <a:pt x="2888" y="6632"/>
                      </a:lnTo>
                      <a:lnTo>
                        <a:pt x="2888" y="6667"/>
                      </a:lnTo>
                      <a:lnTo>
                        <a:pt x="2852" y="6739"/>
                      </a:lnTo>
                      <a:lnTo>
                        <a:pt x="2840" y="6798"/>
                      </a:lnTo>
                      <a:lnTo>
                        <a:pt x="2852" y="6845"/>
                      </a:lnTo>
                      <a:lnTo>
                        <a:pt x="2864" y="6988"/>
                      </a:lnTo>
                      <a:lnTo>
                        <a:pt x="2899" y="7047"/>
                      </a:lnTo>
                      <a:lnTo>
                        <a:pt x="2899" y="7095"/>
                      </a:lnTo>
                      <a:lnTo>
                        <a:pt x="2911" y="7107"/>
                      </a:lnTo>
                      <a:lnTo>
                        <a:pt x="2971" y="7154"/>
                      </a:lnTo>
                      <a:lnTo>
                        <a:pt x="2983" y="7178"/>
                      </a:lnTo>
                      <a:lnTo>
                        <a:pt x="2983" y="7226"/>
                      </a:lnTo>
                      <a:lnTo>
                        <a:pt x="2959" y="7333"/>
                      </a:lnTo>
                      <a:lnTo>
                        <a:pt x="2994" y="7368"/>
                      </a:lnTo>
                      <a:lnTo>
                        <a:pt x="3006" y="7392"/>
                      </a:lnTo>
                      <a:lnTo>
                        <a:pt x="2994" y="7463"/>
                      </a:lnTo>
                      <a:lnTo>
                        <a:pt x="2959" y="7535"/>
                      </a:lnTo>
                      <a:lnTo>
                        <a:pt x="2959" y="7570"/>
                      </a:lnTo>
                      <a:lnTo>
                        <a:pt x="2994" y="7630"/>
                      </a:lnTo>
                      <a:lnTo>
                        <a:pt x="2994" y="7689"/>
                      </a:lnTo>
                      <a:lnTo>
                        <a:pt x="3066" y="7772"/>
                      </a:lnTo>
                      <a:lnTo>
                        <a:pt x="3078" y="7844"/>
                      </a:lnTo>
                      <a:lnTo>
                        <a:pt x="3090" y="8046"/>
                      </a:lnTo>
                      <a:lnTo>
                        <a:pt x="3101" y="8093"/>
                      </a:lnTo>
                      <a:lnTo>
                        <a:pt x="3149" y="8117"/>
                      </a:lnTo>
                      <a:lnTo>
                        <a:pt x="3185" y="8129"/>
                      </a:lnTo>
                      <a:lnTo>
                        <a:pt x="3232" y="8117"/>
                      </a:lnTo>
                      <a:lnTo>
                        <a:pt x="3280" y="8153"/>
                      </a:lnTo>
                      <a:lnTo>
                        <a:pt x="3303" y="8165"/>
                      </a:lnTo>
                      <a:lnTo>
                        <a:pt x="3422" y="8129"/>
                      </a:lnTo>
                      <a:lnTo>
                        <a:pt x="3494" y="8129"/>
                      </a:lnTo>
                      <a:lnTo>
                        <a:pt x="3553" y="8141"/>
                      </a:lnTo>
                      <a:lnTo>
                        <a:pt x="3577" y="8141"/>
                      </a:lnTo>
                      <a:lnTo>
                        <a:pt x="3601" y="8129"/>
                      </a:lnTo>
                      <a:lnTo>
                        <a:pt x="3636" y="8093"/>
                      </a:lnTo>
                      <a:lnTo>
                        <a:pt x="3660" y="8069"/>
                      </a:lnTo>
                      <a:lnTo>
                        <a:pt x="3707" y="8058"/>
                      </a:lnTo>
                      <a:lnTo>
                        <a:pt x="3707" y="8034"/>
                      </a:lnTo>
                      <a:lnTo>
                        <a:pt x="3755" y="8010"/>
                      </a:lnTo>
                      <a:lnTo>
                        <a:pt x="3838" y="7986"/>
                      </a:lnTo>
                      <a:lnTo>
                        <a:pt x="3910" y="7974"/>
                      </a:lnTo>
                      <a:lnTo>
                        <a:pt x="3921" y="7963"/>
                      </a:lnTo>
                      <a:lnTo>
                        <a:pt x="3945" y="7927"/>
                      </a:lnTo>
                      <a:lnTo>
                        <a:pt x="4005" y="7927"/>
                      </a:lnTo>
                      <a:lnTo>
                        <a:pt x="4088" y="7986"/>
                      </a:lnTo>
                      <a:lnTo>
                        <a:pt x="4123" y="7986"/>
                      </a:lnTo>
                      <a:lnTo>
                        <a:pt x="4135" y="7986"/>
                      </a:lnTo>
                      <a:lnTo>
                        <a:pt x="4230" y="8069"/>
                      </a:lnTo>
                      <a:lnTo>
                        <a:pt x="4349" y="8212"/>
                      </a:lnTo>
                      <a:lnTo>
                        <a:pt x="4397" y="8200"/>
                      </a:lnTo>
                      <a:lnTo>
                        <a:pt x="4456" y="8117"/>
                      </a:lnTo>
                      <a:lnTo>
                        <a:pt x="4527" y="8034"/>
                      </a:lnTo>
                      <a:lnTo>
                        <a:pt x="4539" y="7986"/>
                      </a:lnTo>
                      <a:lnTo>
                        <a:pt x="4551" y="7891"/>
                      </a:lnTo>
                      <a:lnTo>
                        <a:pt x="4587" y="7820"/>
                      </a:lnTo>
                      <a:lnTo>
                        <a:pt x="4587" y="7725"/>
                      </a:lnTo>
                      <a:lnTo>
                        <a:pt x="4623" y="7654"/>
                      </a:lnTo>
                      <a:lnTo>
                        <a:pt x="4646" y="7582"/>
                      </a:lnTo>
                      <a:lnTo>
                        <a:pt x="4682" y="7523"/>
                      </a:lnTo>
                      <a:lnTo>
                        <a:pt x="4706" y="7487"/>
                      </a:lnTo>
                      <a:lnTo>
                        <a:pt x="4789" y="7380"/>
                      </a:lnTo>
                      <a:lnTo>
                        <a:pt x="4825" y="7356"/>
                      </a:lnTo>
                      <a:lnTo>
                        <a:pt x="4848" y="7345"/>
                      </a:lnTo>
                      <a:lnTo>
                        <a:pt x="4884" y="7333"/>
                      </a:lnTo>
                      <a:lnTo>
                        <a:pt x="4932" y="7297"/>
                      </a:lnTo>
                      <a:lnTo>
                        <a:pt x="4979" y="7250"/>
                      </a:lnTo>
                      <a:lnTo>
                        <a:pt x="5038" y="7143"/>
                      </a:lnTo>
                      <a:lnTo>
                        <a:pt x="5074" y="6964"/>
                      </a:lnTo>
                      <a:lnTo>
                        <a:pt x="5098" y="6929"/>
                      </a:lnTo>
                      <a:lnTo>
                        <a:pt x="5110" y="6857"/>
                      </a:lnTo>
                      <a:lnTo>
                        <a:pt x="5134" y="6834"/>
                      </a:lnTo>
                      <a:lnTo>
                        <a:pt x="5169" y="6810"/>
                      </a:lnTo>
                      <a:lnTo>
                        <a:pt x="5217" y="6762"/>
                      </a:lnTo>
                      <a:lnTo>
                        <a:pt x="5383" y="6679"/>
                      </a:lnTo>
                      <a:lnTo>
                        <a:pt x="5454" y="6655"/>
                      </a:lnTo>
                      <a:lnTo>
                        <a:pt x="5466" y="6643"/>
                      </a:lnTo>
                      <a:lnTo>
                        <a:pt x="5561" y="6608"/>
                      </a:lnTo>
                      <a:lnTo>
                        <a:pt x="5597" y="6584"/>
                      </a:lnTo>
                      <a:lnTo>
                        <a:pt x="5656" y="6489"/>
                      </a:lnTo>
                      <a:lnTo>
                        <a:pt x="5656" y="6465"/>
                      </a:lnTo>
                      <a:lnTo>
                        <a:pt x="5692" y="6430"/>
                      </a:lnTo>
                      <a:lnTo>
                        <a:pt x="5858" y="6323"/>
                      </a:lnTo>
                      <a:lnTo>
                        <a:pt x="5942" y="6299"/>
                      </a:lnTo>
                      <a:lnTo>
                        <a:pt x="6049" y="6204"/>
                      </a:lnTo>
                      <a:lnTo>
                        <a:pt x="6144" y="6132"/>
                      </a:lnTo>
                      <a:lnTo>
                        <a:pt x="6239" y="6085"/>
                      </a:lnTo>
                      <a:lnTo>
                        <a:pt x="6322" y="6037"/>
                      </a:lnTo>
                      <a:lnTo>
                        <a:pt x="6381" y="5966"/>
                      </a:lnTo>
                      <a:lnTo>
                        <a:pt x="6453" y="5930"/>
                      </a:lnTo>
                      <a:lnTo>
                        <a:pt x="6500" y="5859"/>
                      </a:lnTo>
                      <a:lnTo>
                        <a:pt x="6548" y="5705"/>
                      </a:lnTo>
                      <a:lnTo>
                        <a:pt x="6702" y="5526"/>
                      </a:lnTo>
                      <a:lnTo>
                        <a:pt x="6821" y="5443"/>
                      </a:lnTo>
                      <a:lnTo>
                        <a:pt x="6785" y="5229"/>
                      </a:lnTo>
                      <a:lnTo>
                        <a:pt x="6797" y="5194"/>
                      </a:lnTo>
                      <a:lnTo>
                        <a:pt x="6880" y="5194"/>
                      </a:lnTo>
                      <a:lnTo>
                        <a:pt x="6940" y="5170"/>
                      </a:lnTo>
                      <a:lnTo>
                        <a:pt x="7059" y="4992"/>
                      </a:lnTo>
                      <a:lnTo>
                        <a:pt x="7071" y="4766"/>
                      </a:lnTo>
                      <a:lnTo>
                        <a:pt x="7166" y="4659"/>
                      </a:lnTo>
                      <a:lnTo>
                        <a:pt x="7201" y="4576"/>
                      </a:lnTo>
                      <a:lnTo>
                        <a:pt x="7273" y="4540"/>
                      </a:lnTo>
                      <a:lnTo>
                        <a:pt x="7296" y="4516"/>
                      </a:lnTo>
                      <a:lnTo>
                        <a:pt x="7308" y="4469"/>
                      </a:lnTo>
                      <a:lnTo>
                        <a:pt x="7320" y="4314"/>
                      </a:lnTo>
                      <a:lnTo>
                        <a:pt x="7320" y="4243"/>
                      </a:lnTo>
                      <a:lnTo>
                        <a:pt x="7332" y="4207"/>
                      </a:lnTo>
                      <a:lnTo>
                        <a:pt x="7344" y="4183"/>
                      </a:lnTo>
                      <a:lnTo>
                        <a:pt x="7427" y="4100"/>
                      </a:lnTo>
                      <a:lnTo>
                        <a:pt x="7439" y="4088"/>
                      </a:lnTo>
                      <a:lnTo>
                        <a:pt x="7463" y="4077"/>
                      </a:lnTo>
                      <a:lnTo>
                        <a:pt x="7487" y="4005"/>
                      </a:lnTo>
                      <a:lnTo>
                        <a:pt x="7570" y="3970"/>
                      </a:lnTo>
                      <a:lnTo>
                        <a:pt x="7605" y="3898"/>
                      </a:lnTo>
                      <a:lnTo>
                        <a:pt x="7689" y="3803"/>
                      </a:lnTo>
                      <a:lnTo>
                        <a:pt x="7700" y="3791"/>
                      </a:lnTo>
                      <a:lnTo>
                        <a:pt x="7760" y="3779"/>
                      </a:lnTo>
                      <a:lnTo>
                        <a:pt x="7843" y="3768"/>
                      </a:lnTo>
                      <a:lnTo>
                        <a:pt x="7914" y="3732"/>
                      </a:lnTo>
                      <a:lnTo>
                        <a:pt x="7962" y="3672"/>
                      </a:lnTo>
                      <a:lnTo>
                        <a:pt x="7998" y="3601"/>
                      </a:lnTo>
                      <a:lnTo>
                        <a:pt x="8033" y="3518"/>
                      </a:lnTo>
                      <a:lnTo>
                        <a:pt x="8033" y="3506"/>
                      </a:lnTo>
                      <a:lnTo>
                        <a:pt x="8057" y="3364"/>
                      </a:lnTo>
                      <a:lnTo>
                        <a:pt x="8057" y="3221"/>
                      </a:lnTo>
                      <a:lnTo>
                        <a:pt x="8057" y="3197"/>
                      </a:lnTo>
                      <a:lnTo>
                        <a:pt x="8045" y="3126"/>
                      </a:lnTo>
                      <a:lnTo>
                        <a:pt x="8021" y="3090"/>
                      </a:lnTo>
                      <a:lnTo>
                        <a:pt x="8033" y="3031"/>
                      </a:lnTo>
                      <a:lnTo>
                        <a:pt x="8057" y="2983"/>
                      </a:lnTo>
                      <a:lnTo>
                        <a:pt x="8105" y="2912"/>
                      </a:lnTo>
                      <a:lnTo>
                        <a:pt x="8152" y="2888"/>
                      </a:lnTo>
                      <a:lnTo>
                        <a:pt x="8152" y="2876"/>
                      </a:lnTo>
                      <a:lnTo>
                        <a:pt x="8152" y="2841"/>
                      </a:lnTo>
                      <a:lnTo>
                        <a:pt x="8140" y="2805"/>
                      </a:lnTo>
                      <a:lnTo>
                        <a:pt x="8152" y="2769"/>
                      </a:lnTo>
                      <a:lnTo>
                        <a:pt x="8152" y="2769"/>
                      </a:lnTo>
                      <a:lnTo>
                        <a:pt x="8152" y="2757"/>
                      </a:lnTo>
                      <a:lnTo>
                        <a:pt x="8140" y="2757"/>
                      </a:lnTo>
                      <a:lnTo>
                        <a:pt x="8140" y="2734"/>
                      </a:lnTo>
                      <a:lnTo>
                        <a:pt x="8105" y="2710"/>
                      </a:lnTo>
                      <a:lnTo>
                        <a:pt x="8057" y="2674"/>
                      </a:lnTo>
                      <a:lnTo>
                        <a:pt x="8021" y="2603"/>
                      </a:lnTo>
                      <a:lnTo>
                        <a:pt x="7998" y="2567"/>
                      </a:lnTo>
                      <a:lnTo>
                        <a:pt x="7879" y="2508"/>
                      </a:lnTo>
                      <a:lnTo>
                        <a:pt x="7784" y="2508"/>
                      </a:lnTo>
                      <a:lnTo>
                        <a:pt x="7736" y="2460"/>
                      </a:lnTo>
                      <a:lnTo>
                        <a:pt x="7689" y="2448"/>
                      </a:lnTo>
                      <a:lnTo>
                        <a:pt x="7629" y="2401"/>
                      </a:lnTo>
                      <a:lnTo>
                        <a:pt x="7487" y="2365"/>
                      </a:lnTo>
                      <a:lnTo>
                        <a:pt x="7451" y="2342"/>
                      </a:lnTo>
                      <a:lnTo>
                        <a:pt x="7308" y="2330"/>
                      </a:lnTo>
                      <a:lnTo>
                        <a:pt x="7201" y="2258"/>
                      </a:lnTo>
                      <a:lnTo>
                        <a:pt x="7118" y="2223"/>
                      </a:lnTo>
                      <a:lnTo>
                        <a:pt x="7083" y="2163"/>
                      </a:lnTo>
                      <a:lnTo>
                        <a:pt x="7059" y="2151"/>
                      </a:lnTo>
                      <a:lnTo>
                        <a:pt x="7047" y="2139"/>
                      </a:lnTo>
                      <a:lnTo>
                        <a:pt x="6964" y="2139"/>
                      </a:lnTo>
                      <a:lnTo>
                        <a:pt x="6916" y="2116"/>
                      </a:lnTo>
                      <a:lnTo>
                        <a:pt x="6857" y="2116"/>
                      </a:lnTo>
                      <a:lnTo>
                        <a:pt x="6809" y="2068"/>
                      </a:lnTo>
                      <a:lnTo>
                        <a:pt x="6797" y="2044"/>
                      </a:lnTo>
                      <a:lnTo>
                        <a:pt x="6750" y="2009"/>
                      </a:lnTo>
                      <a:lnTo>
                        <a:pt x="6714" y="1985"/>
                      </a:lnTo>
                      <a:lnTo>
                        <a:pt x="6583" y="1961"/>
                      </a:lnTo>
                      <a:lnTo>
                        <a:pt x="6524" y="1937"/>
                      </a:lnTo>
                      <a:lnTo>
                        <a:pt x="6488" y="1890"/>
                      </a:lnTo>
                      <a:lnTo>
                        <a:pt x="6465" y="1819"/>
                      </a:lnTo>
                      <a:lnTo>
                        <a:pt x="6417" y="1783"/>
                      </a:lnTo>
                      <a:lnTo>
                        <a:pt x="6286" y="1759"/>
                      </a:lnTo>
                      <a:lnTo>
                        <a:pt x="6251" y="1795"/>
                      </a:lnTo>
                      <a:lnTo>
                        <a:pt x="6227" y="1795"/>
                      </a:lnTo>
                      <a:lnTo>
                        <a:pt x="6203" y="1771"/>
                      </a:lnTo>
                      <a:lnTo>
                        <a:pt x="6060" y="1783"/>
                      </a:lnTo>
                      <a:lnTo>
                        <a:pt x="5942" y="1735"/>
                      </a:lnTo>
                      <a:lnTo>
                        <a:pt x="5918" y="1700"/>
                      </a:lnTo>
                      <a:lnTo>
                        <a:pt x="5882" y="1652"/>
                      </a:lnTo>
                      <a:lnTo>
                        <a:pt x="5882" y="1628"/>
                      </a:lnTo>
                      <a:lnTo>
                        <a:pt x="5882" y="1569"/>
                      </a:lnTo>
                      <a:lnTo>
                        <a:pt x="5918" y="1533"/>
                      </a:lnTo>
                      <a:lnTo>
                        <a:pt x="5954" y="1522"/>
                      </a:lnTo>
                      <a:lnTo>
                        <a:pt x="5954" y="1510"/>
                      </a:lnTo>
                      <a:lnTo>
                        <a:pt x="6037" y="1498"/>
                      </a:lnTo>
                      <a:lnTo>
                        <a:pt x="6060" y="1474"/>
                      </a:lnTo>
                      <a:lnTo>
                        <a:pt x="6084" y="1426"/>
                      </a:lnTo>
                      <a:lnTo>
                        <a:pt x="6084" y="1391"/>
                      </a:lnTo>
                      <a:lnTo>
                        <a:pt x="6072" y="1367"/>
                      </a:lnTo>
                      <a:lnTo>
                        <a:pt x="6049" y="1343"/>
                      </a:lnTo>
                      <a:lnTo>
                        <a:pt x="6037" y="1343"/>
                      </a:lnTo>
                      <a:lnTo>
                        <a:pt x="5977" y="1343"/>
                      </a:lnTo>
                      <a:lnTo>
                        <a:pt x="5906" y="1308"/>
                      </a:lnTo>
                      <a:lnTo>
                        <a:pt x="5799" y="1367"/>
                      </a:lnTo>
                      <a:lnTo>
                        <a:pt x="5763" y="1379"/>
                      </a:lnTo>
                      <a:lnTo>
                        <a:pt x="5752" y="1367"/>
                      </a:lnTo>
                      <a:lnTo>
                        <a:pt x="5728" y="1343"/>
                      </a:lnTo>
                      <a:lnTo>
                        <a:pt x="5704" y="1308"/>
                      </a:lnTo>
                      <a:lnTo>
                        <a:pt x="5704" y="1272"/>
                      </a:lnTo>
                      <a:lnTo>
                        <a:pt x="5716" y="1177"/>
                      </a:lnTo>
                      <a:lnTo>
                        <a:pt x="5680" y="1106"/>
                      </a:lnTo>
                      <a:lnTo>
                        <a:pt x="5704" y="1022"/>
                      </a:lnTo>
                      <a:lnTo>
                        <a:pt x="5621" y="999"/>
                      </a:lnTo>
                      <a:lnTo>
                        <a:pt x="5514" y="951"/>
                      </a:lnTo>
                      <a:lnTo>
                        <a:pt x="5336" y="939"/>
                      </a:lnTo>
                      <a:lnTo>
                        <a:pt x="5241" y="963"/>
                      </a:lnTo>
                      <a:lnTo>
                        <a:pt x="5145" y="951"/>
                      </a:lnTo>
                      <a:lnTo>
                        <a:pt x="5110" y="963"/>
                      </a:lnTo>
                      <a:lnTo>
                        <a:pt x="5038" y="987"/>
                      </a:lnTo>
                      <a:lnTo>
                        <a:pt x="4991" y="951"/>
                      </a:lnTo>
                      <a:lnTo>
                        <a:pt x="4943" y="904"/>
                      </a:lnTo>
                      <a:lnTo>
                        <a:pt x="4860" y="868"/>
                      </a:lnTo>
                      <a:lnTo>
                        <a:pt x="4801" y="832"/>
                      </a:lnTo>
                      <a:lnTo>
                        <a:pt x="4777" y="785"/>
                      </a:lnTo>
                      <a:lnTo>
                        <a:pt x="4789" y="725"/>
                      </a:lnTo>
                      <a:lnTo>
                        <a:pt x="4836" y="642"/>
                      </a:lnTo>
                      <a:lnTo>
                        <a:pt x="4872" y="606"/>
                      </a:lnTo>
                      <a:lnTo>
                        <a:pt x="4967" y="583"/>
                      </a:lnTo>
                      <a:lnTo>
                        <a:pt x="5003" y="535"/>
                      </a:lnTo>
                      <a:lnTo>
                        <a:pt x="5027" y="404"/>
                      </a:lnTo>
                      <a:lnTo>
                        <a:pt x="5038" y="167"/>
                      </a:lnTo>
                      <a:lnTo>
                        <a:pt x="5027" y="95"/>
                      </a:lnTo>
                      <a:lnTo>
                        <a:pt x="5003" y="48"/>
                      </a:lnTo>
                      <a:lnTo>
                        <a:pt x="4967" y="48"/>
                      </a:lnTo>
                      <a:lnTo>
                        <a:pt x="4932" y="60"/>
                      </a:lnTo>
                      <a:lnTo>
                        <a:pt x="4896" y="95"/>
                      </a:lnTo>
                      <a:lnTo>
                        <a:pt x="4860" y="119"/>
                      </a:lnTo>
                      <a:lnTo>
                        <a:pt x="4825" y="191"/>
                      </a:lnTo>
                      <a:lnTo>
                        <a:pt x="4789" y="214"/>
                      </a:lnTo>
                      <a:lnTo>
                        <a:pt x="4730" y="286"/>
                      </a:lnTo>
                      <a:lnTo>
                        <a:pt x="4682" y="321"/>
                      </a:lnTo>
                      <a:lnTo>
                        <a:pt x="4623" y="345"/>
                      </a:lnTo>
                      <a:lnTo>
                        <a:pt x="4587" y="416"/>
                      </a:lnTo>
                      <a:lnTo>
                        <a:pt x="4563" y="464"/>
                      </a:lnTo>
                      <a:lnTo>
                        <a:pt x="4539" y="488"/>
                      </a:lnTo>
                      <a:lnTo>
                        <a:pt x="4444" y="500"/>
                      </a:lnTo>
                      <a:lnTo>
                        <a:pt x="4325" y="547"/>
                      </a:lnTo>
                      <a:lnTo>
                        <a:pt x="4278" y="559"/>
                      </a:lnTo>
                      <a:lnTo>
                        <a:pt x="4219" y="535"/>
                      </a:lnTo>
                      <a:lnTo>
                        <a:pt x="4207" y="500"/>
                      </a:lnTo>
                      <a:lnTo>
                        <a:pt x="4195" y="464"/>
                      </a:lnTo>
                      <a:lnTo>
                        <a:pt x="4183" y="428"/>
                      </a:lnTo>
                      <a:lnTo>
                        <a:pt x="4123" y="393"/>
                      </a:lnTo>
                      <a:lnTo>
                        <a:pt x="4088" y="345"/>
                      </a:lnTo>
                      <a:lnTo>
                        <a:pt x="3969" y="321"/>
                      </a:lnTo>
                      <a:lnTo>
                        <a:pt x="3933" y="345"/>
                      </a:lnTo>
                      <a:lnTo>
                        <a:pt x="3850" y="357"/>
                      </a:lnTo>
                      <a:lnTo>
                        <a:pt x="3814" y="381"/>
                      </a:lnTo>
                      <a:lnTo>
                        <a:pt x="3779" y="440"/>
                      </a:lnTo>
                      <a:lnTo>
                        <a:pt x="3743" y="452"/>
                      </a:lnTo>
                      <a:lnTo>
                        <a:pt x="3684" y="500"/>
                      </a:lnTo>
                      <a:lnTo>
                        <a:pt x="3648" y="511"/>
                      </a:lnTo>
                      <a:lnTo>
                        <a:pt x="3577" y="500"/>
                      </a:lnTo>
                      <a:lnTo>
                        <a:pt x="3470" y="535"/>
                      </a:lnTo>
                      <a:lnTo>
                        <a:pt x="3410" y="535"/>
                      </a:lnTo>
                      <a:lnTo>
                        <a:pt x="3339" y="559"/>
                      </a:lnTo>
                      <a:lnTo>
                        <a:pt x="3232" y="476"/>
                      </a:lnTo>
                      <a:lnTo>
                        <a:pt x="3196" y="440"/>
                      </a:lnTo>
                      <a:lnTo>
                        <a:pt x="3113" y="416"/>
                      </a:lnTo>
                      <a:lnTo>
                        <a:pt x="3030" y="381"/>
                      </a:lnTo>
                      <a:lnTo>
                        <a:pt x="2994" y="345"/>
                      </a:lnTo>
                      <a:lnTo>
                        <a:pt x="2911" y="309"/>
                      </a:lnTo>
                      <a:lnTo>
                        <a:pt x="2864" y="262"/>
                      </a:lnTo>
                      <a:lnTo>
                        <a:pt x="2828" y="202"/>
                      </a:lnTo>
                      <a:lnTo>
                        <a:pt x="2757" y="179"/>
                      </a:lnTo>
                      <a:lnTo>
                        <a:pt x="2697" y="191"/>
                      </a:lnTo>
                      <a:lnTo>
                        <a:pt x="2650" y="167"/>
                      </a:lnTo>
                      <a:lnTo>
                        <a:pt x="2602" y="155"/>
                      </a:lnTo>
                      <a:lnTo>
                        <a:pt x="2543" y="119"/>
                      </a:lnTo>
                      <a:lnTo>
                        <a:pt x="2507" y="107"/>
                      </a:lnTo>
                      <a:lnTo>
                        <a:pt x="2448" y="72"/>
                      </a:lnTo>
                      <a:lnTo>
                        <a:pt x="2400" y="48"/>
                      </a:lnTo>
                      <a:lnTo>
                        <a:pt x="2329" y="0"/>
                      </a:lnTo>
                      <a:lnTo>
                        <a:pt x="2210" y="0"/>
                      </a:lnTo>
                      <a:lnTo>
                        <a:pt x="2163" y="12"/>
                      </a:lnTo>
                      <a:lnTo>
                        <a:pt x="2044" y="84"/>
                      </a:lnTo>
                      <a:lnTo>
                        <a:pt x="2020" y="119"/>
                      </a:lnTo>
                      <a:lnTo>
                        <a:pt x="1972" y="131"/>
                      </a:lnTo>
                      <a:lnTo>
                        <a:pt x="1937" y="131"/>
                      </a:lnTo>
                      <a:lnTo>
                        <a:pt x="1889" y="179"/>
                      </a:lnTo>
                      <a:lnTo>
                        <a:pt x="1866" y="179"/>
                      </a:lnTo>
                      <a:lnTo>
                        <a:pt x="1818" y="155"/>
                      </a:lnTo>
                      <a:lnTo>
                        <a:pt x="1782" y="155"/>
                      </a:lnTo>
                      <a:lnTo>
                        <a:pt x="1759" y="179"/>
                      </a:lnTo>
                      <a:lnTo>
                        <a:pt x="1735" y="179"/>
                      </a:lnTo>
                      <a:lnTo>
                        <a:pt x="1580" y="179"/>
                      </a:lnTo>
                      <a:lnTo>
                        <a:pt x="1557" y="202"/>
                      </a:lnTo>
                      <a:lnTo>
                        <a:pt x="1533" y="226"/>
                      </a:lnTo>
                      <a:lnTo>
                        <a:pt x="1497" y="226"/>
                      </a:lnTo>
                      <a:lnTo>
                        <a:pt x="1485" y="238"/>
                      </a:lnTo>
                      <a:lnTo>
                        <a:pt x="1461" y="262"/>
                      </a:lnTo>
                      <a:lnTo>
                        <a:pt x="1426" y="274"/>
                      </a:lnTo>
                      <a:lnTo>
                        <a:pt x="1426" y="321"/>
                      </a:lnTo>
                      <a:lnTo>
                        <a:pt x="1390" y="369"/>
                      </a:lnTo>
                      <a:lnTo>
                        <a:pt x="1390" y="428"/>
                      </a:lnTo>
                      <a:lnTo>
                        <a:pt x="1378" y="440"/>
                      </a:lnTo>
                      <a:lnTo>
                        <a:pt x="1343" y="440"/>
                      </a:lnTo>
                      <a:lnTo>
                        <a:pt x="1319" y="452"/>
                      </a:lnTo>
                      <a:lnTo>
                        <a:pt x="1248" y="511"/>
                      </a:lnTo>
                      <a:lnTo>
                        <a:pt x="1212" y="618"/>
                      </a:lnTo>
                      <a:lnTo>
                        <a:pt x="1176" y="642"/>
                      </a:lnTo>
                      <a:lnTo>
                        <a:pt x="1152" y="702"/>
                      </a:lnTo>
                      <a:lnTo>
                        <a:pt x="1081" y="749"/>
                      </a:lnTo>
                      <a:lnTo>
                        <a:pt x="1046" y="737"/>
                      </a:lnTo>
                      <a:lnTo>
                        <a:pt x="974" y="761"/>
                      </a:lnTo>
                      <a:lnTo>
                        <a:pt x="891" y="785"/>
                      </a:lnTo>
                      <a:lnTo>
                        <a:pt x="855" y="797"/>
                      </a:lnTo>
                      <a:lnTo>
                        <a:pt x="808" y="808"/>
                      </a:lnTo>
                      <a:lnTo>
                        <a:pt x="713" y="892"/>
                      </a:lnTo>
                      <a:lnTo>
                        <a:pt x="701" y="880"/>
                      </a:lnTo>
                      <a:lnTo>
                        <a:pt x="689" y="868"/>
                      </a:lnTo>
                      <a:lnTo>
                        <a:pt x="677" y="892"/>
                      </a:lnTo>
                      <a:lnTo>
                        <a:pt x="653" y="880"/>
                      </a:lnTo>
                      <a:lnTo>
                        <a:pt x="606" y="832"/>
                      </a:lnTo>
                      <a:lnTo>
                        <a:pt x="558" y="808"/>
                      </a:lnTo>
                      <a:lnTo>
                        <a:pt x="511" y="713"/>
                      </a:lnTo>
                      <a:lnTo>
                        <a:pt x="511" y="702"/>
                      </a:lnTo>
                      <a:lnTo>
                        <a:pt x="499" y="702"/>
                      </a:lnTo>
                      <a:lnTo>
                        <a:pt x="487" y="702"/>
                      </a:lnTo>
                      <a:lnTo>
                        <a:pt x="487" y="702"/>
                      </a:lnTo>
                      <a:lnTo>
                        <a:pt x="487" y="690"/>
                      </a:lnTo>
                      <a:lnTo>
                        <a:pt x="475" y="690"/>
                      </a:lnTo>
                      <a:lnTo>
                        <a:pt x="463" y="690"/>
                      </a:lnTo>
                      <a:lnTo>
                        <a:pt x="463" y="678"/>
                      </a:lnTo>
                      <a:lnTo>
                        <a:pt x="475" y="678"/>
                      </a:lnTo>
                      <a:lnTo>
                        <a:pt x="475" y="666"/>
                      </a:lnTo>
                      <a:lnTo>
                        <a:pt x="475" y="654"/>
                      </a:lnTo>
                      <a:lnTo>
                        <a:pt x="475" y="654"/>
                      </a:lnTo>
                      <a:lnTo>
                        <a:pt x="487" y="654"/>
                      </a:lnTo>
                      <a:lnTo>
                        <a:pt x="475" y="642"/>
                      </a:lnTo>
                      <a:lnTo>
                        <a:pt x="487" y="630"/>
                      </a:lnTo>
                      <a:lnTo>
                        <a:pt x="487" y="630"/>
                      </a:lnTo>
                      <a:lnTo>
                        <a:pt x="475" y="618"/>
                      </a:lnTo>
                      <a:lnTo>
                        <a:pt x="475" y="606"/>
                      </a:lnTo>
                      <a:lnTo>
                        <a:pt x="463" y="606"/>
                      </a:lnTo>
                      <a:lnTo>
                        <a:pt x="475" y="595"/>
                      </a:lnTo>
                      <a:lnTo>
                        <a:pt x="463" y="595"/>
                      </a:lnTo>
                      <a:lnTo>
                        <a:pt x="463" y="595"/>
                      </a:lnTo>
                      <a:lnTo>
                        <a:pt x="463" y="583"/>
                      </a:lnTo>
                      <a:lnTo>
                        <a:pt x="451" y="583"/>
                      </a:lnTo>
                      <a:lnTo>
                        <a:pt x="451" y="583"/>
                      </a:lnTo>
                      <a:lnTo>
                        <a:pt x="451" y="571"/>
                      </a:lnTo>
                      <a:lnTo>
                        <a:pt x="451" y="571"/>
                      </a:lnTo>
                      <a:lnTo>
                        <a:pt x="439" y="559"/>
                      </a:lnTo>
                      <a:lnTo>
                        <a:pt x="451" y="547"/>
                      </a:lnTo>
                      <a:lnTo>
                        <a:pt x="451" y="547"/>
                      </a:lnTo>
                      <a:lnTo>
                        <a:pt x="439" y="535"/>
                      </a:lnTo>
                      <a:lnTo>
                        <a:pt x="451" y="535"/>
                      </a:lnTo>
                      <a:lnTo>
                        <a:pt x="451" y="523"/>
                      </a:lnTo>
                      <a:lnTo>
                        <a:pt x="439" y="523"/>
                      </a:lnTo>
                      <a:lnTo>
                        <a:pt x="439" y="511"/>
                      </a:lnTo>
                      <a:lnTo>
                        <a:pt x="439" y="500"/>
                      </a:lnTo>
                      <a:lnTo>
                        <a:pt x="439" y="500"/>
                      </a:lnTo>
                      <a:lnTo>
                        <a:pt x="428" y="488"/>
                      </a:lnTo>
                      <a:lnTo>
                        <a:pt x="439" y="488"/>
                      </a:lnTo>
                      <a:lnTo>
                        <a:pt x="428" y="476"/>
                      </a:lnTo>
                      <a:lnTo>
                        <a:pt x="428" y="476"/>
                      </a:lnTo>
                      <a:lnTo>
                        <a:pt x="416" y="464"/>
                      </a:lnTo>
                      <a:lnTo>
                        <a:pt x="416" y="464"/>
                      </a:lnTo>
                      <a:lnTo>
                        <a:pt x="404" y="476"/>
                      </a:lnTo>
                      <a:lnTo>
                        <a:pt x="392" y="488"/>
                      </a:lnTo>
                      <a:lnTo>
                        <a:pt x="392" y="488"/>
                      </a:lnTo>
                      <a:lnTo>
                        <a:pt x="392" y="511"/>
                      </a:lnTo>
                      <a:lnTo>
                        <a:pt x="344" y="50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grpSp>
              <p:nvGrpSpPr>
                <p:cNvPr id="123" name="Group 681"/>
                <p:cNvGrpSpPr/>
                <p:nvPr/>
              </p:nvGrpSpPr>
              <p:grpSpPr>
                <a:xfrm>
                  <a:off x="19518305" y="-6992940"/>
                  <a:ext cx="17243423" cy="19186538"/>
                  <a:chOff x="19518313" y="-6992938"/>
                  <a:chExt cx="17243425" cy="19186525"/>
                </a:xfrm>
                <a:grpFill/>
              </p:grpSpPr>
              <p:sp>
                <p:nvSpPr>
                  <p:cNvPr id="227" name="Freeform 316"/>
                  <p:cNvSpPr>
                    <a:spLocks/>
                  </p:cNvSpPr>
                  <p:nvPr/>
                </p:nvSpPr>
                <p:spPr bwMode="auto">
                  <a:xfrm>
                    <a:off x="19518313" y="-6992938"/>
                    <a:ext cx="17243425" cy="19186525"/>
                  </a:xfrm>
                  <a:custGeom>
                    <a:avLst/>
                    <a:gdLst/>
                    <a:ahLst/>
                    <a:cxnLst>
                      <a:cxn ang="0">
                        <a:pos x="10588" y="4100"/>
                      </a:cxn>
                      <a:cxn ang="0">
                        <a:pos x="10113" y="5027"/>
                      </a:cxn>
                      <a:cxn ang="0">
                        <a:pos x="9364" y="5668"/>
                      </a:cxn>
                      <a:cxn ang="0">
                        <a:pos x="9293" y="5312"/>
                      </a:cxn>
                      <a:cxn ang="0">
                        <a:pos x="8996" y="5276"/>
                      </a:cxn>
                      <a:cxn ang="0">
                        <a:pos x="9032" y="5431"/>
                      </a:cxn>
                      <a:cxn ang="0">
                        <a:pos x="8901" y="5740"/>
                      </a:cxn>
                      <a:cxn ang="0">
                        <a:pos x="8794" y="6310"/>
                      </a:cxn>
                      <a:cxn ang="0">
                        <a:pos x="8687" y="6476"/>
                      </a:cxn>
                      <a:cxn ang="0">
                        <a:pos x="8663" y="6762"/>
                      </a:cxn>
                      <a:cxn ang="0">
                        <a:pos x="8711" y="6952"/>
                      </a:cxn>
                      <a:cxn ang="0">
                        <a:pos x="8604" y="7653"/>
                      </a:cxn>
                      <a:cxn ang="0">
                        <a:pos x="8687" y="9067"/>
                      </a:cxn>
                      <a:cxn ang="0">
                        <a:pos x="8390" y="10077"/>
                      </a:cxn>
                      <a:cxn ang="0">
                        <a:pos x="8235" y="11194"/>
                      </a:cxn>
                      <a:cxn ang="0">
                        <a:pos x="7332" y="11848"/>
                      </a:cxn>
                      <a:cxn ang="0">
                        <a:pos x="6833" y="11087"/>
                      </a:cxn>
                      <a:cxn ang="0">
                        <a:pos x="6619" y="10850"/>
                      </a:cxn>
                      <a:cxn ang="0">
                        <a:pos x="7071" y="10255"/>
                      </a:cxn>
                      <a:cxn ang="0">
                        <a:pos x="7415" y="9649"/>
                      </a:cxn>
                      <a:cxn ang="0">
                        <a:pos x="7190" y="8948"/>
                      </a:cxn>
                      <a:cxn ang="0">
                        <a:pos x="6572" y="8817"/>
                      </a:cxn>
                      <a:cxn ang="0">
                        <a:pos x="6084" y="8829"/>
                      </a:cxn>
                      <a:cxn ang="0">
                        <a:pos x="5074" y="8009"/>
                      </a:cxn>
                      <a:cxn ang="0">
                        <a:pos x="4266" y="7510"/>
                      </a:cxn>
                      <a:cxn ang="0">
                        <a:pos x="3553" y="7427"/>
                      </a:cxn>
                      <a:cxn ang="0">
                        <a:pos x="2971" y="6845"/>
                      </a:cxn>
                      <a:cxn ang="0">
                        <a:pos x="1913" y="7166"/>
                      </a:cxn>
                      <a:cxn ang="0">
                        <a:pos x="618" y="7807"/>
                      </a:cxn>
                      <a:cxn ang="0">
                        <a:pos x="570" y="6975"/>
                      </a:cxn>
                      <a:cxn ang="0">
                        <a:pos x="404" y="5942"/>
                      </a:cxn>
                      <a:cxn ang="0">
                        <a:pos x="416" y="5609"/>
                      </a:cxn>
                      <a:cxn ang="0">
                        <a:pos x="523" y="5157"/>
                      </a:cxn>
                      <a:cxn ang="0">
                        <a:pos x="273" y="4409"/>
                      </a:cxn>
                      <a:cxn ang="0">
                        <a:pos x="273" y="3791"/>
                      </a:cxn>
                      <a:cxn ang="0">
                        <a:pos x="451" y="3494"/>
                      </a:cxn>
                      <a:cxn ang="0">
                        <a:pos x="95" y="2899"/>
                      </a:cxn>
                      <a:cxn ang="0">
                        <a:pos x="570" y="2376"/>
                      </a:cxn>
                      <a:cxn ang="0">
                        <a:pos x="1093" y="1854"/>
                      </a:cxn>
                      <a:cxn ang="0">
                        <a:pos x="1533" y="2448"/>
                      </a:cxn>
                      <a:cxn ang="0">
                        <a:pos x="2317" y="2483"/>
                      </a:cxn>
                      <a:cxn ang="0">
                        <a:pos x="2947" y="2376"/>
                      </a:cxn>
                      <a:cxn ang="0">
                        <a:pos x="3351" y="1865"/>
                      </a:cxn>
                      <a:cxn ang="0">
                        <a:pos x="3292" y="1188"/>
                      </a:cxn>
                      <a:cxn ang="0">
                        <a:pos x="3921" y="939"/>
                      </a:cxn>
                      <a:cxn ang="0">
                        <a:pos x="4504" y="1212"/>
                      </a:cxn>
                      <a:cxn ang="0">
                        <a:pos x="5169" y="843"/>
                      </a:cxn>
                      <a:cxn ang="0">
                        <a:pos x="6120" y="392"/>
                      </a:cxn>
                      <a:cxn ang="0">
                        <a:pos x="6643" y="309"/>
                      </a:cxn>
                      <a:cxn ang="0">
                        <a:pos x="6964" y="808"/>
                      </a:cxn>
                      <a:cxn ang="0">
                        <a:pos x="7249" y="1069"/>
                      </a:cxn>
                      <a:cxn ang="0">
                        <a:pos x="7867" y="641"/>
                      </a:cxn>
                      <a:cxn ang="0">
                        <a:pos x="8414" y="107"/>
                      </a:cxn>
                      <a:cxn ang="0">
                        <a:pos x="9079" y="356"/>
                      </a:cxn>
                      <a:cxn ang="0">
                        <a:pos x="9638" y="428"/>
                      </a:cxn>
                      <a:cxn ang="0">
                        <a:pos x="9875" y="986"/>
                      </a:cxn>
                      <a:cxn ang="0">
                        <a:pos x="10149" y="1319"/>
                      </a:cxn>
                      <a:cxn ang="0">
                        <a:pos x="10458" y="2127"/>
                      </a:cxn>
                      <a:cxn ang="0">
                        <a:pos x="10208" y="2864"/>
                      </a:cxn>
                      <a:cxn ang="0">
                        <a:pos x="10054" y="3375"/>
                      </a:cxn>
                      <a:cxn ang="0">
                        <a:pos x="10553" y="3826"/>
                      </a:cxn>
                    </a:cxnLst>
                    <a:rect l="0" t="0" r="r" b="b"/>
                    <a:pathLst>
                      <a:path w="10862" h="12086">
                        <a:moveTo>
                          <a:pt x="10648" y="3850"/>
                        </a:moveTo>
                        <a:lnTo>
                          <a:pt x="10672" y="3862"/>
                        </a:lnTo>
                        <a:lnTo>
                          <a:pt x="10683" y="3862"/>
                        </a:lnTo>
                        <a:lnTo>
                          <a:pt x="10719" y="3850"/>
                        </a:lnTo>
                        <a:lnTo>
                          <a:pt x="10838" y="3767"/>
                        </a:lnTo>
                        <a:lnTo>
                          <a:pt x="10850" y="3779"/>
                        </a:lnTo>
                        <a:lnTo>
                          <a:pt x="10862" y="3791"/>
                        </a:lnTo>
                        <a:lnTo>
                          <a:pt x="10767" y="3909"/>
                        </a:lnTo>
                        <a:lnTo>
                          <a:pt x="10719" y="3933"/>
                        </a:lnTo>
                        <a:lnTo>
                          <a:pt x="10660" y="4040"/>
                        </a:lnTo>
                        <a:lnTo>
                          <a:pt x="10624" y="4064"/>
                        </a:lnTo>
                        <a:lnTo>
                          <a:pt x="10588" y="4076"/>
                        </a:lnTo>
                        <a:lnTo>
                          <a:pt x="10588" y="4088"/>
                        </a:lnTo>
                        <a:lnTo>
                          <a:pt x="10588" y="4100"/>
                        </a:lnTo>
                        <a:lnTo>
                          <a:pt x="10636" y="4088"/>
                        </a:lnTo>
                        <a:lnTo>
                          <a:pt x="10648" y="4111"/>
                        </a:lnTo>
                        <a:lnTo>
                          <a:pt x="10588" y="4242"/>
                        </a:lnTo>
                        <a:lnTo>
                          <a:pt x="10517" y="4278"/>
                        </a:lnTo>
                        <a:lnTo>
                          <a:pt x="10517" y="4302"/>
                        </a:lnTo>
                        <a:lnTo>
                          <a:pt x="10565" y="4302"/>
                        </a:lnTo>
                        <a:lnTo>
                          <a:pt x="10576" y="4337"/>
                        </a:lnTo>
                        <a:lnTo>
                          <a:pt x="10517" y="4504"/>
                        </a:lnTo>
                        <a:lnTo>
                          <a:pt x="10398" y="4694"/>
                        </a:lnTo>
                        <a:lnTo>
                          <a:pt x="10386" y="4718"/>
                        </a:lnTo>
                        <a:lnTo>
                          <a:pt x="10351" y="4741"/>
                        </a:lnTo>
                        <a:lnTo>
                          <a:pt x="10244" y="4872"/>
                        </a:lnTo>
                        <a:lnTo>
                          <a:pt x="10184" y="4943"/>
                        </a:lnTo>
                        <a:lnTo>
                          <a:pt x="10113" y="5027"/>
                        </a:lnTo>
                        <a:lnTo>
                          <a:pt x="10089" y="5086"/>
                        </a:lnTo>
                        <a:lnTo>
                          <a:pt x="10065" y="5134"/>
                        </a:lnTo>
                        <a:lnTo>
                          <a:pt x="10018" y="5181"/>
                        </a:lnTo>
                        <a:lnTo>
                          <a:pt x="10006" y="5181"/>
                        </a:lnTo>
                        <a:lnTo>
                          <a:pt x="10006" y="5181"/>
                        </a:lnTo>
                        <a:lnTo>
                          <a:pt x="9935" y="5252"/>
                        </a:lnTo>
                        <a:lnTo>
                          <a:pt x="9911" y="5300"/>
                        </a:lnTo>
                        <a:lnTo>
                          <a:pt x="9887" y="5336"/>
                        </a:lnTo>
                        <a:lnTo>
                          <a:pt x="9840" y="5371"/>
                        </a:lnTo>
                        <a:lnTo>
                          <a:pt x="9745" y="5466"/>
                        </a:lnTo>
                        <a:lnTo>
                          <a:pt x="9709" y="5502"/>
                        </a:lnTo>
                        <a:lnTo>
                          <a:pt x="9578" y="5597"/>
                        </a:lnTo>
                        <a:lnTo>
                          <a:pt x="9424" y="5668"/>
                        </a:lnTo>
                        <a:lnTo>
                          <a:pt x="9364" y="5668"/>
                        </a:lnTo>
                        <a:lnTo>
                          <a:pt x="9352" y="5656"/>
                        </a:lnTo>
                        <a:lnTo>
                          <a:pt x="9364" y="5633"/>
                        </a:lnTo>
                        <a:lnTo>
                          <a:pt x="9388" y="5597"/>
                        </a:lnTo>
                        <a:lnTo>
                          <a:pt x="9400" y="5538"/>
                        </a:lnTo>
                        <a:lnTo>
                          <a:pt x="9436" y="5514"/>
                        </a:lnTo>
                        <a:lnTo>
                          <a:pt x="9436" y="5490"/>
                        </a:lnTo>
                        <a:lnTo>
                          <a:pt x="9459" y="5419"/>
                        </a:lnTo>
                        <a:lnTo>
                          <a:pt x="9471" y="5383"/>
                        </a:lnTo>
                        <a:lnTo>
                          <a:pt x="9459" y="5359"/>
                        </a:lnTo>
                        <a:lnTo>
                          <a:pt x="9436" y="5336"/>
                        </a:lnTo>
                        <a:lnTo>
                          <a:pt x="9376" y="5312"/>
                        </a:lnTo>
                        <a:lnTo>
                          <a:pt x="9329" y="5324"/>
                        </a:lnTo>
                        <a:lnTo>
                          <a:pt x="9305" y="5324"/>
                        </a:lnTo>
                        <a:lnTo>
                          <a:pt x="9293" y="5312"/>
                        </a:lnTo>
                        <a:lnTo>
                          <a:pt x="9293" y="5276"/>
                        </a:lnTo>
                        <a:lnTo>
                          <a:pt x="9269" y="5240"/>
                        </a:lnTo>
                        <a:lnTo>
                          <a:pt x="9269" y="5205"/>
                        </a:lnTo>
                        <a:lnTo>
                          <a:pt x="9234" y="5169"/>
                        </a:lnTo>
                        <a:lnTo>
                          <a:pt x="9198" y="5169"/>
                        </a:lnTo>
                        <a:lnTo>
                          <a:pt x="9186" y="5193"/>
                        </a:lnTo>
                        <a:lnTo>
                          <a:pt x="9162" y="5217"/>
                        </a:lnTo>
                        <a:lnTo>
                          <a:pt x="9174" y="5240"/>
                        </a:lnTo>
                        <a:lnTo>
                          <a:pt x="9127" y="5371"/>
                        </a:lnTo>
                        <a:lnTo>
                          <a:pt x="9103" y="5407"/>
                        </a:lnTo>
                        <a:lnTo>
                          <a:pt x="9067" y="5419"/>
                        </a:lnTo>
                        <a:lnTo>
                          <a:pt x="9008" y="5359"/>
                        </a:lnTo>
                        <a:lnTo>
                          <a:pt x="8996" y="5324"/>
                        </a:lnTo>
                        <a:lnTo>
                          <a:pt x="8996" y="5276"/>
                        </a:lnTo>
                        <a:lnTo>
                          <a:pt x="9032" y="5217"/>
                        </a:lnTo>
                        <a:lnTo>
                          <a:pt x="9020" y="5205"/>
                        </a:lnTo>
                        <a:lnTo>
                          <a:pt x="8996" y="5205"/>
                        </a:lnTo>
                        <a:lnTo>
                          <a:pt x="8960" y="5264"/>
                        </a:lnTo>
                        <a:lnTo>
                          <a:pt x="8913" y="5264"/>
                        </a:lnTo>
                        <a:lnTo>
                          <a:pt x="8913" y="5276"/>
                        </a:lnTo>
                        <a:lnTo>
                          <a:pt x="8948" y="5336"/>
                        </a:lnTo>
                        <a:lnTo>
                          <a:pt x="8936" y="5419"/>
                        </a:lnTo>
                        <a:lnTo>
                          <a:pt x="8936" y="5419"/>
                        </a:lnTo>
                        <a:lnTo>
                          <a:pt x="8960" y="5419"/>
                        </a:lnTo>
                        <a:lnTo>
                          <a:pt x="8984" y="5383"/>
                        </a:lnTo>
                        <a:lnTo>
                          <a:pt x="9008" y="5371"/>
                        </a:lnTo>
                        <a:lnTo>
                          <a:pt x="9020" y="5383"/>
                        </a:lnTo>
                        <a:lnTo>
                          <a:pt x="9032" y="5431"/>
                        </a:lnTo>
                        <a:lnTo>
                          <a:pt x="9055" y="5454"/>
                        </a:lnTo>
                        <a:lnTo>
                          <a:pt x="9079" y="5466"/>
                        </a:lnTo>
                        <a:lnTo>
                          <a:pt x="9103" y="5454"/>
                        </a:lnTo>
                        <a:lnTo>
                          <a:pt x="9150" y="5466"/>
                        </a:lnTo>
                        <a:lnTo>
                          <a:pt x="9162" y="5490"/>
                        </a:lnTo>
                        <a:lnTo>
                          <a:pt x="9127" y="5526"/>
                        </a:lnTo>
                        <a:lnTo>
                          <a:pt x="9115" y="5573"/>
                        </a:lnTo>
                        <a:lnTo>
                          <a:pt x="9079" y="5609"/>
                        </a:lnTo>
                        <a:lnTo>
                          <a:pt x="9055" y="5668"/>
                        </a:lnTo>
                        <a:lnTo>
                          <a:pt x="8984" y="5692"/>
                        </a:lnTo>
                        <a:lnTo>
                          <a:pt x="8948" y="5716"/>
                        </a:lnTo>
                        <a:lnTo>
                          <a:pt x="8901" y="5704"/>
                        </a:lnTo>
                        <a:lnTo>
                          <a:pt x="8901" y="5716"/>
                        </a:lnTo>
                        <a:lnTo>
                          <a:pt x="8901" y="5740"/>
                        </a:lnTo>
                        <a:lnTo>
                          <a:pt x="9020" y="5775"/>
                        </a:lnTo>
                        <a:lnTo>
                          <a:pt x="9032" y="5799"/>
                        </a:lnTo>
                        <a:lnTo>
                          <a:pt x="8913" y="5870"/>
                        </a:lnTo>
                        <a:lnTo>
                          <a:pt x="8877" y="5918"/>
                        </a:lnTo>
                        <a:lnTo>
                          <a:pt x="8853" y="6025"/>
                        </a:lnTo>
                        <a:lnTo>
                          <a:pt x="8830" y="6037"/>
                        </a:lnTo>
                        <a:lnTo>
                          <a:pt x="8782" y="6049"/>
                        </a:lnTo>
                        <a:lnTo>
                          <a:pt x="8770" y="6037"/>
                        </a:lnTo>
                        <a:lnTo>
                          <a:pt x="8758" y="6013"/>
                        </a:lnTo>
                        <a:lnTo>
                          <a:pt x="8734" y="6025"/>
                        </a:lnTo>
                        <a:lnTo>
                          <a:pt x="8687" y="6251"/>
                        </a:lnTo>
                        <a:lnTo>
                          <a:pt x="8699" y="6298"/>
                        </a:lnTo>
                        <a:lnTo>
                          <a:pt x="8758" y="6298"/>
                        </a:lnTo>
                        <a:lnTo>
                          <a:pt x="8794" y="6310"/>
                        </a:lnTo>
                        <a:lnTo>
                          <a:pt x="8794" y="6334"/>
                        </a:lnTo>
                        <a:lnTo>
                          <a:pt x="8806" y="6369"/>
                        </a:lnTo>
                        <a:lnTo>
                          <a:pt x="8818" y="6417"/>
                        </a:lnTo>
                        <a:lnTo>
                          <a:pt x="8794" y="6488"/>
                        </a:lnTo>
                        <a:lnTo>
                          <a:pt x="8806" y="6595"/>
                        </a:lnTo>
                        <a:lnTo>
                          <a:pt x="8794" y="6607"/>
                        </a:lnTo>
                        <a:lnTo>
                          <a:pt x="8770" y="6607"/>
                        </a:lnTo>
                        <a:lnTo>
                          <a:pt x="8758" y="6571"/>
                        </a:lnTo>
                        <a:lnTo>
                          <a:pt x="8734" y="6560"/>
                        </a:lnTo>
                        <a:lnTo>
                          <a:pt x="8734" y="6464"/>
                        </a:lnTo>
                        <a:lnTo>
                          <a:pt x="8723" y="6441"/>
                        </a:lnTo>
                        <a:lnTo>
                          <a:pt x="8711" y="6453"/>
                        </a:lnTo>
                        <a:lnTo>
                          <a:pt x="8699" y="6476"/>
                        </a:lnTo>
                        <a:lnTo>
                          <a:pt x="8687" y="6476"/>
                        </a:lnTo>
                        <a:lnTo>
                          <a:pt x="8663" y="6441"/>
                        </a:lnTo>
                        <a:lnTo>
                          <a:pt x="8639" y="6453"/>
                        </a:lnTo>
                        <a:lnTo>
                          <a:pt x="8627" y="6464"/>
                        </a:lnTo>
                        <a:lnTo>
                          <a:pt x="8639" y="6488"/>
                        </a:lnTo>
                        <a:lnTo>
                          <a:pt x="8699" y="6524"/>
                        </a:lnTo>
                        <a:lnTo>
                          <a:pt x="8711" y="6583"/>
                        </a:lnTo>
                        <a:lnTo>
                          <a:pt x="8746" y="6631"/>
                        </a:lnTo>
                        <a:lnTo>
                          <a:pt x="8746" y="6655"/>
                        </a:lnTo>
                        <a:lnTo>
                          <a:pt x="8746" y="6667"/>
                        </a:lnTo>
                        <a:lnTo>
                          <a:pt x="8711" y="6643"/>
                        </a:lnTo>
                        <a:lnTo>
                          <a:pt x="8639" y="6655"/>
                        </a:lnTo>
                        <a:lnTo>
                          <a:pt x="8639" y="6690"/>
                        </a:lnTo>
                        <a:lnTo>
                          <a:pt x="8663" y="6714"/>
                        </a:lnTo>
                        <a:lnTo>
                          <a:pt x="8663" y="6762"/>
                        </a:lnTo>
                        <a:lnTo>
                          <a:pt x="8687" y="6762"/>
                        </a:lnTo>
                        <a:lnTo>
                          <a:pt x="8699" y="6738"/>
                        </a:lnTo>
                        <a:lnTo>
                          <a:pt x="8723" y="6738"/>
                        </a:lnTo>
                        <a:lnTo>
                          <a:pt x="8746" y="6750"/>
                        </a:lnTo>
                        <a:lnTo>
                          <a:pt x="8758" y="6762"/>
                        </a:lnTo>
                        <a:lnTo>
                          <a:pt x="8746" y="6821"/>
                        </a:lnTo>
                        <a:lnTo>
                          <a:pt x="8758" y="6833"/>
                        </a:lnTo>
                        <a:lnTo>
                          <a:pt x="8758" y="6869"/>
                        </a:lnTo>
                        <a:lnTo>
                          <a:pt x="8699" y="6880"/>
                        </a:lnTo>
                        <a:lnTo>
                          <a:pt x="8675" y="6916"/>
                        </a:lnTo>
                        <a:lnTo>
                          <a:pt x="8675" y="6952"/>
                        </a:lnTo>
                        <a:lnTo>
                          <a:pt x="8687" y="6975"/>
                        </a:lnTo>
                        <a:lnTo>
                          <a:pt x="8711" y="6987"/>
                        </a:lnTo>
                        <a:lnTo>
                          <a:pt x="8711" y="6952"/>
                        </a:lnTo>
                        <a:lnTo>
                          <a:pt x="8770" y="6904"/>
                        </a:lnTo>
                        <a:lnTo>
                          <a:pt x="8818" y="6726"/>
                        </a:lnTo>
                        <a:lnTo>
                          <a:pt x="8818" y="6702"/>
                        </a:lnTo>
                        <a:lnTo>
                          <a:pt x="8841" y="6678"/>
                        </a:lnTo>
                        <a:lnTo>
                          <a:pt x="8853" y="6702"/>
                        </a:lnTo>
                        <a:lnTo>
                          <a:pt x="8841" y="6726"/>
                        </a:lnTo>
                        <a:lnTo>
                          <a:pt x="8794" y="6928"/>
                        </a:lnTo>
                        <a:lnTo>
                          <a:pt x="8758" y="7082"/>
                        </a:lnTo>
                        <a:lnTo>
                          <a:pt x="8746" y="7118"/>
                        </a:lnTo>
                        <a:lnTo>
                          <a:pt x="8746" y="7189"/>
                        </a:lnTo>
                        <a:lnTo>
                          <a:pt x="8723" y="7273"/>
                        </a:lnTo>
                        <a:lnTo>
                          <a:pt x="8663" y="7403"/>
                        </a:lnTo>
                        <a:lnTo>
                          <a:pt x="8616" y="7593"/>
                        </a:lnTo>
                        <a:lnTo>
                          <a:pt x="8604" y="7653"/>
                        </a:lnTo>
                        <a:lnTo>
                          <a:pt x="8604" y="7700"/>
                        </a:lnTo>
                        <a:lnTo>
                          <a:pt x="8627" y="7772"/>
                        </a:lnTo>
                        <a:lnTo>
                          <a:pt x="8627" y="7795"/>
                        </a:lnTo>
                        <a:lnTo>
                          <a:pt x="8627" y="7855"/>
                        </a:lnTo>
                        <a:lnTo>
                          <a:pt x="8627" y="7902"/>
                        </a:lnTo>
                        <a:lnTo>
                          <a:pt x="8627" y="8045"/>
                        </a:lnTo>
                        <a:lnTo>
                          <a:pt x="8616" y="8247"/>
                        </a:lnTo>
                        <a:lnTo>
                          <a:pt x="8616" y="8413"/>
                        </a:lnTo>
                        <a:lnTo>
                          <a:pt x="8651" y="8675"/>
                        </a:lnTo>
                        <a:lnTo>
                          <a:pt x="8639" y="8853"/>
                        </a:lnTo>
                        <a:lnTo>
                          <a:pt x="8651" y="8889"/>
                        </a:lnTo>
                        <a:lnTo>
                          <a:pt x="8675" y="8924"/>
                        </a:lnTo>
                        <a:lnTo>
                          <a:pt x="8687" y="8960"/>
                        </a:lnTo>
                        <a:lnTo>
                          <a:pt x="8687" y="9067"/>
                        </a:lnTo>
                        <a:lnTo>
                          <a:pt x="8675" y="9091"/>
                        </a:lnTo>
                        <a:lnTo>
                          <a:pt x="8616" y="9079"/>
                        </a:lnTo>
                        <a:lnTo>
                          <a:pt x="8604" y="9079"/>
                        </a:lnTo>
                        <a:lnTo>
                          <a:pt x="8663" y="9126"/>
                        </a:lnTo>
                        <a:lnTo>
                          <a:pt x="8687" y="9126"/>
                        </a:lnTo>
                        <a:lnTo>
                          <a:pt x="8687" y="9150"/>
                        </a:lnTo>
                        <a:lnTo>
                          <a:pt x="8639" y="9257"/>
                        </a:lnTo>
                        <a:lnTo>
                          <a:pt x="8604" y="9459"/>
                        </a:lnTo>
                        <a:lnTo>
                          <a:pt x="8532" y="9566"/>
                        </a:lnTo>
                        <a:lnTo>
                          <a:pt x="8521" y="9614"/>
                        </a:lnTo>
                        <a:lnTo>
                          <a:pt x="8521" y="9697"/>
                        </a:lnTo>
                        <a:lnTo>
                          <a:pt x="8473" y="9768"/>
                        </a:lnTo>
                        <a:lnTo>
                          <a:pt x="8402" y="9982"/>
                        </a:lnTo>
                        <a:lnTo>
                          <a:pt x="8390" y="10077"/>
                        </a:lnTo>
                        <a:lnTo>
                          <a:pt x="8378" y="10125"/>
                        </a:lnTo>
                        <a:lnTo>
                          <a:pt x="8342" y="10148"/>
                        </a:lnTo>
                        <a:lnTo>
                          <a:pt x="8330" y="10184"/>
                        </a:lnTo>
                        <a:lnTo>
                          <a:pt x="8319" y="10291"/>
                        </a:lnTo>
                        <a:lnTo>
                          <a:pt x="8330" y="10327"/>
                        </a:lnTo>
                        <a:lnTo>
                          <a:pt x="8342" y="10350"/>
                        </a:lnTo>
                        <a:lnTo>
                          <a:pt x="8342" y="10374"/>
                        </a:lnTo>
                        <a:lnTo>
                          <a:pt x="8307" y="10434"/>
                        </a:lnTo>
                        <a:lnTo>
                          <a:pt x="8283" y="10469"/>
                        </a:lnTo>
                        <a:lnTo>
                          <a:pt x="8200" y="10743"/>
                        </a:lnTo>
                        <a:lnTo>
                          <a:pt x="8188" y="10873"/>
                        </a:lnTo>
                        <a:lnTo>
                          <a:pt x="8235" y="10992"/>
                        </a:lnTo>
                        <a:lnTo>
                          <a:pt x="8235" y="11135"/>
                        </a:lnTo>
                        <a:lnTo>
                          <a:pt x="8235" y="11194"/>
                        </a:lnTo>
                        <a:lnTo>
                          <a:pt x="8259" y="11289"/>
                        </a:lnTo>
                        <a:lnTo>
                          <a:pt x="8212" y="11337"/>
                        </a:lnTo>
                        <a:lnTo>
                          <a:pt x="8093" y="11456"/>
                        </a:lnTo>
                        <a:lnTo>
                          <a:pt x="8057" y="11491"/>
                        </a:lnTo>
                        <a:lnTo>
                          <a:pt x="8010" y="11503"/>
                        </a:lnTo>
                        <a:lnTo>
                          <a:pt x="7914" y="11527"/>
                        </a:lnTo>
                        <a:lnTo>
                          <a:pt x="7855" y="11610"/>
                        </a:lnTo>
                        <a:lnTo>
                          <a:pt x="7855" y="11610"/>
                        </a:lnTo>
                        <a:lnTo>
                          <a:pt x="7772" y="11717"/>
                        </a:lnTo>
                        <a:lnTo>
                          <a:pt x="7748" y="11800"/>
                        </a:lnTo>
                        <a:lnTo>
                          <a:pt x="7653" y="11955"/>
                        </a:lnTo>
                        <a:lnTo>
                          <a:pt x="7594" y="12086"/>
                        </a:lnTo>
                        <a:lnTo>
                          <a:pt x="7332" y="11848"/>
                        </a:lnTo>
                        <a:lnTo>
                          <a:pt x="7332" y="11848"/>
                        </a:lnTo>
                        <a:lnTo>
                          <a:pt x="7308" y="11812"/>
                        </a:lnTo>
                        <a:lnTo>
                          <a:pt x="7011" y="11539"/>
                        </a:lnTo>
                        <a:lnTo>
                          <a:pt x="7023" y="11503"/>
                        </a:lnTo>
                        <a:lnTo>
                          <a:pt x="7071" y="11444"/>
                        </a:lnTo>
                        <a:lnTo>
                          <a:pt x="7071" y="11396"/>
                        </a:lnTo>
                        <a:lnTo>
                          <a:pt x="7059" y="11372"/>
                        </a:lnTo>
                        <a:lnTo>
                          <a:pt x="7047" y="11349"/>
                        </a:lnTo>
                        <a:lnTo>
                          <a:pt x="6999" y="11301"/>
                        </a:lnTo>
                        <a:lnTo>
                          <a:pt x="6988" y="11289"/>
                        </a:lnTo>
                        <a:lnTo>
                          <a:pt x="6964" y="11266"/>
                        </a:lnTo>
                        <a:lnTo>
                          <a:pt x="6952" y="11242"/>
                        </a:lnTo>
                        <a:lnTo>
                          <a:pt x="6904" y="11182"/>
                        </a:lnTo>
                        <a:lnTo>
                          <a:pt x="6881" y="11099"/>
                        </a:lnTo>
                        <a:lnTo>
                          <a:pt x="6833" y="11087"/>
                        </a:lnTo>
                        <a:lnTo>
                          <a:pt x="6797" y="11075"/>
                        </a:lnTo>
                        <a:lnTo>
                          <a:pt x="6762" y="11052"/>
                        </a:lnTo>
                        <a:lnTo>
                          <a:pt x="6762" y="10992"/>
                        </a:lnTo>
                        <a:lnTo>
                          <a:pt x="6785" y="10897"/>
                        </a:lnTo>
                        <a:lnTo>
                          <a:pt x="6774" y="10897"/>
                        </a:lnTo>
                        <a:lnTo>
                          <a:pt x="6750" y="10909"/>
                        </a:lnTo>
                        <a:lnTo>
                          <a:pt x="6714" y="10897"/>
                        </a:lnTo>
                        <a:lnTo>
                          <a:pt x="6702" y="10861"/>
                        </a:lnTo>
                        <a:lnTo>
                          <a:pt x="6726" y="10814"/>
                        </a:lnTo>
                        <a:lnTo>
                          <a:pt x="6714" y="10802"/>
                        </a:lnTo>
                        <a:lnTo>
                          <a:pt x="6702" y="10814"/>
                        </a:lnTo>
                        <a:lnTo>
                          <a:pt x="6667" y="10850"/>
                        </a:lnTo>
                        <a:lnTo>
                          <a:pt x="6643" y="10873"/>
                        </a:lnTo>
                        <a:lnTo>
                          <a:pt x="6619" y="10850"/>
                        </a:lnTo>
                        <a:lnTo>
                          <a:pt x="6607" y="10826"/>
                        </a:lnTo>
                        <a:lnTo>
                          <a:pt x="6631" y="10790"/>
                        </a:lnTo>
                        <a:lnTo>
                          <a:pt x="6667" y="10766"/>
                        </a:lnTo>
                        <a:lnTo>
                          <a:pt x="6679" y="10743"/>
                        </a:lnTo>
                        <a:lnTo>
                          <a:pt x="6667" y="10695"/>
                        </a:lnTo>
                        <a:lnTo>
                          <a:pt x="6690" y="10659"/>
                        </a:lnTo>
                        <a:lnTo>
                          <a:pt x="6690" y="10576"/>
                        </a:lnTo>
                        <a:lnTo>
                          <a:pt x="6702" y="10446"/>
                        </a:lnTo>
                        <a:lnTo>
                          <a:pt x="6750" y="10327"/>
                        </a:lnTo>
                        <a:lnTo>
                          <a:pt x="6785" y="10279"/>
                        </a:lnTo>
                        <a:lnTo>
                          <a:pt x="6809" y="10267"/>
                        </a:lnTo>
                        <a:lnTo>
                          <a:pt x="6892" y="10267"/>
                        </a:lnTo>
                        <a:lnTo>
                          <a:pt x="6999" y="10267"/>
                        </a:lnTo>
                        <a:lnTo>
                          <a:pt x="7071" y="10255"/>
                        </a:lnTo>
                        <a:lnTo>
                          <a:pt x="7106" y="10220"/>
                        </a:lnTo>
                        <a:lnTo>
                          <a:pt x="7106" y="10184"/>
                        </a:lnTo>
                        <a:lnTo>
                          <a:pt x="7071" y="10101"/>
                        </a:lnTo>
                        <a:lnTo>
                          <a:pt x="7071" y="10018"/>
                        </a:lnTo>
                        <a:lnTo>
                          <a:pt x="7083" y="9958"/>
                        </a:lnTo>
                        <a:lnTo>
                          <a:pt x="7118" y="9887"/>
                        </a:lnTo>
                        <a:lnTo>
                          <a:pt x="7154" y="9839"/>
                        </a:lnTo>
                        <a:lnTo>
                          <a:pt x="7190" y="9839"/>
                        </a:lnTo>
                        <a:lnTo>
                          <a:pt x="7261" y="9863"/>
                        </a:lnTo>
                        <a:lnTo>
                          <a:pt x="7273" y="9839"/>
                        </a:lnTo>
                        <a:lnTo>
                          <a:pt x="7285" y="9756"/>
                        </a:lnTo>
                        <a:lnTo>
                          <a:pt x="7308" y="9733"/>
                        </a:lnTo>
                        <a:lnTo>
                          <a:pt x="7344" y="9685"/>
                        </a:lnTo>
                        <a:lnTo>
                          <a:pt x="7415" y="9649"/>
                        </a:lnTo>
                        <a:lnTo>
                          <a:pt x="7451" y="9637"/>
                        </a:lnTo>
                        <a:lnTo>
                          <a:pt x="7475" y="9614"/>
                        </a:lnTo>
                        <a:lnTo>
                          <a:pt x="7594" y="9435"/>
                        </a:lnTo>
                        <a:lnTo>
                          <a:pt x="7594" y="9352"/>
                        </a:lnTo>
                        <a:lnTo>
                          <a:pt x="7558" y="9293"/>
                        </a:lnTo>
                        <a:lnTo>
                          <a:pt x="7546" y="9245"/>
                        </a:lnTo>
                        <a:lnTo>
                          <a:pt x="7487" y="9210"/>
                        </a:lnTo>
                        <a:lnTo>
                          <a:pt x="7487" y="9186"/>
                        </a:lnTo>
                        <a:lnTo>
                          <a:pt x="7415" y="9162"/>
                        </a:lnTo>
                        <a:lnTo>
                          <a:pt x="7380" y="9103"/>
                        </a:lnTo>
                        <a:lnTo>
                          <a:pt x="7368" y="9091"/>
                        </a:lnTo>
                        <a:lnTo>
                          <a:pt x="7368" y="9079"/>
                        </a:lnTo>
                        <a:lnTo>
                          <a:pt x="7261" y="9020"/>
                        </a:lnTo>
                        <a:lnTo>
                          <a:pt x="7190" y="8948"/>
                        </a:lnTo>
                        <a:lnTo>
                          <a:pt x="7071" y="8936"/>
                        </a:lnTo>
                        <a:lnTo>
                          <a:pt x="6999" y="8913"/>
                        </a:lnTo>
                        <a:lnTo>
                          <a:pt x="6976" y="8901"/>
                        </a:lnTo>
                        <a:lnTo>
                          <a:pt x="6952" y="8889"/>
                        </a:lnTo>
                        <a:lnTo>
                          <a:pt x="6928" y="8853"/>
                        </a:lnTo>
                        <a:lnTo>
                          <a:pt x="6892" y="8865"/>
                        </a:lnTo>
                        <a:lnTo>
                          <a:pt x="6833" y="8889"/>
                        </a:lnTo>
                        <a:lnTo>
                          <a:pt x="6785" y="8889"/>
                        </a:lnTo>
                        <a:lnTo>
                          <a:pt x="6750" y="8806"/>
                        </a:lnTo>
                        <a:lnTo>
                          <a:pt x="6714" y="8794"/>
                        </a:lnTo>
                        <a:lnTo>
                          <a:pt x="6667" y="8794"/>
                        </a:lnTo>
                        <a:lnTo>
                          <a:pt x="6619" y="8817"/>
                        </a:lnTo>
                        <a:lnTo>
                          <a:pt x="6607" y="8817"/>
                        </a:lnTo>
                        <a:lnTo>
                          <a:pt x="6572" y="8817"/>
                        </a:lnTo>
                        <a:lnTo>
                          <a:pt x="6548" y="8794"/>
                        </a:lnTo>
                        <a:lnTo>
                          <a:pt x="6524" y="8734"/>
                        </a:lnTo>
                        <a:lnTo>
                          <a:pt x="6500" y="8734"/>
                        </a:lnTo>
                        <a:lnTo>
                          <a:pt x="6477" y="8746"/>
                        </a:lnTo>
                        <a:lnTo>
                          <a:pt x="6453" y="8770"/>
                        </a:lnTo>
                        <a:lnTo>
                          <a:pt x="6429" y="8770"/>
                        </a:lnTo>
                        <a:lnTo>
                          <a:pt x="6393" y="8746"/>
                        </a:lnTo>
                        <a:lnTo>
                          <a:pt x="6358" y="8699"/>
                        </a:lnTo>
                        <a:lnTo>
                          <a:pt x="6334" y="8699"/>
                        </a:lnTo>
                        <a:lnTo>
                          <a:pt x="6298" y="8722"/>
                        </a:lnTo>
                        <a:lnTo>
                          <a:pt x="6263" y="8782"/>
                        </a:lnTo>
                        <a:lnTo>
                          <a:pt x="6156" y="8806"/>
                        </a:lnTo>
                        <a:lnTo>
                          <a:pt x="6096" y="8829"/>
                        </a:lnTo>
                        <a:lnTo>
                          <a:pt x="6084" y="8829"/>
                        </a:lnTo>
                        <a:lnTo>
                          <a:pt x="6001" y="8782"/>
                        </a:lnTo>
                        <a:lnTo>
                          <a:pt x="5942" y="8770"/>
                        </a:lnTo>
                        <a:lnTo>
                          <a:pt x="5906" y="8734"/>
                        </a:lnTo>
                        <a:lnTo>
                          <a:pt x="5918" y="8580"/>
                        </a:lnTo>
                        <a:lnTo>
                          <a:pt x="5918" y="8520"/>
                        </a:lnTo>
                        <a:lnTo>
                          <a:pt x="5894" y="8473"/>
                        </a:lnTo>
                        <a:lnTo>
                          <a:pt x="5859" y="8425"/>
                        </a:lnTo>
                        <a:lnTo>
                          <a:pt x="5847" y="8413"/>
                        </a:lnTo>
                        <a:lnTo>
                          <a:pt x="5454" y="7974"/>
                        </a:lnTo>
                        <a:lnTo>
                          <a:pt x="5371" y="7974"/>
                        </a:lnTo>
                        <a:lnTo>
                          <a:pt x="5324" y="8033"/>
                        </a:lnTo>
                        <a:lnTo>
                          <a:pt x="5241" y="8045"/>
                        </a:lnTo>
                        <a:lnTo>
                          <a:pt x="5193" y="8021"/>
                        </a:lnTo>
                        <a:lnTo>
                          <a:pt x="5074" y="8009"/>
                        </a:lnTo>
                        <a:lnTo>
                          <a:pt x="5015" y="7986"/>
                        </a:lnTo>
                        <a:lnTo>
                          <a:pt x="4967" y="7938"/>
                        </a:lnTo>
                        <a:lnTo>
                          <a:pt x="4932" y="7926"/>
                        </a:lnTo>
                        <a:lnTo>
                          <a:pt x="4896" y="7950"/>
                        </a:lnTo>
                        <a:lnTo>
                          <a:pt x="4860" y="7950"/>
                        </a:lnTo>
                        <a:lnTo>
                          <a:pt x="4694" y="7843"/>
                        </a:lnTo>
                        <a:lnTo>
                          <a:pt x="4646" y="7819"/>
                        </a:lnTo>
                        <a:lnTo>
                          <a:pt x="4611" y="7795"/>
                        </a:lnTo>
                        <a:lnTo>
                          <a:pt x="4599" y="7795"/>
                        </a:lnTo>
                        <a:lnTo>
                          <a:pt x="4575" y="7760"/>
                        </a:lnTo>
                        <a:lnTo>
                          <a:pt x="4444" y="7700"/>
                        </a:lnTo>
                        <a:lnTo>
                          <a:pt x="4314" y="7617"/>
                        </a:lnTo>
                        <a:lnTo>
                          <a:pt x="4302" y="7546"/>
                        </a:lnTo>
                        <a:lnTo>
                          <a:pt x="4266" y="7510"/>
                        </a:lnTo>
                        <a:lnTo>
                          <a:pt x="4135" y="7415"/>
                        </a:lnTo>
                        <a:lnTo>
                          <a:pt x="4112" y="7415"/>
                        </a:lnTo>
                        <a:lnTo>
                          <a:pt x="4076" y="7391"/>
                        </a:lnTo>
                        <a:lnTo>
                          <a:pt x="3945" y="7368"/>
                        </a:lnTo>
                        <a:lnTo>
                          <a:pt x="3921" y="7356"/>
                        </a:lnTo>
                        <a:lnTo>
                          <a:pt x="3862" y="7320"/>
                        </a:lnTo>
                        <a:lnTo>
                          <a:pt x="3803" y="7320"/>
                        </a:lnTo>
                        <a:lnTo>
                          <a:pt x="3743" y="7332"/>
                        </a:lnTo>
                        <a:lnTo>
                          <a:pt x="3708" y="7368"/>
                        </a:lnTo>
                        <a:lnTo>
                          <a:pt x="3672" y="7368"/>
                        </a:lnTo>
                        <a:lnTo>
                          <a:pt x="3636" y="7380"/>
                        </a:lnTo>
                        <a:lnTo>
                          <a:pt x="3601" y="7391"/>
                        </a:lnTo>
                        <a:lnTo>
                          <a:pt x="3577" y="7415"/>
                        </a:lnTo>
                        <a:lnTo>
                          <a:pt x="3553" y="7427"/>
                        </a:lnTo>
                        <a:lnTo>
                          <a:pt x="3517" y="7486"/>
                        </a:lnTo>
                        <a:lnTo>
                          <a:pt x="3482" y="7498"/>
                        </a:lnTo>
                        <a:lnTo>
                          <a:pt x="3446" y="7498"/>
                        </a:lnTo>
                        <a:lnTo>
                          <a:pt x="3410" y="7439"/>
                        </a:lnTo>
                        <a:lnTo>
                          <a:pt x="3304" y="7403"/>
                        </a:lnTo>
                        <a:lnTo>
                          <a:pt x="3208" y="7332"/>
                        </a:lnTo>
                        <a:lnTo>
                          <a:pt x="3113" y="7308"/>
                        </a:lnTo>
                        <a:lnTo>
                          <a:pt x="3090" y="7284"/>
                        </a:lnTo>
                        <a:lnTo>
                          <a:pt x="3066" y="7189"/>
                        </a:lnTo>
                        <a:lnTo>
                          <a:pt x="3078" y="7106"/>
                        </a:lnTo>
                        <a:lnTo>
                          <a:pt x="3161" y="6892"/>
                        </a:lnTo>
                        <a:lnTo>
                          <a:pt x="3125" y="6904"/>
                        </a:lnTo>
                        <a:lnTo>
                          <a:pt x="3078" y="6892"/>
                        </a:lnTo>
                        <a:lnTo>
                          <a:pt x="2971" y="6845"/>
                        </a:lnTo>
                        <a:lnTo>
                          <a:pt x="2828" y="6833"/>
                        </a:lnTo>
                        <a:lnTo>
                          <a:pt x="2674" y="6785"/>
                        </a:lnTo>
                        <a:lnTo>
                          <a:pt x="2614" y="6797"/>
                        </a:lnTo>
                        <a:lnTo>
                          <a:pt x="2579" y="6797"/>
                        </a:lnTo>
                        <a:lnTo>
                          <a:pt x="2519" y="6797"/>
                        </a:lnTo>
                        <a:lnTo>
                          <a:pt x="2460" y="6821"/>
                        </a:lnTo>
                        <a:lnTo>
                          <a:pt x="2377" y="6857"/>
                        </a:lnTo>
                        <a:lnTo>
                          <a:pt x="2246" y="6916"/>
                        </a:lnTo>
                        <a:lnTo>
                          <a:pt x="2175" y="6975"/>
                        </a:lnTo>
                        <a:lnTo>
                          <a:pt x="2115" y="6987"/>
                        </a:lnTo>
                        <a:lnTo>
                          <a:pt x="2056" y="7047"/>
                        </a:lnTo>
                        <a:lnTo>
                          <a:pt x="2008" y="7059"/>
                        </a:lnTo>
                        <a:lnTo>
                          <a:pt x="1961" y="7118"/>
                        </a:lnTo>
                        <a:lnTo>
                          <a:pt x="1913" y="7166"/>
                        </a:lnTo>
                        <a:lnTo>
                          <a:pt x="1735" y="7261"/>
                        </a:lnTo>
                        <a:lnTo>
                          <a:pt x="1664" y="7344"/>
                        </a:lnTo>
                        <a:lnTo>
                          <a:pt x="1545" y="7356"/>
                        </a:lnTo>
                        <a:lnTo>
                          <a:pt x="1438" y="7403"/>
                        </a:lnTo>
                        <a:lnTo>
                          <a:pt x="1390" y="7439"/>
                        </a:lnTo>
                        <a:lnTo>
                          <a:pt x="1319" y="7534"/>
                        </a:lnTo>
                        <a:lnTo>
                          <a:pt x="1283" y="7558"/>
                        </a:lnTo>
                        <a:lnTo>
                          <a:pt x="1200" y="7605"/>
                        </a:lnTo>
                        <a:lnTo>
                          <a:pt x="1057" y="7617"/>
                        </a:lnTo>
                        <a:lnTo>
                          <a:pt x="951" y="7724"/>
                        </a:lnTo>
                        <a:lnTo>
                          <a:pt x="879" y="7772"/>
                        </a:lnTo>
                        <a:lnTo>
                          <a:pt x="760" y="7795"/>
                        </a:lnTo>
                        <a:lnTo>
                          <a:pt x="701" y="7819"/>
                        </a:lnTo>
                        <a:lnTo>
                          <a:pt x="618" y="7807"/>
                        </a:lnTo>
                        <a:lnTo>
                          <a:pt x="558" y="7867"/>
                        </a:lnTo>
                        <a:lnTo>
                          <a:pt x="535" y="7879"/>
                        </a:lnTo>
                        <a:lnTo>
                          <a:pt x="487" y="7855"/>
                        </a:lnTo>
                        <a:lnTo>
                          <a:pt x="535" y="7784"/>
                        </a:lnTo>
                        <a:lnTo>
                          <a:pt x="558" y="7736"/>
                        </a:lnTo>
                        <a:lnTo>
                          <a:pt x="606" y="7689"/>
                        </a:lnTo>
                        <a:lnTo>
                          <a:pt x="606" y="7617"/>
                        </a:lnTo>
                        <a:lnTo>
                          <a:pt x="606" y="7534"/>
                        </a:lnTo>
                        <a:lnTo>
                          <a:pt x="570" y="7475"/>
                        </a:lnTo>
                        <a:lnTo>
                          <a:pt x="582" y="7427"/>
                        </a:lnTo>
                        <a:lnTo>
                          <a:pt x="570" y="7320"/>
                        </a:lnTo>
                        <a:lnTo>
                          <a:pt x="570" y="7261"/>
                        </a:lnTo>
                        <a:lnTo>
                          <a:pt x="606" y="7082"/>
                        </a:lnTo>
                        <a:lnTo>
                          <a:pt x="570" y="6975"/>
                        </a:lnTo>
                        <a:lnTo>
                          <a:pt x="594" y="6952"/>
                        </a:lnTo>
                        <a:lnTo>
                          <a:pt x="665" y="6916"/>
                        </a:lnTo>
                        <a:lnTo>
                          <a:pt x="677" y="6857"/>
                        </a:lnTo>
                        <a:lnTo>
                          <a:pt x="618" y="6750"/>
                        </a:lnTo>
                        <a:lnTo>
                          <a:pt x="535" y="6702"/>
                        </a:lnTo>
                        <a:lnTo>
                          <a:pt x="475" y="6631"/>
                        </a:lnTo>
                        <a:lnTo>
                          <a:pt x="404" y="6607"/>
                        </a:lnTo>
                        <a:lnTo>
                          <a:pt x="368" y="6560"/>
                        </a:lnTo>
                        <a:lnTo>
                          <a:pt x="344" y="6464"/>
                        </a:lnTo>
                        <a:lnTo>
                          <a:pt x="333" y="6381"/>
                        </a:lnTo>
                        <a:lnTo>
                          <a:pt x="321" y="6298"/>
                        </a:lnTo>
                        <a:lnTo>
                          <a:pt x="321" y="6191"/>
                        </a:lnTo>
                        <a:lnTo>
                          <a:pt x="356" y="6037"/>
                        </a:lnTo>
                        <a:lnTo>
                          <a:pt x="404" y="5942"/>
                        </a:lnTo>
                        <a:lnTo>
                          <a:pt x="416" y="5906"/>
                        </a:lnTo>
                        <a:lnTo>
                          <a:pt x="404" y="5882"/>
                        </a:lnTo>
                        <a:lnTo>
                          <a:pt x="368" y="5870"/>
                        </a:lnTo>
                        <a:lnTo>
                          <a:pt x="356" y="5835"/>
                        </a:lnTo>
                        <a:lnTo>
                          <a:pt x="368" y="5763"/>
                        </a:lnTo>
                        <a:lnTo>
                          <a:pt x="392" y="5728"/>
                        </a:lnTo>
                        <a:lnTo>
                          <a:pt x="440" y="5680"/>
                        </a:lnTo>
                        <a:lnTo>
                          <a:pt x="546" y="5621"/>
                        </a:lnTo>
                        <a:lnTo>
                          <a:pt x="582" y="5573"/>
                        </a:lnTo>
                        <a:lnTo>
                          <a:pt x="582" y="5549"/>
                        </a:lnTo>
                        <a:lnTo>
                          <a:pt x="558" y="5549"/>
                        </a:lnTo>
                        <a:lnTo>
                          <a:pt x="499" y="5561"/>
                        </a:lnTo>
                        <a:lnTo>
                          <a:pt x="463" y="5597"/>
                        </a:lnTo>
                        <a:lnTo>
                          <a:pt x="416" y="5609"/>
                        </a:lnTo>
                        <a:lnTo>
                          <a:pt x="416" y="5621"/>
                        </a:lnTo>
                        <a:lnTo>
                          <a:pt x="380" y="5621"/>
                        </a:lnTo>
                        <a:lnTo>
                          <a:pt x="333" y="5633"/>
                        </a:lnTo>
                        <a:lnTo>
                          <a:pt x="321" y="5621"/>
                        </a:lnTo>
                        <a:lnTo>
                          <a:pt x="309" y="5609"/>
                        </a:lnTo>
                        <a:lnTo>
                          <a:pt x="285" y="5549"/>
                        </a:lnTo>
                        <a:lnTo>
                          <a:pt x="273" y="5419"/>
                        </a:lnTo>
                        <a:lnTo>
                          <a:pt x="297" y="5371"/>
                        </a:lnTo>
                        <a:lnTo>
                          <a:pt x="297" y="5336"/>
                        </a:lnTo>
                        <a:lnTo>
                          <a:pt x="309" y="5288"/>
                        </a:lnTo>
                        <a:lnTo>
                          <a:pt x="356" y="5252"/>
                        </a:lnTo>
                        <a:lnTo>
                          <a:pt x="392" y="5229"/>
                        </a:lnTo>
                        <a:lnTo>
                          <a:pt x="451" y="5205"/>
                        </a:lnTo>
                        <a:lnTo>
                          <a:pt x="523" y="5157"/>
                        </a:lnTo>
                        <a:lnTo>
                          <a:pt x="523" y="5145"/>
                        </a:lnTo>
                        <a:lnTo>
                          <a:pt x="523" y="5122"/>
                        </a:lnTo>
                        <a:lnTo>
                          <a:pt x="511" y="5110"/>
                        </a:lnTo>
                        <a:lnTo>
                          <a:pt x="487" y="5110"/>
                        </a:lnTo>
                        <a:lnTo>
                          <a:pt x="404" y="5157"/>
                        </a:lnTo>
                        <a:lnTo>
                          <a:pt x="344" y="5145"/>
                        </a:lnTo>
                        <a:lnTo>
                          <a:pt x="321" y="5110"/>
                        </a:lnTo>
                        <a:lnTo>
                          <a:pt x="321" y="5038"/>
                        </a:lnTo>
                        <a:lnTo>
                          <a:pt x="321" y="4825"/>
                        </a:lnTo>
                        <a:lnTo>
                          <a:pt x="333" y="4741"/>
                        </a:lnTo>
                        <a:lnTo>
                          <a:pt x="404" y="4587"/>
                        </a:lnTo>
                        <a:lnTo>
                          <a:pt x="392" y="4539"/>
                        </a:lnTo>
                        <a:lnTo>
                          <a:pt x="297" y="4456"/>
                        </a:lnTo>
                        <a:lnTo>
                          <a:pt x="273" y="4409"/>
                        </a:lnTo>
                        <a:lnTo>
                          <a:pt x="261" y="4361"/>
                        </a:lnTo>
                        <a:lnTo>
                          <a:pt x="237" y="4171"/>
                        </a:lnTo>
                        <a:lnTo>
                          <a:pt x="226" y="4135"/>
                        </a:lnTo>
                        <a:lnTo>
                          <a:pt x="214" y="4111"/>
                        </a:lnTo>
                        <a:lnTo>
                          <a:pt x="237" y="4052"/>
                        </a:lnTo>
                        <a:lnTo>
                          <a:pt x="273" y="3993"/>
                        </a:lnTo>
                        <a:lnTo>
                          <a:pt x="344" y="3969"/>
                        </a:lnTo>
                        <a:lnTo>
                          <a:pt x="451" y="3957"/>
                        </a:lnTo>
                        <a:lnTo>
                          <a:pt x="487" y="3933"/>
                        </a:lnTo>
                        <a:lnTo>
                          <a:pt x="499" y="3921"/>
                        </a:lnTo>
                        <a:lnTo>
                          <a:pt x="463" y="3886"/>
                        </a:lnTo>
                        <a:lnTo>
                          <a:pt x="309" y="3886"/>
                        </a:lnTo>
                        <a:lnTo>
                          <a:pt x="273" y="3862"/>
                        </a:lnTo>
                        <a:lnTo>
                          <a:pt x="273" y="3791"/>
                        </a:lnTo>
                        <a:lnTo>
                          <a:pt x="297" y="3731"/>
                        </a:lnTo>
                        <a:lnTo>
                          <a:pt x="368" y="3636"/>
                        </a:lnTo>
                        <a:lnTo>
                          <a:pt x="356" y="3636"/>
                        </a:lnTo>
                        <a:lnTo>
                          <a:pt x="356" y="3589"/>
                        </a:lnTo>
                        <a:lnTo>
                          <a:pt x="356" y="3565"/>
                        </a:lnTo>
                        <a:lnTo>
                          <a:pt x="392" y="3565"/>
                        </a:lnTo>
                        <a:lnTo>
                          <a:pt x="416" y="3589"/>
                        </a:lnTo>
                        <a:lnTo>
                          <a:pt x="451" y="3612"/>
                        </a:lnTo>
                        <a:lnTo>
                          <a:pt x="487" y="3600"/>
                        </a:lnTo>
                        <a:lnTo>
                          <a:pt x="523" y="3589"/>
                        </a:lnTo>
                        <a:lnTo>
                          <a:pt x="546" y="3565"/>
                        </a:lnTo>
                        <a:lnTo>
                          <a:pt x="546" y="3541"/>
                        </a:lnTo>
                        <a:lnTo>
                          <a:pt x="523" y="3517"/>
                        </a:lnTo>
                        <a:lnTo>
                          <a:pt x="451" y="3494"/>
                        </a:lnTo>
                        <a:lnTo>
                          <a:pt x="333" y="3446"/>
                        </a:lnTo>
                        <a:lnTo>
                          <a:pt x="226" y="3434"/>
                        </a:lnTo>
                        <a:lnTo>
                          <a:pt x="166" y="3410"/>
                        </a:lnTo>
                        <a:lnTo>
                          <a:pt x="142" y="3375"/>
                        </a:lnTo>
                        <a:lnTo>
                          <a:pt x="119" y="3303"/>
                        </a:lnTo>
                        <a:lnTo>
                          <a:pt x="71" y="3280"/>
                        </a:lnTo>
                        <a:lnTo>
                          <a:pt x="12" y="3232"/>
                        </a:lnTo>
                        <a:lnTo>
                          <a:pt x="0" y="3185"/>
                        </a:lnTo>
                        <a:lnTo>
                          <a:pt x="0" y="3137"/>
                        </a:lnTo>
                        <a:lnTo>
                          <a:pt x="0" y="3113"/>
                        </a:lnTo>
                        <a:lnTo>
                          <a:pt x="24" y="3054"/>
                        </a:lnTo>
                        <a:lnTo>
                          <a:pt x="95" y="3006"/>
                        </a:lnTo>
                        <a:lnTo>
                          <a:pt x="131" y="2959"/>
                        </a:lnTo>
                        <a:lnTo>
                          <a:pt x="95" y="2899"/>
                        </a:lnTo>
                        <a:lnTo>
                          <a:pt x="95" y="2876"/>
                        </a:lnTo>
                        <a:lnTo>
                          <a:pt x="119" y="2840"/>
                        </a:lnTo>
                        <a:lnTo>
                          <a:pt x="214" y="2804"/>
                        </a:lnTo>
                        <a:lnTo>
                          <a:pt x="261" y="2757"/>
                        </a:lnTo>
                        <a:lnTo>
                          <a:pt x="333" y="2733"/>
                        </a:lnTo>
                        <a:lnTo>
                          <a:pt x="368" y="2697"/>
                        </a:lnTo>
                        <a:lnTo>
                          <a:pt x="380" y="2602"/>
                        </a:lnTo>
                        <a:lnTo>
                          <a:pt x="392" y="2590"/>
                        </a:lnTo>
                        <a:lnTo>
                          <a:pt x="392" y="2578"/>
                        </a:lnTo>
                        <a:lnTo>
                          <a:pt x="487" y="2460"/>
                        </a:lnTo>
                        <a:lnTo>
                          <a:pt x="499" y="2448"/>
                        </a:lnTo>
                        <a:lnTo>
                          <a:pt x="535" y="2412"/>
                        </a:lnTo>
                        <a:lnTo>
                          <a:pt x="570" y="2388"/>
                        </a:lnTo>
                        <a:lnTo>
                          <a:pt x="570" y="2376"/>
                        </a:lnTo>
                        <a:lnTo>
                          <a:pt x="582" y="2376"/>
                        </a:lnTo>
                        <a:lnTo>
                          <a:pt x="701" y="2317"/>
                        </a:lnTo>
                        <a:lnTo>
                          <a:pt x="749" y="2305"/>
                        </a:lnTo>
                        <a:lnTo>
                          <a:pt x="820" y="2234"/>
                        </a:lnTo>
                        <a:lnTo>
                          <a:pt x="867" y="2210"/>
                        </a:lnTo>
                        <a:lnTo>
                          <a:pt x="915" y="2198"/>
                        </a:lnTo>
                        <a:lnTo>
                          <a:pt x="927" y="2174"/>
                        </a:lnTo>
                        <a:lnTo>
                          <a:pt x="951" y="2079"/>
                        </a:lnTo>
                        <a:lnTo>
                          <a:pt x="962" y="2067"/>
                        </a:lnTo>
                        <a:lnTo>
                          <a:pt x="1057" y="2032"/>
                        </a:lnTo>
                        <a:lnTo>
                          <a:pt x="1093" y="1984"/>
                        </a:lnTo>
                        <a:lnTo>
                          <a:pt x="1105" y="1901"/>
                        </a:lnTo>
                        <a:lnTo>
                          <a:pt x="1093" y="1854"/>
                        </a:lnTo>
                        <a:lnTo>
                          <a:pt x="1093" y="1854"/>
                        </a:lnTo>
                        <a:lnTo>
                          <a:pt x="1117" y="1830"/>
                        </a:lnTo>
                        <a:lnTo>
                          <a:pt x="1153" y="1794"/>
                        </a:lnTo>
                        <a:lnTo>
                          <a:pt x="1212" y="1770"/>
                        </a:lnTo>
                        <a:lnTo>
                          <a:pt x="1260" y="1782"/>
                        </a:lnTo>
                        <a:lnTo>
                          <a:pt x="1283" y="1806"/>
                        </a:lnTo>
                        <a:lnTo>
                          <a:pt x="1295" y="1925"/>
                        </a:lnTo>
                        <a:lnTo>
                          <a:pt x="1331" y="1984"/>
                        </a:lnTo>
                        <a:lnTo>
                          <a:pt x="1331" y="2056"/>
                        </a:lnTo>
                        <a:lnTo>
                          <a:pt x="1343" y="2127"/>
                        </a:lnTo>
                        <a:lnTo>
                          <a:pt x="1378" y="2222"/>
                        </a:lnTo>
                        <a:lnTo>
                          <a:pt x="1390" y="2317"/>
                        </a:lnTo>
                        <a:lnTo>
                          <a:pt x="1414" y="2365"/>
                        </a:lnTo>
                        <a:lnTo>
                          <a:pt x="1497" y="2412"/>
                        </a:lnTo>
                        <a:lnTo>
                          <a:pt x="1533" y="2448"/>
                        </a:lnTo>
                        <a:lnTo>
                          <a:pt x="1545" y="2507"/>
                        </a:lnTo>
                        <a:lnTo>
                          <a:pt x="1568" y="2567"/>
                        </a:lnTo>
                        <a:lnTo>
                          <a:pt x="1604" y="2590"/>
                        </a:lnTo>
                        <a:lnTo>
                          <a:pt x="1735" y="2650"/>
                        </a:lnTo>
                        <a:lnTo>
                          <a:pt x="1866" y="2674"/>
                        </a:lnTo>
                        <a:lnTo>
                          <a:pt x="1949" y="2733"/>
                        </a:lnTo>
                        <a:lnTo>
                          <a:pt x="2008" y="2745"/>
                        </a:lnTo>
                        <a:lnTo>
                          <a:pt x="2079" y="2721"/>
                        </a:lnTo>
                        <a:lnTo>
                          <a:pt x="2127" y="2685"/>
                        </a:lnTo>
                        <a:lnTo>
                          <a:pt x="2186" y="2602"/>
                        </a:lnTo>
                        <a:lnTo>
                          <a:pt x="2282" y="2578"/>
                        </a:lnTo>
                        <a:lnTo>
                          <a:pt x="2293" y="2555"/>
                        </a:lnTo>
                        <a:lnTo>
                          <a:pt x="2305" y="2495"/>
                        </a:lnTo>
                        <a:lnTo>
                          <a:pt x="2317" y="2483"/>
                        </a:lnTo>
                        <a:lnTo>
                          <a:pt x="2365" y="2436"/>
                        </a:lnTo>
                        <a:lnTo>
                          <a:pt x="2412" y="2424"/>
                        </a:lnTo>
                        <a:lnTo>
                          <a:pt x="2412" y="2412"/>
                        </a:lnTo>
                        <a:lnTo>
                          <a:pt x="2448" y="2400"/>
                        </a:lnTo>
                        <a:lnTo>
                          <a:pt x="2484" y="2400"/>
                        </a:lnTo>
                        <a:lnTo>
                          <a:pt x="2519" y="2424"/>
                        </a:lnTo>
                        <a:lnTo>
                          <a:pt x="2555" y="2424"/>
                        </a:lnTo>
                        <a:lnTo>
                          <a:pt x="2614" y="2388"/>
                        </a:lnTo>
                        <a:lnTo>
                          <a:pt x="2662" y="2353"/>
                        </a:lnTo>
                        <a:lnTo>
                          <a:pt x="2674" y="2341"/>
                        </a:lnTo>
                        <a:lnTo>
                          <a:pt x="2769" y="2400"/>
                        </a:lnTo>
                        <a:lnTo>
                          <a:pt x="2804" y="2424"/>
                        </a:lnTo>
                        <a:lnTo>
                          <a:pt x="2876" y="2412"/>
                        </a:lnTo>
                        <a:lnTo>
                          <a:pt x="2947" y="2376"/>
                        </a:lnTo>
                        <a:lnTo>
                          <a:pt x="2995" y="2341"/>
                        </a:lnTo>
                        <a:lnTo>
                          <a:pt x="3018" y="2305"/>
                        </a:lnTo>
                        <a:lnTo>
                          <a:pt x="3042" y="2234"/>
                        </a:lnTo>
                        <a:lnTo>
                          <a:pt x="3054" y="2151"/>
                        </a:lnTo>
                        <a:lnTo>
                          <a:pt x="3101" y="2151"/>
                        </a:lnTo>
                        <a:lnTo>
                          <a:pt x="3113" y="2163"/>
                        </a:lnTo>
                        <a:lnTo>
                          <a:pt x="3161" y="2174"/>
                        </a:lnTo>
                        <a:lnTo>
                          <a:pt x="3197" y="2151"/>
                        </a:lnTo>
                        <a:lnTo>
                          <a:pt x="3220" y="2103"/>
                        </a:lnTo>
                        <a:lnTo>
                          <a:pt x="3268" y="2067"/>
                        </a:lnTo>
                        <a:lnTo>
                          <a:pt x="3315" y="1961"/>
                        </a:lnTo>
                        <a:lnTo>
                          <a:pt x="3315" y="1949"/>
                        </a:lnTo>
                        <a:lnTo>
                          <a:pt x="3351" y="1901"/>
                        </a:lnTo>
                        <a:lnTo>
                          <a:pt x="3351" y="1865"/>
                        </a:lnTo>
                        <a:lnTo>
                          <a:pt x="3375" y="1818"/>
                        </a:lnTo>
                        <a:lnTo>
                          <a:pt x="3410" y="1782"/>
                        </a:lnTo>
                        <a:lnTo>
                          <a:pt x="3458" y="1759"/>
                        </a:lnTo>
                        <a:lnTo>
                          <a:pt x="3494" y="1711"/>
                        </a:lnTo>
                        <a:lnTo>
                          <a:pt x="3506" y="1699"/>
                        </a:lnTo>
                        <a:lnTo>
                          <a:pt x="3470" y="1652"/>
                        </a:lnTo>
                        <a:lnTo>
                          <a:pt x="3482" y="1640"/>
                        </a:lnTo>
                        <a:lnTo>
                          <a:pt x="3482" y="1580"/>
                        </a:lnTo>
                        <a:lnTo>
                          <a:pt x="3506" y="1497"/>
                        </a:lnTo>
                        <a:lnTo>
                          <a:pt x="3470" y="1450"/>
                        </a:lnTo>
                        <a:lnTo>
                          <a:pt x="3410" y="1402"/>
                        </a:lnTo>
                        <a:lnTo>
                          <a:pt x="3375" y="1366"/>
                        </a:lnTo>
                        <a:lnTo>
                          <a:pt x="3375" y="1366"/>
                        </a:lnTo>
                        <a:lnTo>
                          <a:pt x="3292" y="1188"/>
                        </a:lnTo>
                        <a:lnTo>
                          <a:pt x="3292" y="1117"/>
                        </a:lnTo>
                        <a:lnTo>
                          <a:pt x="3315" y="1069"/>
                        </a:lnTo>
                        <a:lnTo>
                          <a:pt x="3375" y="1010"/>
                        </a:lnTo>
                        <a:lnTo>
                          <a:pt x="3470" y="962"/>
                        </a:lnTo>
                        <a:lnTo>
                          <a:pt x="3565" y="867"/>
                        </a:lnTo>
                        <a:lnTo>
                          <a:pt x="3660" y="832"/>
                        </a:lnTo>
                        <a:lnTo>
                          <a:pt x="3696" y="808"/>
                        </a:lnTo>
                        <a:lnTo>
                          <a:pt x="3719" y="784"/>
                        </a:lnTo>
                        <a:lnTo>
                          <a:pt x="3743" y="772"/>
                        </a:lnTo>
                        <a:lnTo>
                          <a:pt x="3767" y="784"/>
                        </a:lnTo>
                        <a:lnTo>
                          <a:pt x="3803" y="808"/>
                        </a:lnTo>
                        <a:lnTo>
                          <a:pt x="3862" y="915"/>
                        </a:lnTo>
                        <a:lnTo>
                          <a:pt x="3874" y="903"/>
                        </a:lnTo>
                        <a:lnTo>
                          <a:pt x="3921" y="939"/>
                        </a:lnTo>
                        <a:lnTo>
                          <a:pt x="3981" y="962"/>
                        </a:lnTo>
                        <a:lnTo>
                          <a:pt x="4040" y="974"/>
                        </a:lnTo>
                        <a:lnTo>
                          <a:pt x="4100" y="974"/>
                        </a:lnTo>
                        <a:lnTo>
                          <a:pt x="4171" y="950"/>
                        </a:lnTo>
                        <a:lnTo>
                          <a:pt x="4242" y="950"/>
                        </a:lnTo>
                        <a:lnTo>
                          <a:pt x="4290" y="974"/>
                        </a:lnTo>
                        <a:lnTo>
                          <a:pt x="4337" y="1022"/>
                        </a:lnTo>
                        <a:lnTo>
                          <a:pt x="4373" y="1081"/>
                        </a:lnTo>
                        <a:lnTo>
                          <a:pt x="4397" y="1081"/>
                        </a:lnTo>
                        <a:lnTo>
                          <a:pt x="4432" y="1069"/>
                        </a:lnTo>
                        <a:lnTo>
                          <a:pt x="4456" y="1081"/>
                        </a:lnTo>
                        <a:lnTo>
                          <a:pt x="4468" y="1093"/>
                        </a:lnTo>
                        <a:lnTo>
                          <a:pt x="4480" y="1164"/>
                        </a:lnTo>
                        <a:lnTo>
                          <a:pt x="4504" y="1212"/>
                        </a:lnTo>
                        <a:lnTo>
                          <a:pt x="4528" y="1212"/>
                        </a:lnTo>
                        <a:lnTo>
                          <a:pt x="4575" y="1188"/>
                        </a:lnTo>
                        <a:lnTo>
                          <a:pt x="4611" y="1152"/>
                        </a:lnTo>
                        <a:lnTo>
                          <a:pt x="4611" y="1141"/>
                        </a:lnTo>
                        <a:lnTo>
                          <a:pt x="4670" y="1117"/>
                        </a:lnTo>
                        <a:lnTo>
                          <a:pt x="4718" y="1117"/>
                        </a:lnTo>
                        <a:lnTo>
                          <a:pt x="4741" y="1117"/>
                        </a:lnTo>
                        <a:lnTo>
                          <a:pt x="4789" y="1081"/>
                        </a:lnTo>
                        <a:lnTo>
                          <a:pt x="4860" y="1069"/>
                        </a:lnTo>
                        <a:lnTo>
                          <a:pt x="4932" y="1010"/>
                        </a:lnTo>
                        <a:lnTo>
                          <a:pt x="4991" y="998"/>
                        </a:lnTo>
                        <a:lnTo>
                          <a:pt x="5027" y="950"/>
                        </a:lnTo>
                        <a:lnTo>
                          <a:pt x="5122" y="855"/>
                        </a:lnTo>
                        <a:lnTo>
                          <a:pt x="5169" y="843"/>
                        </a:lnTo>
                        <a:lnTo>
                          <a:pt x="5229" y="843"/>
                        </a:lnTo>
                        <a:lnTo>
                          <a:pt x="5348" y="820"/>
                        </a:lnTo>
                        <a:lnTo>
                          <a:pt x="5502" y="772"/>
                        </a:lnTo>
                        <a:lnTo>
                          <a:pt x="5561" y="784"/>
                        </a:lnTo>
                        <a:lnTo>
                          <a:pt x="5597" y="784"/>
                        </a:lnTo>
                        <a:lnTo>
                          <a:pt x="5657" y="760"/>
                        </a:lnTo>
                        <a:lnTo>
                          <a:pt x="5740" y="725"/>
                        </a:lnTo>
                        <a:lnTo>
                          <a:pt x="5835" y="641"/>
                        </a:lnTo>
                        <a:lnTo>
                          <a:pt x="5859" y="618"/>
                        </a:lnTo>
                        <a:lnTo>
                          <a:pt x="5882" y="534"/>
                        </a:lnTo>
                        <a:lnTo>
                          <a:pt x="5894" y="523"/>
                        </a:lnTo>
                        <a:lnTo>
                          <a:pt x="6025" y="463"/>
                        </a:lnTo>
                        <a:lnTo>
                          <a:pt x="6072" y="439"/>
                        </a:lnTo>
                        <a:lnTo>
                          <a:pt x="6120" y="392"/>
                        </a:lnTo>
                        <a:lnTo>
                          <a:pt x="6156" y="321"/>
                        </a:lnTo>
                        <a:lnTo>
                          <a:pt x="6191" y="285"/>
                        </a:lnTo>
                        <a:lnTo>
                          <a:pt x="6310" y="202"/>
                        </a:lnTo>
                        <a:lnTo>
                          <a:pt x="6310" y="202"/>
                        </a:lnTo>
                        <a:lnTo>
                          <a:pt x="6405" y="142"/>
                        </a:lnTo>
                        <a:lnTo>
                          <a:pt x="6310" y="202"/>
                        </a:lnTo>
                        <a:lnTo>
                          <a:pt x="6322" y="214"/>
                        </a:lnTo>
                        <a:lnTo>
                          <a:pt x="6370" y="237"/>
                        </a:lnTo>
                        <a:lnTo>
                          <a:pt x="6477" y="214"/>
                        </a:lnTo>
                        <a:lnTo>
                          <a:pt x="6536" y="214"/>
                        </a:lnTo>
                        <a:lnTo>
                          <a:pt x="6572" y="225"/>
                        </a:lnTo>
                        <a:lnTo>
                          <a:pt x="6583" y="285"/>
                        </a:lnTo>
                        <a:lnTo>
                          <a:pt x="6595" y="297"/>
                        </a:lnTo>
                        <a:lnTo>
                          <a:pt x="6643" y="309"/>
                        </a:lnTo>
                        <a:lnTo>
                          <a:pt x="6667" y="321"/>
                        </a:lnTo>
                        <a:lnTo>
                          <a:pt x="6667" y="380"/>
                        </a:lnTo>
                        <a:lnTo>
                          <a:pt x="6690" y="392"/>
                        </a:lnTo>
                        <a:lnTo>
                          <a:pt x="6762" y="380"/>
                        </a:lnTo>
                        <a:lnTo>
                          <a:pt x="6797" y="404"/>
                        </a:lnTo>
                        <a:lnTo>
                          <a:pt x="6845" y="475"/>
                        </a:lnTo>
                        <a:lnTo>
                          <a:pt x="6857" y="546"/>
                        </a:lnTo>
                        <a:lnTo>
                          <a:pt x="6892" y="594"/>
                        </a:lnTo>
                        <a:lnTo>
                          <a:pt x="6857" y="641"/>
                        </a:lnTo>
                        <a:lnTo>
                          <a:pt x="6857" y="689"/>
                        </a:lnTo>
                        <a:lnTo>
                          <a:pt x="6857" y="713"/>
                        </a:lnTo>
                        <a:lnTo>
                          <a:pt x="6892" y="760"/>
                        </a:lnTo>
                        <a:lnTo>
                          <a:pt x="6916" y="784"/>
                        </a:lnTo>
                        <a:lnTo>
                          <a:pt x="6964" y="808"/>
                        </a:lnTo>
                        <a:lnTo>
                          <a:pt x="6999" y="820"/>
                        </a:lnTo>
                        <a:lnTo>
                          <a:pt x="6999" y="808"/>
                        </a:lnTo>
                        <a:lnTo>
                          <a:pt x="7035" y="808"/>
                        </a:lnTo>
                        <a:lnTo>
                          <a:pt x="7047" y="832"/>
                        </a:lnTo>
                        <a:lnTo>
                          <a:pt x="7047" y="879"/>
                        </a:lnTo>
                        <a:lnTo>
                          <a:pt x="7023" y="1010"/>
                        </a:lnTo>
                        <a:lnTo>
                          <a:pt x="6999" y="1069"/>
                        </a:lnTo>
                        <a:lnTo>
                          <a:pt x="6976" y="1093"/>
                        </a:lnTo>
                        <a:lnTo>
                          <a:pt x="6952" y="1093"/>
                        </a:lnTo>
                        <a:lnTo>
                          <a:pt x="6952" y="1117"/>
                        </a:lnTo>
                        <a:lnTo>
                          <a:pt x="7118" y="1117"/>
                        </a:lnTo>
                        <a:lnTo>
                          <a:pt x="7201" y="1105"/>
                        </a:lnTo>
                        <a:lnTo>
                          <a:pt x="7213" y="1105"/>
                        </a:lnTo>
                        <a:lnTo>
                          <a:pt x="7249" y="1069"/>
                        </a:lnTo>
                        <a:lnTo>
                          <a:pt x="7332" y="986"/>
                        </a:lnTo>
                        <a:lnTo>
                          <a:pt x="7427" y="974"/>
                        </a:lnTo>
                        <a:lnTo>
                          <a:pt x="7475" y="903"/>
                        </a:lnTo>
                        <a:lnTo>
                          <a:pt x="7510" y="796"/>
                        </a:lnTo>
                        <a:lnTo>
                          <a:pt x="7510" y="748"/>
                        </a:lnTo>
                        <a:lnTo>
                          <a:pt x="7534" y="689"/>
                        </a:lnTo>
                        <a:lnTo>
                          <a:pt x="7546" y="665"/>
                        </a:lnTo>
                        <a:lnTo>
                          <a:pt x="7570" y="641"/>
                        </a:lnTo>
                        <a:lnTo>
                          <a:pt x="7617" y="630"/>
                        </a:lnTo>
                        <a:lnTo>
                          <a:pt x="7629" y="630"/>
                        </a:lnTo>
                        <a:lnTo>
                          <a:pt x="7665" y="665"/>
                        </a:lnTo>
                        <a:lnTo>
                          <a:pt x="7724" y="665"/>
                        </a:lnTo>
                        <a:lnTo>
                          <a:pt x="7807" y="641"/>
                        </a:lnTo>
                        <a:lnTo>
                          <a:pt x="7867" y="641"/>
                        </a:lnTo>
                        <a:lnTo>
                          <a:pt x="7926" y="618"/>
                        </a:lnTo>
                        <a:lnTo>
                          <a:pt x="7950" y="606"/>
                        </a:lnTo>
                        <a:lnTo>
                          <a:pt x="7974" y="558"/>
                        </a:lnTo>
                        <a:lnTo>
                          <a:pt x="7998" y="499"/>
                        </a:lnTo>
                        <a:lnTo>
                          <a:pt x="8010" y="404"/>
                        </a:lnTo>
                        <a:lnTo>
                          <a:pt x="8021" y="368"/>
                        </a:lnTo>
                        <a:lnTo>
                          <a:pt x="8128" y="332"/>
                        </a:lnTo>
                        <a:lnTo>
                          <a:pt x="8164" y="297"/>
                        </a:lnTo>
                        <a:lnTo>
                          <a:pt x="8212" y="285"/>
                        </a:lnTo>
                        <a:lnTo>
                          <a:pt x="8235" y="249"/>
                        </a:lnTo>
                        <a:lnTo>
                          <a:pt x="8235" y="214"/>
                        </a:lnTo>
                        <a:lnTo>
                          <a:pt x="8247" y="190"/>
                        </a:lnTo>
                        <a:lnTo>
                          <a:pt x="8330" y="166"/>
                        </a:lnTo>
                        <a:lnTo>
                          <a:pt x="8414" y="107"/>
                        </a:lnTo>
                        <a:lnTo>
                          <a:pt x="8509" y="83"/>
                        </a:lnTo>
                        <a:lnTo>
                          <a:pt x="8532" y="71"/>
                        </a:lnTo>
                        <a:lnTo>
                          <a:pt x="8556" y="23"/>
                        </a:lnTo>
                        <a:lnTo>
                          <a:pt x="8568" y="12"/>
                        </a:lnTo>
                        <a:lnTo>
                          <a:pt x="8651" y="0"/>
                        </a:lnTo>
                        <a:lnTo>
                          <a:pt x="8711" y="35"/>
                        </a:lnTo>
                        <a:lnTo>
                          <a:pt x="8758" y="142"/>
                        </a:lnTo>
                        <a:lnTo>
                          <a:pt x="8830" y="214"/>
                        </a:lnTo>
                        <a:lnTo>
                          <a:pt x="8841" y="237"/>
                        </a:lnTo>
                        <a:lnTo>
                          <a:pt x="8901" y="261"/>
                        </a:lnTo>
                        <a:lnTo>
                          <a:pt x="8972" y="261"/>
                        </a:lnTo>
                        <a:lnTo>
                          <a:pt x="8996" y="261"/>
                        </a:lnTo>
                        <a:lnTo>
                          <a:pt x="9032" y="273"/>
                        </a:lnTo>
                        <a:lnTo>
                          <a:pt x="9079" y="356"/>
                        </a:lnTo>
                        <a:lnTo>
                          <a:pt x="9091" y="368"/>
                        </a:lnTo>
                        <a:lnTo>
                          <a:pt x="9138" y="380"/>
                        </a:lnTo>
                        <a:lnTo>
                          <a:pt x="9222" y="356"/>
                        </a:lnTo>
                        <a:lnTo>
                          <a:pt x="9257" y="368"/>
                        </a:lnTo>
                        <a:lnTo>
                          <a:pt x="9364" y="428"/>
                        </a:lnTo>
                        <a:lnTo>
                          <a:pt x="9388" y="439"/>
                        </a:lnTo>
                        <a:lnTo>
                          <a:pt x="9436" y="558"/>
                        </a:lnTo>
                        <a:lnTo>
                          <a:pt x="9471" y="570"/>
                        </a:lnTo>
                        <a:lnTo>
                          <a:pt x="9483" y="570"/>
                        </a:lnTo>
                        <a:lnTo>
                          <a:pt x="9495" y="546"/>
                        </a:lnTo>
                        <a:lnTo>
                          <a:pt x="9519" y="463"/>
                        </a:lnTo>
                        <a:lnTo>
                          <a:pt x="9543" y="439"/>
                        </a:lnTo>
                        <a:lnTo>
                          <a:pt x="9578" y="428"/>
                        </a:lnTo>
                        <a:lnTo>
                          <a:pt x="9638" y="428"/>
                        </a:lnTo>
                        <a:lnTo>
                          <a:pt x="9649" y="439"/>
                        </a:lnTo>
                        <a:lnTo>
                          <a:pt x="9661" y="463"/>
                        </a:lnTo>
                        <a:lnTo>
                          <a:pt x="9661" y="499"/>
                        </a:lnTo>
                        <a:lnTo>
                          <a:pt x="9602" y="582"/>
                        </a:lnTo>
                        <a:lnTo>
                          <a:pt x="9626" y="630"/>
                        </a:lnTo>
                        <a:lnTo>
                          <a:pt x="9661" y="665"/>
                        </a:lnTo>
                        <a:lnTo>
                          <a:pt x="9709" y="689"/>
                        </a:lnTo>
                        <a:lnTo>
                          <a:pt x="9780" y="653"/>
                        </a:lnTo>
                        <a:lnTo>
                          <a:pt x="9828" y="677"/>
                        </a:lnTo>
                        <a:lnTo>
                          <a:pt x="9828" y="701"/>
                        </a:lnTo>
                        <a:lnTo>
                          <a:pt x="9828" y="772"/>
                        </a:lnTo>
                        <a:lnTo>
                          <a:pt x="9852" y="843"/>
                        </a:lnTo>
                        <a:lnTo>
                          <a:pt x="9852" y="903"/>
                        </a:lnTo>
                        <a:lnTo>
                          <a:pt x="9875" y="986"/>
                        </a:lnTo>
                        <a:lnTo>
                          <a:pt x="9875" y="1022"/>
                        </a:lnTo>
                        <a:lnTo>
                          <a:pt x="9899" y="1093"/>
                        </a:lnTo>
                        <a:lnTo>
                          <a:pt x="9911" y="1117"/>
                        </a:lnTo>
                        <a:lnTo>
                          <a:pt x="9923" y="1141"/>
                        </a:lnTo>
                        <a:lnTo>
                          <a:pt x="9923" y="1141"/>
                        </a:lnTo>
                        <a:lnTo>
                          <a:pt x="9947" y="1164"/>
                        </a:lnTo>
                        <a:lnTo>
                          <a:pt x="9970" y="1188"/>
                        </a:lnTo>
                        <a:lnTo>
                          <a:pt x="9982" y="1212"/>
                        </a:lnTo>
                        <a:lnTo>
                          <a:pt x="10006" y="1224"/>
                        </a:lnTo>
                        <a:lnTo>
                          <a:pt x="10030" y="1247"/>
                        </a:lnTo>
                        <a:lnTo>
                          <a:pt x="10054" y="1271"/>
                        </a:lnTo>
                        <a:lnTo>
                          <a:pt x="10101" y="1295"/>
                        </a:lnTo>
                        <a:lnTo>
                          <a:pt x="10149" y="1319"/>
                        </a:lnTo>
                        <a:lnTo>
                          <a:pt x="10149" y="1319"/>
                        </a:lnTo>
                        <a:lnTo>
                          <a:pt x="10125" y="1414"/>
                        </a:lnTo>
                        <a:lnTo>
                          <a:pt x="10196" y="1485"/>
                        </a:lnTo>
                        <a:lnTo>
                          <a:pt x="10172" y="1568"/>
                        </a:lnTo>
                        <a:lnTo>
                          <a:pt x="10172" y="1628"/>
                        </a:lnTo>
                        <a:lnTo>
                          <a:pt x="10196" y="1687"/>
                        </a:lnTo>
                        <a:lnTo>
                          <a:pt x="10244" y="1747"/>
                        </a:lnTo>
                        <a:lnTo>
                          <a:pt x="10244" y="1842"/>
                        </a:lnTo>
                        <a:lnTo>
                          <a:pt x="10267" y="1901"/>
                        </a:lnTo>
                        <a:lnTo>
                          <a:pt x="10279" y="1913"/>
                        </a:lnTo>
                        <a:lnTo>
                          <a:pt x="10351" y="1937"/>
                        </a:lnTo>
                        <a:lnTo>
                          <a:pt x="10386" y="1961"/>
                        </a:lnTo>
                        <a:lnTo>
                          <a:pt x="10410" y="1984"/>
                        </a:lnTo>
                        <a:lnTo>
                          <a:pt x="10398" y="1996"/>
                        </a:lnTo>
                        <a:lnTo>
                          <a:pt x="10458" y="2127"/>
                        </a:lnTo>
                        <a:lnTo>
                          <a:pt x="10469" y="2174"/>
                        </a:lnTo>
                        <a:lnTo>
                          <a:pt x="10469" y="2246"/>
                        </a:lnTo>
                        <a:lnTo>
                          <a:pt x="10458" y="2317"/>
                        </a:lnTo>
                        <a:lnTo>
                          <a:pt x="10422" y="2365"/>
                        </a:lnTo>
                        <a:lnTo>
                          <a:pt x="10386" y="2388"/>
                        </a:lnTo>
                        <a:lnTo>
                          <a:pt x="10374" y="2424"/>
                        </a:lnTo>
                        <a:lnTo>
                          <a:pt x="10398" y="2590"/>
                        </a:lnTo>
                        <a:lnTo>
                          <a:pt x="10386" y="2650"/>
                        </a:lnTo>
                        <a:lnTo>
                          <a:pt x="10398" y="2709"/>
                        </a:lnTo>
                        <a:lnTo>
                          <a:pt x="10398" y="2757"/>
                        </a:lnTo>
                        <a:lnTo>
                          <a:pt x="10351" y="2792"/>
                        </a:lnTo>
                        <a:lnTo>
                          <a:pt x="10327" y="2804"/>
                        </a:lnTo>
                        <a:lnTo>
                          <a:pt x="10256" y="2828"/>
                        </a:lnTo>
                        <a:lnTo>
                          <a:pt x="10208" y="2864"/>
                        </a:lnTo>
                        <a:lnTo>
                          <a:pt x="10149" y="2864"/>
                        </a:lnTo>
                        <a:lnTo>
                          <a:pt x="10101" y="2840"/>
                        </a:lnTo>
                        <a:lnTo>
                          <a:pt x="10065" y="2816"/>
                        </a:lnTo>
                        <a:lnTo>
                          <a:pt x="10030" y="2828"/>
                        </a:lnTo>
                        <a:lnTo>
                          <a:pt x="10006" y="2840"/>
                        </a:lnTo>
                        <a:lnTo>
                          <a:pt x="9947" y="2840"/>
                        </a:lnTo>
                        <a:lnTo>
                          <a:pt x="9911" y="2852"/>
                        </a:lnTo>
                        <a:lnTo>
                          <a:pt x="9863" y="2971"/>
                        </a:lnTo>
                        <a:lnTo>
                          <a:pt x="9887" y="3078"/>
                        </a:lnTo>
                        <a:lnTo>
                          <a:pt x="9911" y="3113"/>
                        </a:lnTo>
                        <a:lnTo>
                          <a:pt x="9994" y="3220"/>
                        </a:lnTo>
                        <a:lnTo>
                          <a:pt x="10006" y="3256"/>
                        </a:lnTo>
                        <a:lnTo>
                          <a:pt x="10018" y="3351"/>
                        </a:lnTo>
                        <a:lnTo>
                          <a:pt x="10054" y="3375"/>
                        </a:lnTo>
                        <a:lnTo>
                          <a:pt x="10125" y="3398"/>
                        </a:lnTo>
                        <a:lnTo>
                          <a:pt x="10137" y="3422"/>
                        </a:lnTo>
                        <a:lnTo>
                          <a:pt x="10137" y="3446"/>
                        </a:lnTo>
                        <a:lnTo>
                          <a:pt x="10125" y="3565"/>
                        </a:lnTo>
                        <a:lnTo>
                          <a:pt x="10137" y="3612"/>
                        </a:lnTo>
                        <a:lnTo>
                          <a:pt x="10172" y="3636"/>
                        </a:lnTo>
                        <a:lnTo>
                          <a:pt x="10244" y="3672"/>
                        </a:lnTo>
                        <a:lnTo>
                          <a:pt x="10267" y="3731"/>
                        </a:lnTo>
                        <a:lnTo>
                          <a:pt x="10303" y="3755"/>
                        </a:lnTo>
                        <a:lnTo>
                          <a:pt x="10339" y="3803"/>
                        </a:lnTo>
                        <a:lnTo>
                          <a:pt x="10446" y="3850"/>
                        </a:lnTo>
                        <a:lnTo>
                          <a:pt x="10493" y="3850"/>
                        </a:lnTo>
                        <a:lnTo>
                          <a:pt x="10529" y="3826"/>
                        </a:lnTo>
                        <a:lnTo>
                          <a:pt x="10553" y="3826"/>
                        </a:lnTo>
                        <a:lnTo>
                          <a:pt x="10624" y="3850"/>
                        </a:lnTo>
                        <a:lnTo>
                          <a:pt x="10648" y="3850"/>
                        </a:lnTo>
                        <a:lnTo>
                          <a:pt x="10648" y="385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8" name="Freeform 318"/>
                  <p:cNvSpPr>
                    <a:spLocks/>
                  </p:cNvSpPr>
                  <p:nvPr/>
                </p:nvSpPr>
                <p:spPr bwMode="auto">
                  <a:xfrm>
                    <a:off x="33912175" y="1760538"/>
                    <a:ext cx="358775" cy="395288"/>
                  </a:xfrm>
                  <a:custGeom>
                    <a:avLst/>
                    <a:gdLst/>
                    <a:ahLst/>
                    <a:cxnLst>
                      <a:cxn ang="0">
                        <a:pos x="155" y="0"/>
                      </a:cxn>
                      <a:cxn ang="0">
                        <a:pos x="178" y="0"/>
                      </a:cxn>
                      <a:cxn ang="0">
                        <a:pos x="214" y="59"/>
                      </a:cxn>
                      <a:cxn ang="0">
                        <a:pos x="226" y="83"/>
                      </a:cxn>
                      <a:cxn ang="0">
                        <a:pos x="214" y="119"/>
                      </a:cxn>
                      <a:cxn ang="0">
                        <a:pos x="190" y="131"/>
                      </a:cxn>
                      <a:cxn ang="0">
                        <a:pos x="119" y="166"/>
                      </a:cxn>
                      <a:cxn ang="0">
                        <a:pos x="48" y="249"/>
                      </a:cxn>
                      <a:cxn ang="0">
                        <a:pos x="0" y="249"/>
                      </a:cxn>
                      <a:cxn ang="0">
                        <a:pos x="0" y="226"/>
                      </a:cxn>
                      <a:cxn ang="0">
                        <a:pos x="24" y="178"/>
                      </a:cxn>
                      <a:cxn ang="0">
                        <a:pos x="71" y="154"/>
                      </a:cxn>
                      <a:cxn ang="0">
                        <a:pos x="95" y="131"/>
                      </a:cxn>
                      <a:cxn ang="0">
                        <a:pos x="131" y="71"/>
                      </a:cxn>
                      <a:cxn ang="0">
                        <a:pos x="143" y="12"/>
                      </a:cxn>
                      <a:cxn ang="0">
                        <a:pos x="155" y="0"/>
                      </a:cxn>
                    </a:cxnLst>
                    <a:rect l="0" t="0" r="r" b="b"/>
                    <a:pathLst>
                      <a:path w="226" h="249">
                        <a:moveTo>
                          <a:pt x="155" y="0"/>
                        </a:moveTo>
                        <a:lnTo>
                          <a:pt x="178" y="0"/>
                        </a:lnTo>
                        <a:lnTo>
                          <a:pt x="214" y="59"/>
                        </a:lnTo>
                        <a:lnTo>
                          <a:pt x="226" y="83"/>
                        </a:lnTo>
                        <a:lnTo>
                          <a:pt x="214" y="119"/>
                        </a:lnTo>
                        <a:lnTo>
                          <a:pt x="190" y="131"/>
                        </a:lnTo>
                        <a:lnTo>
                          <a:pt x="119" y="166"/>
                        </a:lnTo>
                        <a:lnTo>
                          <a:pt x="48" y="249"/>
                        </a:lnTo>
                        <a:lnTo>
                          <a:pt x="0" y="249"/>
                        </a:lnTo>
                        <a:lnTo>
                          <a:pt x="0" y="226"/>
                        </a:lnTo>
                        <a:lnTo>
                          <a:pt x="24" y="178"/>
                        </a:lnTo>
                        <a:lnTo>
                          <a:pt x="71" y="154"/>
                        </a:lnTo>
                        <a:lnTo>
                          <a:pt x="95" y="131"/>
                        </a:lnTo>
                        <a:lnTo>
                          <a:pt x="131" y="71"/>
                        </a:lnTo>
                        <a:lnTo>
                          <a:pt x="143" y="12"/>
                        </a:lnTo>
                        <a:lnTo>
                          <a:pt x="155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9" name="Freeform 320"/>
                  <p:cNvSpPr>
                    <a:spLocks/>
                  </p:cNvSpPr>
                  <p:nvPr/>
                </p:nvSpPr>
                <p:spPr bwMode="auto">
                  <a:xfrm>
                    <a:off x="33818513" y="2062163"/>
                    <a:ext cx="74613" cy="74613"/>
                  </a:xfrm>
                  <a:custGeom>
                    <a:avLst/>
                    <a:gdLst/>
                    <a:ahLst/>
                    <a:cxnLst>
                      <a:cxn ang="0">
                        <a:pos x="35" y="0"/>
                      </a:cxn>
                      <a:cxn ang="0">
                        <a:pos x="47" y="0"/>
                      </a:cxn>
                      <a:cxn ang="0">
                        <a:pos x="35" y="47"/>
                      </a:cxn>
                      <a:cxn ang="0">
                        <a:pos x="0" y="24"/>
                      </a:cxn>
                      <a:cxn ang="0">
                        <a:pos x="0" y="12"/>
                      </a:cxn>
                      <a:cxn ang="0">
                        <a:pos x="24" y="0"/>
                      </a:cxn>
                      <a:cxn ang="0">
                        <a:pos x="35" y="0"/>
                      </a:cxn>
                    </a:cxnLst>
                    <a:rect l="0" t="0" r="r" b="b"/>
                    <a:pathLst>
                      <a:path w="47" h="47">
                        <a:moveTo>
                          <a:pt x="35" y="0"/>
                        </a:moveTo>
                        <a:lnTo>
                          <a:pt x="47" y="0"/>
                        </a:lnTo>
                        <a:lnTo>
                          <a:pt x="35" y="47"/>
                        </a:lnTo>
                        <a:lnTo>
                          <a:pt x="0" y="24"/>
                        </a:lnTo>
                        <a:lnTo>
                          <a:pt x="0" y="12"/>
                        </a:lnTo>
                        <a:lnTo>
                          <a:pt x="24" y="0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30" name="Freeform 322"/>
                  <p:cNvSpPr>
                    <a:spLocks/>
                  </p:cNvSpPr>
                  <p:nvPr/>
                </p:nvSpPr>
                <p:spPr bwMode="auto">
                  <a:xfrm>
                    <a:off x="33440688" y="2627313"/>
                    <a:ext cx="227013" cy="320675"/>
                  </a:xfrm>
                  <a:custGeom>
                    <a:avLst/>
                    <a:gdLst/>
                    <a:ahLst/>
                    <a:cxnLst>
                      <a:cxn ang="0">
                        <a:pos x="131" y="0"/>
                      </a:cxn>
                      <a:cxn ang="0">
                        <a:pos x="143" y="96"/>
                      </a:cxn>
                      <a:cxn ang="0">
                        <a:pos x="95" y="202"/>
                      </a:cxn>
                      <a:cxn ang="0">
                        <a:pos x="71" y="202"/>
                      </a:cxn>
                      <a:cxn ang="0">
                        <a:pos x="48" y="155"/>
                      </a:cxn>
                      <a:cxn ang="0">
                        <a:pos x="24" y="131"/>
                      </a:cxn>
                      <a:cxn ang="0">
                        <a:pos x="0" y="107"/>
                      </a:cxn>
                      <a:cxn ang="0">
                        <a:pos x="12" y="72"/>
                      </a:cxn>
                      <a:cxn ang="0">
                        <a:pos x="0" y="48"/>
                      </a:cxn>
                      <a:cxn ang="0">
                        <a:pos x="12" y="36"/>
                      </a:cxn>
                      <a:cxn ang="0">
                        <a:pos x="83" y="12"/>
                      </a:cxn>
                      <a:cxn ang="0">
                        <a:pos x="119" y="0"/>
                      </a:cxn>
                      <a:cxn ang="0">
                        <a:pos x="131" y="0"/>
                      </a:cxn>
                    </a:cxnLst>
                    <a:rect l="0" t="0" r="r" b="b"/>
                    <a:pathLst>
                      <a:path w="143" h="202">
                        <a:moveTo>
                          <a:pt x="131" y="0"/>
                        </a:moveTo>
                        <a:lnTo>
                          <a:pt x="143" y="96"/>
                        </a:lnTo>
                        <a:lnTo>
                          <a:pt x="95" y="202"/>
                        </a:lnTo>
                        <a:lnTo>
                          <a:pt x="71" y="202"/>
                        </a:lnTo>
                        <a:lnTo>
                          <a:pt x="48" y="155"/>
                        </a:lnTo>
                        <a:lnTo>
                          <a:pt x="24" y="131"/>
                        </a:lnTo>
                        <a:lnTo>
                          <a:pt x="0" y="107"/>
                        </a:lnTo>
                        <a:lnTo>
                          <a:pt x="12" y="72"/>
                        </a:lnTo>
                        <a:lnTo>
                          <a:pt x="0" y="48"/>
                        </a:lnTo>
                        <a:lnTo>
                          <a:pt x="12" y="36"/>
                        </a:lnTo>
                        <a:lnTo>
                          <a:pt x="83" y="12"/>
                        </a:lnTo>
                        <a:lnTo>
                          <a:pt x="119" y="0"/>
                        </a:lnTo>
                        <a:lnTo>
                          <a:pt x="131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31" name="Freeform 324"/>
                  <p:cNvSpPr>
                    <a:spLocks/>
                  </p:cNvSpPr>
                  <p:nvPr/>
                </p:nvSpPr>
                <p:spPr bwMode="auto">
                  <a:xfrm>
                    <a:off x="33366075" y="2854325"/>
                    <a:ext cx="131763" cy="112713"/>
                  </a:xfrm>
                  <a:custGeom>
                    <a:avLst/>
                    <a:gdLst/>
                    <a:ahLst/>
                    <a:cxnLst>
                      <a:cxn ang="0">
                        <a:pos x="23" y="0"/>
                      </a:cxn>
                      <a:cxn ang="0">
                        <a:pos x="47" y="12"/>
                      </a:cxn>
                      <a:cxn ang="0">
                        <a:pos x="71" y="24"/>
                      </a:cxn>
                      <a:cxn ang="0">
                        <a:pos x="83" y="36"/>
                      </a:cxn>
                      <a:cxn ang="0">
                        <a:pos x="71" y="59"/>
                      </a:cxn>
                      <a:cxn ang="0">
                        <a:pos x="35" y="71"/>
                      </a:cxn>
                      <a:cxn ang="0">
                        <a:pos x="11" y="59"/>
                      </a:cxn>
                      <a:cxn ang="0">
                        <a:pos x="0" y="36"/>
                      </a:cxn>
                      <a:cxn ang="0">
                        <a:pos x="11" y="0"/>
                      </a:cxn>
                      <a:cxn ang="0">
                        <a:pos x="23" y="0"/>
                      </a:cxn>
                    </a:cxnLst>
                    <a:rect l="0" t="0" r="r" b="b"/>
                    <a:pathLst>
                      <a:path w="83" h="71">
                        <a:moveTo>
                          <a:pt x="23" y="0"/>
                        </a:moveTo>
                        <a:lnTo>
                          <a:pt x="47" y="12"/>
                        </a:lnTo>
                        <a:lnTo>
                          <a:pt x="71" y="24"/>
                        </a:lnTo>
                        <a:lnTo>
                          <a:pt x="83" y="36"/>
                        </a:lnTo>
                        <a:lnTo>
                          <a:pt x="71" y="59"/>
                        </a:lnTo>
                        <a:lnTo>
                          <a:pt x="35" y="71"/>
                        </a:lnTo>
                        <a:lnTo>
                          <a:pt x="11" y="59"/>
                        </a:lnTo>
                        <a:lnTo>
                          <a:pt x="0" y="36"/>
                        </a:lnTo>
                        <a:lnTo>
                          <a:pt x="11" y="0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32" name="Freeform 326"/>
                  <p:cNvSpPr>
                    <a:spLocks/>
                  </p:cNvSpPr>
                  <p:nvPr/>
                </p:nvSpPr>
                <p:spPr bwMode="auto">
                  <a:xfrm>
                    <a:off x="33553400" y="3005138"/>
                    <a:ext cx="114300" cy="169863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4" y="12"/>
                      </a:cxn>
                      <a:cxn ang="0">
                        <a:pos x="60" y="48"/>
                      </a:cxn>
                      <a:cxn ang="0">
                        <a:pos x="72" y="95"/>
                      </a:cxn>
                      <a:cxn ang="0">
                        <a:pos x="48" y="107"/>
                      </a:cxn>
                      <a:cxn ang="0">
                        <a:pos x="24" y="107"/>
                      </a:cxn>
                      <a:cxn ang="0">
                        <a:pos x="0" y="71"/>
                      </a:cxn>
                      <a:cxn ang="0">
                        <a:pos x="0" y="48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72" h="107">
                        <a:moveTo>
                          <a:pt x="0" y="0"/>
                        </a:moveTo>
                        <a:lnTo>
                          <a:pt x="24" y="12"/>
                        </a:lnTo>
                        <a:lnTo>
                          <a:pt x="60" y="48"/>
                        </a:lnTo>
                        <a:lnTo>
                          <a:pt x="72" y="95"/>
                        </a:lnTo>
                        <a:lnTo>
                          <a:pt x="48" y="107"/>
                        </a:lnTo>
                        <a:lnTo>
                          <a:pt x="24" y="107"/>
                        </a:lnTo>
                        <a:lnTo>
                          <a:pt x="0" y="71"/>
                        </a:lnTo>
                        <a:lnTo>
                          <a:pt x="0" y="4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24" name="Freeform 328"/>
                <p:cNvSpPr>
                  <a:spLocks/>
                </p:cNvSpPr>
                <p:nvPr/>
              </p:nvSpPr>
              <p:spPr bwMode="auto">
                <a:xfrm>
                  <a:off x="11255384" y="-13709642"/>
                  <a:ext cx="10036178" cy="15752773"/>
                </a:xfrm>
                <a:custGeom>
                  <a:avLst/>
                  <a:gdLst/>
                  <a:ahLst/>
                  <a:cxnLst>
                    <a:cxn ang="0">
                      <a:pos x="784" y="8770"/>
                    </a:cxn>
                    <a:cxn ang="0">
                      <a:pos x="820" y="9079"/>
                    </a:cxn>
                    <a:cxn ang="0">
                      <a:pos x="1366" y="9388"/>
                    </a:cxn>
                    <a:cxn ang="0">
                      <a:pos x="2115" y="9222"/>
                    </a:cxn>
                    <a:cxn ang="0">
                      <a:pos x="2472" y="9258"/>
                    </a:cxn>
                    <a:cxn ang="0">
                      <a:pos x="2697" y="9341"/>
                    </a:cxn>
                    <a:cxn ang="0">
                      <a:pos x="2876" y="9685"/>
                    </a:cxn>
                    <a:cxn ang="0">
                      <a:pos x="3030" y="9697"/>
                    </a:cxn>
                    <a:cxn ang="0">
                      <a:pos x="3446" y="9697"/>
                    </a:cxn>
                    <a:cxn ang="0">
                      <a:pos x="3945" y="9887"/>
                    </a:cxn>
                    <a:cxn ang="0">
                      <a:pos x="3969" y="9626"/>
                    </a:cxn>
                    <a:cxn ang="0">
                      <a:pos x="4195" y="9697"/>
                    </a:cxn>
                    <a:cxn ang="0">
                      <a:pos x="4563" y="9626"/>
                    </a:cxn>
                    <a:cxn ang="0">
                      <a:pos x="5086" y="9353"/>
                    </a:cxn>
                    <a:cxn ang="0">
                      <a:pos x="5454" y="9269"/>
                    </a:cxn>
                    <a:cxn ang="0">
                      <a:pos x="5466" y="8592"/>
                    </a:cxn>
                    <a:cxn ang="0">
                      <a:pos x="5704" y="8152"/>
                    </a:cxn>
                    <a:cxn ang="0">
                      <a:pos x="5561" y="7796"/>
                    </a:cxn>
                    <a:cxn ang="0">
                      <a:pos x="5656" y="7725"/>
                    </a:cxn>
                    <a:cxn ang="0">
                      <a:pos x="5205" y="7368"/>
                    </a:cxn>
                    <a:cxn ang="0">
                      <a:pos x="5466" y="6988"/>
                    </a:cxn>
                    <a:cxn ang="0">
                      <a:pos x="5775" y="6619"/>
                    </a:cxn>
                    <a:cxn ang="0">
                      <a:pos x="6156" y="6310"/>
                    </a:cxn>
                    <a:cxn ang="0">
                      <a:pos x="6239" y="6156"/>
                    </a:cxn>
                    <a:cxn ang="0">
                      <a:pos x="5918" y="6144"/>
                    </a:cxn>
                    <a:cxn ang="0">
                      <a:pos x="5490" y="5966"/>
                    </a:cxn>
                    <a:cxn ang="0">
                      <a:pos x="5526" y="5645"/>
                    </a:cxn>
                    <a:cxn ang="0">
                      <a:pos x="5205" y="5455"/>
                    </a:cxn>
                    <a:cxn ang="0">
                      <a:pos x="5062" y="5063"/>
                    </a:cxn>
                    <a:cxn ang="0">
                      <a:pos x="4765" y="4623"/>
                    </a:cxn>
                    <a:cxn ang="0">
                      <a:pos x="5086" y="3910"/>
                    </a:cxn>
                    <a:cxn ang="0">
                      <a:pos x="5442" y="3518"/>
                    </a:cxn>
                    <a:cxn ang="0">
                      <a:pos x="5134" y="3351"/>
                    </a:cxn>
                    <a:cxn ang="0">
                      <a:pos x="4706" y="3423"/>
                    </a:cxn>
                    <a:cxn ang="0">
                      <a:pos x="4409" y="2995"/>
                    </a:cxn>
                    <a:cxn ang="0">
                      <a:pos x="4171" y="2733"/>
                    </a:cxn>
                    <a:cxn ang="0">
                      <a:pos x="4076" y="2531"/>
                    </a:cxn>
                    <a:cxn ang="0">
                      <a:pos x="4242" y="1949"/>
                    </a:cxn>
                    <a:cxn ang="0">
                      <a:pos x="4349" y="844"/>
                    </a:cxn>
                    <a:cxn ang="0">
                      <a:pos x="3862" y="238"/>
                    </a:cxn>
                    <a:cxn ang="0">
                      <a:pos x="3268" y="0"/>
                    </a:cxn>
                    <a:cxn ang="0">
                      <a:pos x="2840" y="214"/>
                    </a:cxn>
                    <a:cxn ang="0">
                      <a:pos x="3327" y="404"/>
                    </a:cxn>
                    <a:cxn ang="0">
                      <a:pos x="3398" y="856"/>
                    </a:cxn>
                    <a:cxn ang="0">
                      <a:pos x="3292" y="1117"/>
                    </a:cxn>
                    <a:cxn ang="0">
                      <a:pos x="3042" y="1402"/>
                    </a:cxn>
                    <a:cxn ang="0">
                      <a:pos x="2626" y="1830"/>
                    </a:cxn>
                    <a:cxn ang="0">
                      <a:pos x="2234" y="2234"/>
                    </a:cxn>
                    <a:cxn ang="0">
                      <a:pos x="2079" y="2959"/>
                    </a:cxn>
                    <a:cxn ang="0">
                      <a:pos x="2246" y="3339"/>
                    </a:cxn>
                    <a:cxn ang="0">
                      <a:pos x="1984" y="3934"/>
                    </a:cxn>
                    <a:cxn ang="0">
                      <a:pos x="1461" y="4575"/>
                    </a:cxn>
                    <a:cxn ang="0">
                      <a:pos x="1129" y="5086"/>
                    </a:cxn>
                    <a:cxn ang="0">
                      <a:pos x="0" y="5514"/>
                    </a:cxn>
                    <a:cxn ang="0">
                      <a:pos x="725" y="6108"/>
                    </a:cxn>
                    <a:cxn ang="0">
                      <a:pos x="487" y="6560"/>
                    </a:cxn>
                    <a:cxn ang="0">
                      <a:pos x="344" y="7297"/>
                    </a:cxn>
                    <a:cxn ang="0">
                      <a:pos x="416" y="7986"/>
                    </a:cxn>
                    <a:cxn ang="0">
                      <a:pos x="392" y="8402"/>
                    </a:cxn>
                    <a:cxn ang="0">
                      <a:pos x="356" y="8818"/>
                    </a:cxn>
                    <a:cxn ang="0">
                      <a:pos x="404" y="9091"/>
                    </a:cxn>
                  </a:cxnLst>
                  <a:rect l="0" t="0" r="r" b="b"/>
                  <a:pathLst>
                    <a:path w="6322" h="9923">
                      <a:moveTo>
                        <a:pt x="534" y="9186"/>
                      </a:moveTo>
                      <a:lnTo>
                        <a:pt x="534" y="9186"/>
                      </a:lnTo>
                      <a:lnTo>
                        <a:pt x="570" y="9056"/>
                      </a:lnTo>
                      <a:lnTo>
                        <a:pt x="606" y="8996"/>
                      </a:lnTo>
                      <a:lnTo>
                        <a:pt x="618" y="8949"/>
                      </a:lnTo>
                      <a:lnTo>
                        <a:pt x="665" y="8901"/>
                      </a:lnTo>
                      <a:lnTo>
                        <a:pt x="689" y="8842"/>
                      </a:lnTo>
                      <a:lnTo>
                        <a:pt x="725" y="8794"/>
                      </a:lnTo>
                      <a:lnTo>
                        <a:pt x="784" y="8770"/>
                      </a:lnTo>
                      <a:lnTo>
                        <a:pt x="939" y="8616"/>
                      </a:lnTo>
                      <a:lnTo>
                        <a:pt x="962" y="8616"/>
                      </a:lnTo>
                      <a:lnTo>
                        <a:pt x="939" y="8687"/>
                      </a:lnTo>
                      <a:lnTo>
                        <a:pt x="903" y="8758"/>
                      </a:lnTo>
                      <a:lnTo>
                        <a:pt x="903" y="8842"/>
                      </a:lnTo>
                      <a:lnTo>
                        <a:pt x="879" y="8889"/>
                      </a:lnTo>
                      <a:lnTo>
                        <a:pt x="867" y="8960"/>
                      </a:lnTo>
                      <a:lnTo>
                        <a:pt x="843" y="8984"/>
                      </a:lnTo>
                      <a:lnTo>
                        <a:pt x="820" y="9079"/>
                      </a:lnTo>
                      <a:lnTo>
                        <a:pt x="832" y="9115"/>
                      </a:lnTo>
                      <a:lnTo>
                        <a:pt x="867" y="9162"/>
                      </a:lnTo>
                      <a:lnTo>
                        <a:pt x="950" y="9174"/>
                      </a:lnTo>
                      <a:lnTo>
                        <a:pt x="1022" y="9222"/>
                      </a:lnTo>
                      <a:lnTo>
                        <a:pt x="1081" y="9222"/>
                      </a:lnTo>
                      <a:lnTo>
                        <a:pt x="1164" y="9258"/>
                      </a:lnTo>
                      <a:lnTo>
                        <a:pt x="1224" y="9269"/>
                      </a:lnTo>
                      <a:lnTo>
                        <a:pt x="1331" y="9353"/>
                      </a:lnTo>
                      <a:lnTo>
                        <a:pt x="1366" y="9388"/>
                      </a:lnTo>
                      <a:lnTo>
                        <a:pt x="1438" y="9400"/>
                      </a:lnTo>
                      <a:lnTo>
                        <a:pt x="1580" y="9495"/>
                      </a:lnTo>
                      <a:lnTo>
                        <a:pt x="1675" y="9531"/>
                      </a:lnTo>
                      <a:lnTo>
                        <a:pt x="1747" y="9590"/>
                      </a:lnTo>
                      <a:lnTo>
                        <a:pt x="1925" y="9673"/>
                      </a:lnTo>
                      <a:lnTo>
                        <a:pt x="1925" y="9507"/>
                      </a:lnTo>
                      <a:lnTo>
                        <a:pt x="2008" y="9317"/>
                      </a:lnTo>
                      <a:lnTo>
                        <a:pt x="2044" y="9210"/>
                      </a:lnTo>
                      <a:lnTo>
                        <a:pt x="2115" y="9222"/>
                      </a:lnTo>
                      <a:lnTo>
                        <a:pt x="2174" y="9186"/>
                      </a:lnTo>
                      <a:lnTo>
                        <a:pt x="2198" y="9174"/>
                      </a:lnTo>
                      <a:lnTo>
                        <a:pt x="2258" y="9198"/>
                      </a:lnTo>
                      <a:lnTo>
                        <a:pt x="2281" y="9234"/>
                      </a:lnTo>
                      <a:lnTo>
                        <a:pt x="2329" y="9281"/>
                      </a:lnTo>
                      <a:lnTo>
                        <a:pt x="2376" y="9305"/>
                      </a:lnTo>
                      <a:lnTo>
                        <a:pt x="2388" y="9305"/>
                      </a:lnTo>
                      <a:lnTo>
                        <a:pt x="2448" y="9281"/>
                      </a:lnTo>
                      <a:lnTo>
                        <a:pt x="2472" y="9258"/>
                      </a:lnTo>
                      <a:lnTo>
                        <a:pt x="2472" y="9210"/>
                      </a:lnTo>
                      <a:lnTo>
                        <a:pt x="2495" y="9162"/>
                      </a:lnTo>
                      <a:lnTo>
                        <a:pt x="2495" y="9162"/>
                      </a:lnTo>
                      <a:lnTo>
                        <a:pt x="2519" y="9103"/>
                      </a:lnTo>
                      <a:lnTo>
                        <a:pt x="2531" y="9091"/>
                      </a:lnTo>
                      <a:lnTo>
                        <a:pt x="2543" y="9162"/>
                      </a:lnTo>
                      <a:lnTo>
                        <a:pt x="2578" y="9222"/>
                      </a:lnTo>
                      <a:lnTo>
                        <a:pt x="2650" y="9269"/>
                      </a:lnTo>
                      <a:lnTo>
                        <a:pt x="2697" y="9341"/>
                      </a:lnTo>
                      <a:lnTo>
                        <a:pt x="2781" y="9388"/>
                      </a:lnTo>
                      <a:lnTo>
                        <a:pt x="2816" y="9436"/>
                      </a:lnTo>
                      <a:lnTo>
                        <a:pt x="2828" y="9483"/>
                      </a:lnTo>
                      <a:lnTo>
                        <a:pt x="2804" y="9578"/>
                      </a:lnTo>
                      <a:lnTo>
                        <a:pt x="2804" y="9685"/>
                      </a:lnTo>
                      <a:lnTo>
                        <a:pt x="2816" y="9721"/>
                      </a:lnTo>
                      <a:lnTo>
                        <a:pt x="2816" y="9745"/>
                      </a:lnTo>
                      <a:lnTo>
                        <a:pt x="2852" y="9745"/>
                      </a:lnTo>
                      <a:lnTo>
                        <a:pt x="2876" y="9685"/>
                      </a:lnTo>
                      <a:lnTo>
                        <a:pt x="2876" y="9638"/>
                      </a:lnTo>
                      <a:lnTo>
                        <a:pt x="2923" y="9555"/>
                      </a:lnTo>
                      <a:lnTo>
                        <a:pt x="2947" y="9555"/>
                      </a:lnTo>
                      <a:lnTo>
                        <a:pt x="2959" y="9567"/>
                      </a:lnTo>
                      <a:lnTo>
                        <a:pt x="2971" y="9578"/>
                      </a:lnTo>
                      <a:lnTo>
                        <a:pt x="2959" y="9673"/>
                      </a:lnTo>
                      <a:lnTo>
                        <a:pt x="2971" y="9697"/>
                      </a:lnTo>
                      <a:lnTo>
                        <a:pt x="3006" y="9697"/>
                      </a:lnTo>
                      <a:lnTo>
                        <a:pt x="3030" y="9697"/>
                      </a:lnTo>
                      <a:lnTo>
                        <a:pt x="3078" y="9662"/>
                      </a:lnTo>
                      <a:lnTo>
                        <a:pt x="3161" y="9650"/>
                      </a:lnTo>
                      <a:lnTo>
                        <a:pt x="3232" y="9578"/>
                      </a:lnTo>
                      <a:lnTo>
                        <a:pt x="3339" y="9531"/>
                      </a:lnTo>
                      <a:lnTo>
                        <a:pt x="3315" y="9626"/>
                      </a:lnTo>
                      <a:lnTo>
                        <a:pt x="3315" y="9721"/>
                      </a:lnTo>
                      <a:lnTo>
                        <a:pt x="3339" y="9733"/>
                      </a:lnTo>
                      <a:lnTo>
                        <a:pt x="3375" y="9733"/>
                      </a:lnTo>
                      <a:lnTo>
                        <a:pt x="3446" y="9697"/>
                      </a:lnTo>
                      <a:lnTo>
                        <a:pt x="3482" y="9697"/>
                      </a:lnTo>
                      <a:lnTo>
                        <a:pt x="3553" y="9733"/>
                      </a:lnTo>
                      <a:lnTo>
                        <a:pt x="3636" y="9745"/>
                      </a:lnTo>
                      <a:lnTo>
                        <a:pt x="3696" y="9780"/>
                      </a:lnTo>
                      <a:lnTo>
                        <a:pt x="3767" y="9792"/>
                      </a:lnTo>
                      <a:lnTo>
                        <a:pt x="3779" y="9804"/>
                      </a:lnTo>
                      <a:lnTo>
                        <a:pt x="3838" y="9804"/>
                      </a:lnTo>
                      <a:lnTo>
                        <a:pt x="3921" y="9864"/>
                      </a:lnTo>
                      <a:lnTo>
                        <a:pt x="3945" y="9887"/>
                      </a:lnTo>
                      <a:lnTo>
                        <a:pt x="3981" y="9923"/>
                      </a:lnTo>
                      <a:lnTo>
                        <a:pt x="3993" y="9923"/>
                      </a:lnTo>
                      <a:lnTo>
                        <a:pt x="4005" y="9887"/>
                      </a:lnTo>
                      <a:lnTo>
                        <a:pt x="4005" y="9852"/>
                      </a:lnTo>
                      <a:lnTo>
                        <a:pt x="3993" y="9769"/>
                      </a:lnTo>
                      <a:lnTo>
                        <a:pt x="3993" y="9757"/>
                      </a:lnTo>
                      <a:lnTo>
                        <a:pt x="3993" y="9745"/>
                      </a:lnTo>
                      <a:lnTo>
                        <a:pt x="4016" y="9709"/>
                      </a:lnTo>
                      <a:lnTo>
                        <a:pt x="3969" y="9626"/>
                      </a:lnTo>
                      <a:lnTo>
                        <a:pt x="3981" y="9567"/>
                      </a:lnTo>
                      <a:lnTo>
                        <a:pt x="3969" y="9519"/>
                      </a:lnTo>
                      <a:lnTo>
                        <a:pt x="4040" y="9543"/>
                      </a:lnTo>
                      <a:lnTo>
                        <a:pt x="4052" y="9555"/>
                      </a:lnTo>
                      <a:lnTo>
                        <a:pt x="4052" y="9590"/>
                      </a:lnTo>
                      <a:lnTo>
                        <a:pt x="4064" y="9614"/>
                      </a:lnTo>
                      <a:lnTo>
                        <a:pt x="4135" y="9626"/>
                      </a:lnTo>
                      <a:lnTo>
                        <a:pt x="4159" y="9650"/>
                      </a:lnTo>
                      <a:lnTo>
                        <a:pt x="4195" y="9697"/>
                      </a:lnTo>
                      <a:lnTo>
                        <a:pt x="4207" y="9721"/>
                      </a:lnTo>
                      <a:lnTo>
                        <a:pt x="4242" y="9721"/>
                      </a:lnTo>
                      <a:lnTo>
                        <a:pt x="4278" y="9697"/>
                      </a:lnTo>
                      <a:lnTo>
                        <a:pt x="4325" y="9662"/>
                      </a:lnTo>
                      <a:lnTo>
                        <a:pt x="4444" y="9650"/>
                      </a:lnTo>
                      <a:lnTo>
                        <a:pt x="4504" y="9602"/>
                      </a:lnTo>
                      <a:lnTo>
                        <a:pt x="4527" y="9602"/>
                      </a:lnTo>
                      <a:lnTo>
                        <a:pt x="4539" y="9626"/>
                      </a:lnTo>
                      <a:lnTo>
                        <a:pt x="4563" y="9626"/>
                      </a:lnTo>
                      <a:lnTo>
                        <a:pt x="4611" y="9567"/>
                      </a:lnTo>
                      <a:lnTo>
                        <a:pt x="4765" y="9519"/>
                      </a:lnTo>
                      <a:lnTo>
                        <a:pt x="4836" y="9460"/>
                      </a:lnTo>
                      <a:lnTo>
                        <a:pt x="4872" y="9436"/>
                      </a:lnTo>
                      <a:lnTo>
                        <a:pt x="4896" y="9448"/>
                      </a:lnTo>
                      <a:lnTo>
                        <a:pt x="4920" y="9448"/>
                      </a:lnTo>
                      <a:lnTo>
                        <a:pt x="4967" y="9448"/>
                      </a:lnTo>
                      <a:lnTo>
                        <a:pt x="5003" y="9412"/>
                      </a:lnTo>
                      <a:lnTo>
                        <a:pt x="5086" y="9353"/>
                      </a:lnTo>
                      <a:lnTo>
                        <a:pt x="5157" y="9341"/>
                      </a:lnTo>
                      <a:lnTo>
                        <a:pt x="5205" y="9353"/>
                      </a:lnTo>
                      <a:lnTo>
                        <a:pt x="5217" y="9353"/>
                      </a:lnTo>
                      <a:lnTo>
                        <a:pt x="5264" y="9376"/>
                      </a:lnTo>
                      <a:lnTo>
                        <a:pt x="5324" y="9376"/>
                      </a:lnTo>
                      <a:lnTo>
                        <a:pt x="5359" y="9365"/>
                      </a:lnTo>
                      <a:lnTo>
                        <a:pt x="5407" y="9293"/>
                      </a:lnTo>
                      <a:lnTo>
                        <a:pt x="5419" y="9281"/>
                      </a:lnTo>
                      <a:lnTo>
                        <a:pt x="5454" y="9269"/>
                      </a:lnTo>
                      <a:lnTo>
                        <a:pt x="5526" y="9269"/>
                      </a:lnTo>
                      <a:lnTo>
                        <a:pt x="5526" y="9269"/>
                      </a:lnTo>
                      <a:lnTo>
                        <a:pt x="5526" y="9056"/>
                      </a:lnTo>
                      <a:lnTo>
                        <a:pt x="5538" y="8972"/>
                      </a:lnTo>
                      <a:lnTo>
                        <a:pt x="5609" y="8818"/>
                      </a:lnTo>
                      <a:lnTo>
                        <a:pt x="5597" y="8770"/>
                      </a:lnTo>
                      <a:lnTo>
                        <a:pt x="5502" y="8687"/>
                      </a:lnTo>
                      <a:lnTo>
                        <a:pt x="5478" y="8640"/>
                      </a:lnTo>
                      <a:lnTo>
                        <a:pt x="5466" y="8592"/>
                      </a:lnTo>
                      <a:lnTo>
                        <a:pt x="5442" y="8402"/>
                      </a:lnTo>
                      <a:lnTo>
                        <a:pt x="5431" y="8366"/>
                      </a:lnTo>
                      <a:lnTo>
                        <a:pt x="5419" y="8342"/>
                      </a:lnTo>
                      <a:lnTo>
                        <a:pt x="5442" y="8283"/>
                      </a:lnTo>
                      <a:lnTo>
                        <a:pt x="5478" y="8224"/>
                      </a:lnTo>
                      <a:lnTo>
                        <a:pt x="5549" y="8200"/>
                      </a:lnTo>
                      <a:lnTo>
                        <a:pt x="5656" y="8188"/>
                      </a:lnTo>
                      <a:lnTo>
                        <a:pt x="5692" y="8164"/>
                      </a:lnTo>
                      <a:lnTo>
                        <a:pt x="5704" y="8152"/>
                      </a:lnTo>
                      <a:lnTo>
                        <a:pt x="5668" y="8117"/>
                      </a:lnTo>
                      <a:lnTo>
                        <a:pt x="5514" y="8117"/>
                      </a:lnTo>
                      <a:lnTo>
                        <a:pt x="5478" y="8093"/>
                      </a:lnTo>
                      <a:lnTo>
                        <a:pt x="5478" y="8022"/>
                      </a:lnTo>
                      <a:lnTo>
                        <a:pt x="5502" y="7962"/>
                      </a:lnTo>
                      <a:lnTo>
                        <a:pt x="5573" y="7867"/>
                      </a:lnTo>
                      <a:lnTo>
                        <a:pt x="5561" y="7867"/>
                      </a:lnTo>
                      <a:lnTo>
                        <a:pt x="5561" y="7820"/>
                      </a:lnTo>
                      <a:lnTo>
                        <a:pt x="5561" y="7796"/>
                      </a:lnTo>
                      <a:lnTo>
                        <a:pt x="5597" y="7796"/>
                      </a:lnTo>
                      <a:lnTo>
                        <a:pt x="5621" y="7820"/>
                      </a:lnTo>
                      <a:lnTo>
                        <a:pt x="5656" y="7843"/>
                      </a:lnTo>
                      <a:lnTo>
                        <a:pt x="5692" y="7831"/>
                      </a:lnTo>
                      <a:lnTo>
                        <a:pt x="5728" y="7820"/>
                      </a:lnTo>
                      <a:lnTo>
                        <a:pt x="5751" y="7796"/>
                      </a:lnTo>
                      <a:lnTo>
                        <a:pt x="5751" y="7772"/>
                      </a:lnTo>
                      <a:lnTo>
                        <a:pt x="5728" y="7748"/>
                      </a:lnTo>
                      <a:lnTo>
                        <a:pt x="5656" y="7725"/>
                      </a:lnTo>
                      <a:lnTo>
                        <a:pt x="5538" y="7677"/>
                      </a:lnTo>
                      <a:lnTo>
                        <a:pt x="5431" y="7665"/>
                      </a:lnTo>
                      <a:lnTo>
                        <a:pt x="5371" y="7641"/>
                      </a:lnTo>
                      <a:lnTo>
                        <a:pt x="5347" y="7606"/>
                      </a:lnTo>
                      <a:lnTo>
                        <a:pt x="5324" y="7534"/>
                      </a:lnTo>
                      <a:lnTo>
                        <a:pt x="5276" y="7511"/>
                      </a:lnTo>
                      <a:lnTo>
                        <a:pt x="5217" y="7463"/>
                      </a:lnTo>
                      <a:lnTo>
                        <a:pt x="5205" y="7416"/>
                      </a:lnTo>
                      <a:lnTo>
                        <a:pt x="5205" y="7368"/>
                      </a:lnTo>
                      <a:lnTo>
                        <a:pt x="5205" y="7344"/>
                      </a:lnTo>
                      <a:lnTo>
                        <a:pt x="5229" y="7285"/>
                      </a:lnTo>
                      <a:lnTo>
                        <a:pt x="5300" y="7237"/>
                      </a:lnTo>
                      <a:lnTo>
                        <a:pt x="5336" y="7190"/>
                      </a:lnTo>
                      <a:lnTo>
                        <a:pt x="5300" y="7130"/>
                      </a:lnTo>
                      <a:lnTo>
                        <a:pt x="5300" y="7107"/>
                      </a:lnTo>
                      <a:lnTo>
                        <a:pt x="5324" y="7071"/>
                      </a:lnTo>
                      <a:lnTo>
                        <a:pt x="5419" y="7035"/>
                      </a:lnTo>
                      <a:lnTo>
                        <a:pt x="5466" y="6988"/>
                      </a:lnTo>
                      <a:lnTo>
                        <a:pt x="5538" y="6964"/>
                      </a:lnTo>
                      <a:lnTo>
                        <a:pt x="5573" y="6928"/>
                      </a:lnTo>
                      <a:lnTo>
                        <a:pt x="5585" y="6833"/>
                      </a:lnTo>
                      <a:lnTo>
                        <a:pt x="5597" y="6821"/>
                      </a:lnTo>
                      <a:lnTo>
                        <a:pt x="5597" y="6809"/>
                      </a:lnTo>
                      <a:lnTo>
                        <a:pt x="5692" y="6691"/>
                      </a:lnTo>
                      <a:lnTo>
                        <a:pt x="5704" y="6679"/>
                      </a:lnTo>
                      <a:lnTo>
                        <a:pt x="5740" y="6643"/>
                      </a:lnTo>
                      <a:lnTo>
                        <a:pt x="5775" y="6619"/>
                      </a:lnTo>
                      <a:lnTo>
                        <a:pt x="5775" y="6607"/>
                      </a:lnTo>
                      <a:lnTo>
                        <a:pt x="5787" y="6607"/>
                      </a:lnTo>
                      <a:lnTo>
                        <a:pt x="5906" y="6548"/>
                      </a:lnTo>
                      <a:lnTo>
                        <a:pt x="5954" y="6536"/>
                      </a:lnTo>
                      <a:lnTo>
                        <a:pt x="6025" y="6465"/>
                      </a:lnTo>
                      <a:lnTo>
                        <a:pt x="6072" y="6441"/>
                      </a:lnTo>
                      <a:lnTo>
                        <a:pt x="6120" y="6429"/>
                      </a:lnTo>
                      <a:lnTo>
                        <a:pt x="6132" y="6405"/>
                      </a:lnTo>
                      <a:lnTo>
                        <a:pt x="6156" y="6310"/>
                      </a:lnTo>
                      <a:lnTo>
                        <a:pt x="6167" y="6298"/>
                      </a:lnTo>
                      <a:lnTo>
                        <a:pt x="6262" y="6263"/>
                      </a:lnTo>
                      <a:lnTo>
                        <a:pt x="6298" y="6215"/>
                      </a:lnTo>
                      <a:lnTo>
                        <a:pt x="6310" y="6132"/>
                      </a:lnTo>
                      <a:lnTo>
                        <a:pt x="6298" y="6085"/>
                      </a:lnTo>
                      <a:lnTo>
                        <a:pt x="6298" y="6085"/>
                      </a:lnTo>
                      <a:lnTo>
                        <a:pt x="6322" y="6061"/>
                      </a:lnTo>
                      <a:lnTo>
                        <a:pt x="6262" y="6132"/>
                      </a:lnTo>
                      <a:lnTo>
                        <a:pt x="6239" y="6156"/>
                      </a:lnTo>
                      <a:lnTo>
                        <a:pt x="6167" y="6156"/>
                      </a:lnTo>
                      <a:lnTo>
                        <a:pt x="6144" y="6156"/>
                      </a:lnTo>
                      <a:lnTo>
                        <a:pt x="6120" y="6144"/>
                      </a:lnTo>
                      <a:lnTo>
                        <a:pt x="6060" y="6144"/>
                      </a:lnTo>
                      <a:lnTo>
                        <a:pt x="6049" y="6156"/>
                      </a:lnTo>
                      <a:lnTo>
                        <a:pt x="6025" y="6168"/>
                      </a:lnTo>
                      <a:lnTo>
                        <a:pt x="5989" y="6168"/>
                      </a:lnTo>
                      <a:lnTo>
                        <a:pt x="5942" y="6168"/>
                      </a:lnTo>
                      <a:lnTo>
                        <a:pt x="5918" y="6144"/>
                      </a:lnTo>
                      <a:lnTo>
                        <a:pt x="5918" y="6144"/>
                      </a:lnTo>
                      <a:lnTo>
                        <a:pt x="5894" y="6120"/>
                      </a:lnTo>
                      <a:lnTo>
                        <a:pt x="5870" y="6120"/>
                      </a:lnTo>
                      <a:lnTo>
                        <a:pt x="5680" y="6049"/>
                      </a:lnTo>
                      <a:lnTo>
                        <a:pt x="5597" y="6073"/>
                      </a:lnTo>
                      <a:lnTo>
                        <a:pt x="5561" y="6073"/>
                      </a:lnTo>
                      <a:lnTo>
                        <a:pt x="5538" y="6049"/>
                      </a:lnTo>
                      <a:lnTo>
                        <a:pt x="5526" y="6001"/>
                      </a:lnTo>
                      <a:lnTo>
                        <a:pt x="5490" y="5966"/>
                      </a:lnTo>
                      <a:lnTo>
                        <a:pt x="5478" y="5954"/>
                      </a:lnTo>
                      <a:lnTo>
                        <a:pt x="5478" y="5918"/>
                      </a:lnTo>
                      <a:lnTo>
                        <a:pt x="5431" y="5871"/>
                      </a:lnTo>
                      <a:lnTo>
                        <a:pt x="5407" y="5811"/>
                      </a:lnTo>
                      <a:lnTo>
                        <a:pt x="5407" y="5776"/>
                      </a:lnTo>
                      <a:lnTo>
                        <a:pt x="5431" y="5752"/>
                      </a:lnTo>
                      <a:lnTo>
                        <a:pt x="5502" y="5692"/>
                      </a:lnTo>
                      <a:lnTo>
                        <a:pt x="5526" y="5657"/>
                      </a:lnTo>
                      <a:lnTo>
                        <a:pt x="5526" y="5645"/>
                      </a:lnTo>
                      <a:lnTo>
                        <a:pt x="5514" y="5585"/>
                      </a:lnTo>
                      <a:lnTo>
                        <a:pt x="5478" y="5621"/>
                      </a:lnTo>
                      <a:lnTo>
                        <a:pt x="5383" y="5621"/>
                      </a:lnTo>
                      <a:lnTo>
                        <a:pt x="5359" y="5609"/>
                      </a:lnTo>
                      <a:lnTo>
                        <a:pt x="5347" y="5597"/>
                      </a:lnTo>
                      <a:lnTo>
                        <a:pt x="5324" y="5538"/>
                      </a:lnTo>
                      <a:lnTo>
                        <a:pt x="5217" y="5538"/>
                      </a:lnTo>
                      <a:lnTo>
                        <a:pt x="5193" y="5502"/>
                      </a:lnTo>
                      <a:lnTo>
                        <a:pt x="5205" y="5455"/>
                      </a:lnTo>
                      <a:lnTo>
                        <a:pt x="5300" y="5348"/>
                      </a:lnTo>
                      <a:lnTo>
                        <a:pt x="5324" y="5288"/>
                      </a:lnTo>
                      <a:lnTo>
                        <a:pt x="5312" y="5241"/>
                      </a:lnTo>
                      <a:lnTo>
                        <a:pt x="5276" y="5181"/>
                      </a:lnTo>
                      <a:lnTo>
                        <a:pt x="5181" y="5122"/>
                      </a:lnTo>
                      <a:lnTo>
                        <a:pt x="5122" y="5158"/>
                      </a:lnTo>
                      <a:lnTo>
                        <a:pt x="5098" y="5146"/>
                      </a:lnTo>
                      <a:lnTo>
                        <a:pt x="5086" y="5122"/>
                      </a:lnTo>
                      <a:lnTo>
                        <a:pt x="5062" y="5063"/>
                      </a:lnTo>
                      <a:lnTo>
                        <a:pt x="5027" y="5051"/>
                      </a:lnTo>
                      <a:lnTo>
                        <a:pt x="5003" y="5015"/>
                      </a:lnTo>
                      <a:lnTo>
                        <a:pt x="5015" y="4896"/>
                      </a:lnTo>
                      <a:lnTo>
                        <a:pt x="5003" y="4872"/>
                      </a:lnTo>
                      <a:lnTo>
                        <a:pt x="4979" y="4849"/>
                      </a:lnTo>
                      <a:lnTo>
                        <a:pt x="4896" y="4742"/>
                      </a:lnTo>
                      <a:lnTo>
                        <a:pt x="4825" y="4706"/>
                      </a:lnTo>
                      <a:lnTo>
                        <a:pt x="4801" y="4694"/>
                      </a:lnTo>
                      <a:lnTo>
                        <a:pt x="4765" y="4623"/>
                      </a:lnTo>
                      <a:lnTo>
                        <a:pt x="4825" y="4540"/>
                      </a:lnTo>
                      <a:lnTo>
                        <a:pt x="4920" y="4456"/>
                      </a:lnTo>
                      <a:lnTo>
                        <a:pt x="4931" y="4421"/>
                      </a:lnTo>
                      <a:lnTo>
                        <a:pt x="4920" y="4361"/>
                      </a:lnTo>
                      <a:lnTo>
                        <a:pt x="4920" y="4338"/>
                      </a:lnTo>
                      <a:lnTo>
                        <a:pt x="4967" y="4302"/>
                      </a:lnTo>
                      <a:lnTo>
                        <a:pt x="4967" y="4207"/>
                      </a:lnTo>
                      <a:lnTo>
                        <a:pt x="5027" y="4112"/>
                      </a:lnTo>
                      <a:lnTo>
                        <a:pt x="5086" y="3910"/>
                      </a:lnTo>
                      <a:lnTo>
                        <a:pt x="5134" y="3850"/>
                      </a:lnTo>
                      <a:lnTo>
                        <a:pt x="5145" y="3827"/>
                      </a:lnTo>
                      <a:lnTo>
                        <a:pt x="5264" y="3815"/>
                      </a:lnTo>
                      <a:lnTo>
                        <a:pt x="5324" y="3803"/>
                      </a:lnTo>
                      <a:lnTo>
                        <a:pt x="5347" y="3803"/>
                      </a:lnTo>
                      <a:lnTo>
                        <a:pt x="5395" y="3743"/>
                      </a:lnTo>
                      <a:lnTo>
                        <a:pt x="5407" y="3708"/>
                      </a:lnTo>
                      <a:lnTo>
                        <a:pt x="5395" y="3589"/>
                      </a:lnTo>
                      <a:lnTo>
                        <a:pt x="5442" y="3518"/>
                      </a:lnTo>
                      <a:lnTo>
                        <a:pt x="5442" y="3446"/>
                      </a:lnTo>
                      <a:lnTo>
                        <a:pt x="5442" y="3434"/>
                      </a:lnTo>
                      <a:lnTo>
                        <a:pt x="5371" y="3399"/>
                      </a:lnTo>
                      <a:lnTo>
                        <a:pt x="5336" y="3339"/>
                      </a:lnTo>
                      <a:lnTo>
                        <a:pt x="5300" y="3328"/>
                      </a:lnTo>
                      <a:lnTo>
                        <a:pt x="5264" y="3328"/>
                      </a:lnTo>
                      <a:lnTo>
                        <a:pt x="5229" y="3328"/>
                      </a:lnTo>
                      <a:lnTo>
                        <a:pt x="5193" y="3339"/>
                      </a:lnTo>
                      <a:lnTo>
                        <a:pt x="5134" y="3351"/>
                      </a:lnTo>
                      <a:lnTo>
                        <a:pt x="5062" y="3351"/>
                      </a:lnTo>
                      <a:lnTo>
                        <a:pt x="5015" y="3363"/>
                      </a:lnTo>
                      <a:lnTo>
                        <a:pt x="4955" y="3411"/>
                      </a:lnTo>
                      <a:lnTo>
                        <a:pt x="4896" y="3423"/>
                      </a:lnTo>
                      <a:lnTo>
                        <a:pt x="4860" y="3446"/>
                      </a:lnTo>
                      <a:lnTo>
                        <a:pt x="4813" y="3506"/>
                      </a:lnTo>
                      <a:lnTo>
                        <a:pt x="4777" y="3506"/>
                      </a:lnTo>
                      <a:lnTo>
                        <a:pt x="4741" y="3482"/>
                      </a:lnTo>
                      <a:lnTo>
                        <a:pt x="4706" y="3423"/>
                      </a:lnTo>
                      <a:lnTo>
                        <a:pt x="4670" y="3399"/>
                      </a:lnTo>
                      <a:lnTo>
                        <a:pt x="4670" y="3375"/>
                      </a:lnTo>
                      <a:lnTo>
                        <a:pt x="4634" y="3280"/>
                      </a:lnTo>
                      <a:lnTo>
                        <a:pt x="4551" y="3209"/>
                      </a:lnTo>
                      <a:lnTo>
                        <a:pt x="4551" y="3197"/>
                      </a:lnTo>
                      <a:lnTo>
                        <a:pt x="4504" y="3114"/>
                      </a:lnTo>
                      <a:lnTo>
                        <a:pt x="4432" y="3054"/>
                      </a:lnTo>
                      <a:lnTo>
                        <a:pt x="4432" y="3007"/>
                      </a:lnTo>
                      <a:lnTo>
                        <a:pt x="4409" y="2995"/>
                      </a:lnTo>
                      <a:lnTo>
                        <a:pt x="4385" y="2983"/>
                      </a:lnTo>
                      <a:lnTo>
                        <a:pt x="4349" y="2947"/>
                      </a:lnTo>
                      <a:lnTo>
                        <a:pt x="4349" y="2912"/>
                      </a:lnTo>
                      <a:lnTo>
                        <a:pt x="4361" y="2876"/>
                      </a:lnTo>
                      <a:lnTo>
                        <a:pt x="4325" y="2828"/>
                      </a:lnTo>
                      <a:lnTo>
                        <a:pt x="4278" y="2817"/>
                      </a:lnTo>
                      <a:lnTo>
                        <a:pt x="4254" y="2721"/>
                      </a:lnTo>
                      <a:lnTo>
                        <a:pt x="4207" y="2733"/>
                      </a:lnTo>
                      <a:lnTo>
                        <a:pt x="4171" y="2733"/>
                      </a:lnTo>
                      <a:lnTo>
                        <a:pt x="4159" y="2721"/>
                      </a:lnTo>
                      <a:lnTo>
                        <a:pt x="4159" y="2698"/>
                      </a:lnTo>
                      <a:lnTo>
                        <a:pt x="4230" y="2662"/>
                      </a:lnTo>
                      <a:lnTo>
                        <a:pt x="4254" y="2626"/>
                      </a:lnTo>
                      <a:lnTo>
                        <a:pt x="4266" y="2579"/>
                      </a:lnTo>
                      <a:lnTo>
                        <a:pt x="4254" y="2543"/>
                      </a:lnTo>
                      <a:lnTo>
                        <a:pt x="4218" y="2519"/>
                      </a:lnTo>
                      <a:lnTo>
                        <a:pt x="4159" y="2508"/>
                      </a:lnTo>
                      <a:lnTo>
                        <a:pt x="4076" y="2531"/>
                      </a:lnTo>
                      <a:lnTo>
                        <a:pt x="4005" y="2472"/>
                      </a:lnTo>
                      <a:lnTo>
                        <a:pt x="3969" y="2448"/>
                      </a:lnTo>
                      <a:lnTo>
                        <a:pt x="3957" y="2401"/>
                      </a:lnTo>
                      <a:lnTo>
                        <a:pt x="3969" y="2377"/>
                      </a:lnTo>
                      <a:lnTo>
                        <a:pt x="3993" y="2365"/>
                      </a:lnTo>
                      <a:lnTo>
                        <a:pt x="4076" y="2341"/>
                      </a:lnTo>
                      <a:lnTo>
                        <a:pt x="4207" y="2151"/>
                      </a:lnTo>
                      <a:lnTo>
                        <a:pt x="4230" y="2068"/>
                      </a:lnTo>
                      <a:lnTo>
                        <a:pt x="4242" y="1949"/>
                      </a:lnTo>
                      <a:lnTo>
                        <a:pt x="4278" y="1866"/>
                      </a:lnTo>
                      <a:lnTo>
                        <a:pt x="4266" y="1771"/>
                      </a:lnTo>
                      <a:lnTo>
                        <a:pt x="4349" y="1581"/>
                      </a:lnTo>
                      <a:lnTo>
                        <a:pt x="4349" y="1474"/>
                      </a:lnTo>
                      <a:lnTo>
                        <a:pt x="4397" y="1319"/>
                      </a:lnTo>
                      <a:lnTo>
                        <a:pt x="4385" y="1236"/>
                      </a:lnTo>
                      <a:lnTo>
                        <a:pt x="4349" y="1165"/>
                      </a:lnTo>
                      <a:lnTo>
                        <a:pt x="4337" y="1010"/>
                      </a:lnTo>
                      <a:lnTo>
                        <a:pt x="4349" y="844"/>
                      </a:lnTo>
                      <a:lnTo>
                        <a:pt x="4290" y="677"/>
                      </a:lnTo>
                      <a:lnTo>
                        <a:pt x="4302" y="582"/>
                      </a:lnTo>
                      <a:lnTo>
                        <a:pt x="4278" y="452"/>
                      </a:lnTo>
                      <a:lnTo>
                        <a:pt x="4218" y="392"/>
                      </a:lnTo>
                      <a:lnTo>
                        <a:pt x="4123" y="333"/>
                      </a:lnTo>
                      <a:lnTo>
                        <a:pt x="4064" y="309"/>
                      </a:lnTo>
                      <a:lnTo>
                        <a:pt x="4028" y="273"/>
                      </a:lnTo>
                      <a:lnTo>
                        <a:pt x="3874" y="250"/>
                      </a:lnTo>
                      <a:lnTo>
                        <a:pt x="3862" y="238"/>
                      </a:lnTo>
                      <a:lnTo>
                        <a:pt x="3814" y="131"/>
                      </a:lnTo>
                      <a:lnTo>
                        <a:pt x="3755" y="95"/>
                      </a:lnTo>
                      <a:lnTo>
                        <a:pt x="3660" y="83"/>
                      </a:lnTo>
                      <a:lnTo>
                        <a:pt x="3601" y="107"/>
                      </a:lnTo>
                      <a:lnTo>
                        <a:pt x="3565" y="119"/>
                      </a:lnTo>
                      <a:lnTo>
                        <a:pt x="3434" y="95"/>
                      </a:lnTo>
                      <a:lnTo>
                        <a:pt x="3339" y="48"/>
                      </a:lnTo>
                      <a:lnTo>
                        <a:pt x="3292" y="12"/>
                      </a:lnTo>
                      <a:lnTo>
                        <a:pt x="3268" y="0"/>
                      </a:lnTo>
                      <a:lnTo>
                        <a:pt x="3185" y="12"/>
                      </a:lnTo>
                      <a:lnTo>
                        <a:pt x="3125" y="12"/>
                      </a:lnTo>
                      <a:lnTo>
                        <a:pt x="3078" y="48"/>
                      </a:lnTo>
                      <a:lnTo>
                        <a:pt x="3030" y="95"/>
                      </a:lnTo>
                      <a:lnTo>
                        <a:pt x="2983" y="166"/>
                      </a:lnTo>
                      <a:lnTo>
                        <a:pt x="2959" y="178"/>
                      </a:lnTo>
                      <a:lnTo>
                        <a:pt x="2864" y="166"/>
                      </a:lnTo>
                      <a:lnTo>
                        <a:pt x="2840" y="178"/>
                      </a:lnTo>
                      <a:lnTo>
                        <a:pt x="2840" y="214"/>
                      </a:lnTo>
                      <a:lnTo>
                        <a:pt x="2887" y="238"/>
                      </a:lnTo>
                      <a:lnTo>
                        <a:pt x="2935" y="262"/>
                      </a:lnTo>
                      <a:lnTo>
                        <a:pt x="2994" y="262"/>
                      </a:lnTo>
                      <a:lnTo>
                        <a:pt x="3161" y="250"/>
                      </a:lnTo>
                      <a:lnTo>
                        <a:pt x="3232" y="262"/>
                      </a:lnTo>
                      <a:lnTo>
                        <a:pt x="3256" y="285"/>
                      </a:lnTo>
                      <a:lnTo>
                        <a:pt x="3292" y="368"/>
                      </a:lnTo>
                      <a:lnTo>
                        <a:pt x="3303" y="380"/>
                      </a:lnTo>
                      <a:lnTo>
                        <a:pt x="3327" y="404"/>
                      </a:lnTo>
                      <a:lnTo>
                        <a:pt x="3410" y="428"/>
                      </a:lnTo>
                      <a:lnTo>
                        <a:pt x="3470" y="452"/>
                      </a:lnTo>
                      <a:lnTo>
                        <a:pt x="3505" y="547"/>
                      </a:lnTo>
                      <a:lnTo>
                        <a:pt x="3446" y="630"/>
                      </a:lnTo>
                      <a:lnTo>
                        <a:pt x="3363" y="642"/>
                      </a:lnTo>
                      <a:lnTo>
                        <a:pt x="3339" y="677"/>
                      </a:lnTo>
                      <a:lnTo>
                        <a:pt x="3327" y="713"/>
                      </a:lnTo>
                      <a:lnTo>
                        <a:pt x="3339" y="784"/>
                      </a:lnTo>
                      <a:lnTo>
                        <a:pt x="3398" y="856"/>
                      </a:lnTo>
                      <a:lnTo>
                        <a:pt x="3398" y="879"/>
                      </a:lnTo>
                      <a:lnTo>
                        <a:pt x="3398" y="903"/>
                      </a:lnTo>
                      <a:lnTo>
                        <a:pt x="3375" y="915"/>
                      </a:lnTo>
                      <a:lnTo>
                        <a:pt x="3315" y="951"/>
                      </a:lnTo>
                      <a:lnTo>
                        <a:pt x="3292" y="951"/>
                      </a:lnTo>
                      <a:lnTo>
                        <a:pt x="3292" y="998"/>
                      </a:lnTo>
                      <a:lnTo>
                        <a:pt x="3315" y="1058"/>
                      </a:lnTo>
                      <a:lnTo>
                        <a:pt x="3315" y="1093"/>
                      </a:lnTo>
                      <a:lnTo>
                        <a:pt x="3292" y="1117"/>
                      </a:lnTo>
                      <a:lnTo>
                        <a:pt x="3196" y="1129"/>
                      </a:lnTo>
                      <a:lnTo>
                        <a:pt x="3185" y="1141"/>
                      </a:lnTo>
                      <a:lnTo>
                        <a:pt x="3161" y="1165"/>
                      </a:lnTo>
                      <a:lnTo>
                        <a:pt x="3161" y="1295"/>
                      </a:lnTo>
                      <a:lnTo>
                        <a:pt x="3185" y="1367"/>
                      </a:lnTo>
                      <a:lnTo>
                        <a:pt x="3185" y="1390"/>
                      </a:lnTo>
                      <a:lnTo>
                        <a:pt x="3173" y="1390"/>
                      </a:lnTo>
                      <a:lnTo>
                        <a:pt x="3078" y="1379"/>
                      </a:lnTo>
                      <a:lnTo>
                        <a:pt x="3042" y="1402"/>
                      </a:lnTo>
                      <a:lnTo>
                        <a:pt x="2983" y="1462"/>
                      </a:lnTo>
                      <a:lnTo>
                        <a:pt x="2947" y="1533"/>
                      </a:lnTo>
                      <a:lnTo>
                        <a:pt x="2899" y="1569"/>
                      </a:lnTo>
                      <a:lnTo>
                        <a:pt x="2864" y="1711"/>
                      </a:lnTo>
                      <a:lnTo>
                        <a:pt x="2840" y="1747"/>
                      </a:lnTo>
                      <a:lnTo>
                        <a:pt x="2769" y="1783"/>
                      </a:lnTo>
                      <a:lnTo>
                        <a:pt x="2697" y="1806"/>
                      </a:lnTo>
                      <a:lnTo>
                        <a:pt x="2650" y="1830"/>
                      </a:lnTo>
                      <a:lnTo>
                        <a:pt x="2626" y="1830"/>
                      </a:lnTo>
                      <a:lnTo>
                        <a:pt x="2578" y="1854"/>
                      </a:lnTo>
                      <a:lnTo>
                        <a:pt x="2483" y="1890"/>
                      </a:lnTo>
                      <a:lnTo>
                        <a:pt x="2460" y="1901"/>
                      </a:lnTo>
                      <a:lnTo>
                        <a:pt x="2400" y="1937"/>
                      </a:lnTo>
                      <a:lnTo>
                        <a:pt x="2353" y="1985"/>
                      </a:lnTo>
                      <a:lnTo>
                        <a:pt x="2258" y="2032"/>
                      </a:lnTo>
                      <a:lnTo>
                        <a:pt x="2222" y="2080"/>
                      </a:lnTo>
                      <a:lnTo>
                        <a:pt x="2210" y="2115"/>
                      </a:lnTo>
                      <a:lnTo>
                        <a:pt x="2234" y="2234"/>
                      </a:lnTo>
                      <a:lnTo>
                        <a:pt x="2234" y="2389"/>
                      </a:lnTo>
                      <a:lnTo>
                        <a:pt x="2234" y="2412"/>
                      </a:lnTo>
                      <a:lnTo>
                        <a:pt x="2163" y="2567"/>
                      </a:lnTo>
                      <a:lnTo>
                        <a:pt x="2091" y="2638"/>
                      </a:lnTo>
                      <a:lnTo>
                        <a:pt x="2032" y="2721"/>
                      </a:lnTo>
                      <a:lnTo>
                        <a:pt x="2020" y="2769"/>
                      </a:lnTo>
                      <a:lnTo>
                        <a:pt x="2020" y="2876"/>
                      </a:lnTo>
                      <a:lnTo>
                        <a:pt x="2044" y="2912"/>
                      </a:lnTo>
                      <a:lnTo>
                        <a:pt x="2079" y="2959"/>
                      </a:lnTo>
                      <a:lnTo>
                        <a:pt x="2127" y="3007"/>
                      </a:lnTo>
                      <a:lnTo>
                        <a:pt x="2186" y="3054"/>
                      </a:lnTo>
                      <a:lnTo>
                        <a:pt x="2270" y="3090"/>
                      </a:lnTo>
                      <a:lnTo>
                        <a:pt x="2270" y="3102"/>
                      </a:lnTo>
                      <a:lnTo>
                        <a:pt x="2270" y="3149"/>
                      </a:lnTo>
                      <a:lnTo>
                        <a:pt x="2258" y="3197"/>
                      </a:lnTo>
                      <a:lnTo>
                        <a:pt x="2258" y="3232"/>
                      </a:lnTo>
                      <a:lnTo>
                        <a:pt x="2258" y="3280"/>
                      </a:lnTo>
                      <a:lnTo>
                        <a:pt x="2246" y="3339"/>
                      </a:lnTo>
                      <a:lnTo>
                        <a:pt x="2246" y="3411"/>
                      </a:lnTo>
                      <a:lnTo>
                        <a:pt x="2198" y="3541"/>
                      </a:lnTo>
                      <a:lnTo>
                        <a:pt x="2186" y="3613"/>
                      </a:lnTo>
                      <a:lnTo>
                        <a:pt x="2115" y="3803"/>
                      </a:lnTo>
                      <a:lnTo>
                        <a:pt x="2079" y="3827"/>
                      </a:lnTo>
                      <a:lnTo>
                        <a:pt x="2079" y="3839"/>
                      </a:lnTo>
                      <a:lnTo>
                        <a:pt x="2067" y="3839"/>
                      </a:lnTo>
                      <a:lnTo>
                        <a:pt x="2020" y="3874"/>
                      </a:lnTo>
                      <a:lnTo>
                        <a:pt x="1984" y="3934"/>
                      </a:lnTo>
                      <a:lnTo>
                        <a:pt x="1972" y="3969"/>
                      </a:lnTo>
                      <a:lnTo>
                        <a:pt x="1889" y="4088"/>
                      </a:lnTo>
                      <a:lnTo>
                        <a:pt x="1818" y="4243"/>
                      </a:lnTo>
                      <a:lnTo>
                        <a:pt x="1782" y="4278"/>
                      </a:lnTo>
                      <a:lnTo>
                        <a:pt x="1759" y="4338"/>
                      </a:lnTo>
                      <a:lnTo>
                        <a:pt x="1699" y="4373"/>
                      </a:lnTo>
                      <a:lnTo>
                        <a:pt x="1556" y="4421"/>
                      </a:lnTo>
                      <a:lnTo>
                        <a:pt x="1497" y="4492"/>
                      </a:lnTo>
                      <a:lnTo>
                        <a:pt x="1461" y="4575"/>
                      </a:lnTo>
                      <a:lnTo>
                        <a:pt x="1414" y="4635"/>
                      </a:lnTo>
                      <a:lnTo>
                        <a:pt x="1366" y="4730"/>
                      </a:lnTo>
                      <a:lnTo>
                        <a:pt x="1354" y="4765"/>
                      </a:lnTo>
                      <a:lnTo>
                        <a:pt x="1259" y="4837"/>
                      </a:lnTo>
                      <a:lnTo>
                        <a:pt x="1188" y="4908"/>
                      </a:lnTo>
                      <a:lnTo>
                        <a:pt x="1164" y="4991"/>
                      </a:lnTo>
                      <a:lnTo>
                        <a:pt x="1164" y="5027"/>
                      </a:lnTo>
                      <a:lnTo>
                        <a:pt x="1141" y="5074"/>
                      </a:lnTo>
                      <a:lnTo>
                        <a:pt x="1129" y="5086"/>
                      </a:lnTo>
                      <a:lnTo>
                        <a:pt x="1117" y="5170"/>
                      </a:lnTo>
                      <a:lnTo>
                        <a:pt x="1117" y="5217"/>
                      </a:lnTo>
                      <a:lnTo>
                        <a:pt x="1105" y="5253"/>
                      </a:lnTo>
                      <a:lnTo>
                        <a:pt x="1069" y="5300"/>
                      </a:lnTo>
                      <a:lnTo>
                        <a:pt x="1045" y="5407"/>
                      </a:lnTo>
                      <a:lnTo>
                        <a:pt x="1010" y="5455"/>
                      </a:lnTo>
                      <a:lnTo>
                        <a:pt x="974" y="5514"/>
                      </a:lnTo>
                      <a:lnTo>
                        <a:pt x="927" y="5597"/>
                      </a:lnTo>
                      <a:lnTo>
                        <a:pt x="0" y="5514"/>
                      </a:lnTo>
                      <a:lnTo>
                        <a:pt x="927" y="5597"/>
                      </a:lnTo>
                      <a:lnTo>
                        <a:pt x="939" y="5597"/>
                      </a:lnTo>
                      <a:lnTo>
                        <a:pt x="927" y="5609"/>
                      </a:lnTo>
                      <a:lnTo>
                        <a:pt x="891" y="5657"/>
                      </a:lnTo>
                      <a:lnTo>
                        <a:pt x="843" y="5799"/>
                      </a:lnTo>
                      <a:lnTo>
                        <a:pt x="820" y="5847"/>
                      </a:lnTo>
                      <a:lnTo>
                        <a:pt x="760" y="5906"/>
                      </a:lnTo>
                      <a:lnTo>
                        <a:pt x="736" y="5954"/>
                      </a:lnTo>
                      <a:lnTo>
                        <a:pt x="725" y="6108"/>
                      </a:lnTo>
                      <a:lnTo>
                        <a:pt x="713" y="6168"/>
                      </a:lnTo>
                      <a:lnTo>
                        <a:pt x="689" y="6203"/>
                      </a:lnTo>
                      <a:lnTo>
                        <a:pt x="677" y="6227"/>
                      </a:lnTo>
                      <a:lnTo>
                        <a:pt x="630" y="6263"/>
                      </a:lnTo>
                      <a:lnTo>
                        <a:pt x="618" y="6298"/>
                      </a:lnTo>
                      <a:lnTo>
                        <a:pt x="594" y="6370"/>
                      </a:lnTo>
                      <a:lnTo>
                        <a:pt x="523" y="6465"/>
                      </a:lnTo>
                      <a:lnTo>
                        <a:pt x="487" y="6501"/>
                      </a:lnTo>
                      <a:lnTo>
                        <a:pt x="487" y="6560"/>
                      </a:lnTo>
                      <a:lnTo>
                        <a:pt x="499" y="6643"/>
                      </a:lnTo>
                      <a:lnTo>
                        <a:pt x="463" y="6691"/>
                      </a:lnTo>
                      <a:lnTo>
                        <a:pt x="463" y="6786"/>
                      </a:lnTo>
                      <a:lnTo>
                        <a:pt x="439" y="6857"/>
                      </a:lnTo>
                      <a:lnTo>
                        <a:pt x="439" y="6916"/>
                      </a:lnTo>
                      <a:lnTo>
                        <a:pt x="451" y="7000"/>
                      </a:lnTo>
                      <a:lnTo>
                        <a:pt x="404" y="7083"/>
                      </a:lnTo>
                      <a:lnTo>
                        <a:pt x="380" y="7202"/>
                      </a:lnTo>
                      <a:lnTo>
                        <a:pt x="344" y="7297"/>
                      </a:lnTo>
                      <a:lnTo>
                        <a:pt x="309" y="7439"/>
                      </a:lnTo>
                      <a:lnTo>
                        <a:pt x="309" y="7475"/>
                      </a:lnTo>
                      <a:lnTo>
                        <a:pt x="344" y="7570"/>
                      </a:lnTo>
                      <a:lnTo>
                        <a:pt x="404" y="7665"/>
                      </a:lnTo>
                      <a:lnTo>
                        <a:pt x="404" y="7713"/>
                      </a:lnTo>
                      <a:lnTo>
                        <a:pt x="392" y="7725"/>
                      </a:lnTo>
                      <a:lnTo>
                        <a:pt x="332" y="7879"/>
                      </a:lnTo>
                      <a:lnTo>
                        <a:pt x="368" y="7927"/>
                      </a:lnTo>
                      <a:lnTo>
                        <a:pt x="416" y="7986"/>
                      </a:lnTo>
                      <a:lnTo>
                        <a:pt x="428" y="8010"/>
                      </a:lnTo>
                      <a:lnTo>
                        <a:pt x="416" y="8057"/>
                      </a:lnTo>
                      <a:lnTo>
                        <a:pt x="416" y="8081"/>
                      </a:lnTo>
                      <a:lnTo>
                        <a:pt x="380" y="8140"/>
                      </a:lnTo>
                      <a:lnTo>
                        <a:pt x="380" y="8176"/>
                      </a:lnTo>
                      <a:lnTo>
                        <a:pt x="380" y="8224"/>
                      </a:lnTo>
                      <a:lnTo>
                        <a:pt x="368" y="8366"/>
                      </a:lnTo>
                      <a:lnTo>
                        <a:pt x="368" y="8390"/>
                      </a:lnTo>
                      <a:lnTo>
                        <a:pt x="392" y="8402"/>
                      </a:lnTo>
                      <a:lnTo>
                        <a:pt x="416" y="8438"/>
                      </a:lnTo>
                      <a:lnTo>
                        <a:pt x="416" y="8497"/>
                      </a:lnTo>
                      <a:lnTo>
                        <a:pt x="404" y="8568"/>
                      </a:lnTo>
                      <a:lnTo>
                        <a:pt x="428" y="8628"/>
                      </a:lnTo>
                      <a:lnTo>
                        <a:pt x="428" y="8640"/>
                      </a:lnTo>
                      <a:lnTo>
                        <a:pt x="392" y="8687"/>
                      </a:lnTo>
                      <a:lnTo>
                        <a:pt x="380" y="8747"/>
                      </a:lnTo>
                      <a:lnTo>
                        <a:pt x="356" y="8770"/>
                      </a:lnTo>
                      <a:lnTo>
                        <a:pt x="356" y="8818"/>
                      </a:lnTo>
                      <a:lnTo>
                        <a:pt x="356" y="8853"/>
                      </a:lnTo>
                      <a:lnTo>
                        <a:pt x="321" y="8865"/>
                      </a:lnTo>
                      <a:lnTo>
                        <a:pt x="321" y="8877"/>
                      </a:lnTo>
                      <a:lnTo>
                        <a:pt x="321" y="8901"/>
                      </a:lnTo>
                      <a:lnTo>
                        <a:pt x="344" y="8925"/>
                      </a:lnTo>
                      <a:lnTo>
                        <a:pt x="380" y="8984"/>
                      </a:lnTo>
                      <a:lnTo>
                        <a:pt x="404" y="9032"/>
                      </a:lnTo>
                      <a:lnTo>
                        <a:pt x="392" y="9067"/>
                      </a:lnTo>
                      <a:lnTo>
                        <a:pt x="404" y="9091"/>
                      </a:lnTo>
                      <a:lnTo>
                        <a:pt x="416" y="9103"/>
                      </a:lnTo>
                      <a:lnTo>
                        <a:pt x="451" y="9103"/>
                      </a:lnTo>
                      <a:lnTo>
                        <a:pt x="475" y="9162"/>
                      </a:lnTo>
                      <a:lnTo>
                        <a:pt x="523" y="9162"/>
                      </a:lnTo>
                      <a:lnTo>
                        <a:pt x="534" y="9186"/>
                      </a:lnTo>
                      <a:lnTo>
                        <a:pt x="534" y="918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25" name="Freeform 418"/>
                <p:cNvSpPr>
                  <a:spLocks/>
                </p:cNvSpPr>
                <p:nvPr/>
              </p:nvSpPr>
              <p:spPr bwMode="auto">
                <a:xfrm>
                  <a:off x="7029463" y="-31760"/>
                  <a:ext cx="13563605" cy="13393738"/>
                </a:xfrm>
                <a:custGeom>
                  <a:avLst/>
                  <a:gdLst/>
                  <a:ahLst/>
                  <a:cxnLst>
                    <a:cxn ang="0">
                      <a:pos x="2935" y="8045"/>
                    </a:cxn>
                    <a:cxn ang="0">
                      <a:pos x="3292" y="7629"/>
                    </a:cxn>
                    <a:cxn ang="0">
                      <a:pos x="3814" y="7427"/>
                    </a:cxn>
                    <a:cxn ang="0">
                      <a:pos x="4147" y="7344"/>
                    </a:cxn>
                    <a:cxn ang="0">
                      <a:pos x="4432" y="7451"/>
                    </a:cxn>
                    <a:cxn ang="0">
                      <a:pos x="4813" y="7142"/>
                    </a:cxn>
                    <a:cxn ang="0">
                      <a:pos x="5336" y="7130"/>
                    </a:cxn>
                    <a:cxn ang="0">
                      <a:pos x="5906" y="7273"/>
                    </a:cxn>
                    <a:cxn ang="0">
                      <a:pos x="6167" y="7261"/>
                    </a:cxn>
                    <a:cxn ang="0">
                      <a:pos x="6441" y="7047"/>
                    </a:cxn>
                    <a:cxn ang="0">
                      <a:pos x="6785" y="6821"/>
                    </a:cxn>
                    <a:cxn ang="0">
                      <a:pos x="6869" y="6322"/>
                    </a:cxn>
                    <a:cxn ang="0">
                      <a:pos x="6655" y="5930"/>
                    </a:cxn>
                    <a:cxn ang="0">
                      <a:pos x="6916" y="5692"/>
                    </a:cxn>
                    <a:cxn ang="0">
                      <a:pos x="6892" y="5217"/>
                    </a:cxn>
                    <a:cxn ang="0">
                      <a:pos x="6797" y="4706"/>
                    </a:cxn>
                    <a:cxn ang="0">
                      <a:pos x="7225" y="4314"/>
                    </a:cxn>
                    <a:cxn ang="0">
                      <a:pos x="7356" y="3719"/>
                    </a:cxn>
                    <a:cxn ang="0">
                      <a:pos x="7380" y="3280"/>
                    </a:cxn>
                    <a:cxn ang="0">
                      <a:pos x="7831" y="3280"/>
                    </a:cxn>
                    <a:cxn ang="0">
                      <a:pos x="8069" y="3006"/>
                    </a:cxn>
                    <a:cxn ang="0">
                      <a:pos x="8449" y="3042"/>
                    </a:cxn>
                    <a:cxn ang="0">
                      <a:pos x="8342" y="2246"/>
                    </a:cxn>
                    <a:cxn ang="0">
                      <a:pos x="8271" y="1497"/>
                    </a:cxn>
                    <a:cxn ang="0">
                      <a:pos x="8366" y="1176"/>
                    </a:cxn>
                    <a:cxn ang="0">
                      <a:pos x="8164" y="986"/>
                    </a:cxn>
                    <a:cxn ang="0">
                      <a:pos x="8354" y="725"/>
                    </a:cxn>
                    <a:cxn ang="0">
                      <a:pos x="8069" y="677"/>
                    </a:cxn>
                    <a:cxn ang="0">
                      <a:pos x="7582" y="832"/>
                    </a:cxn>
                    <a:cxn ang="0">
                      <a:pos x="7106" y="1034"/>
                    </a:cxn>
                    <a:cxn ang="0">
                      <a:pos x="6714" y="939"/>
                    </a:cxn>
                    <a:cxn ang="0">
                      <a:pos x="6667" y="1271"/>
                    </a:cxn>
                    <a:cxn ang="0">
                      <a:pos x="6215" y="1117"/>
                    </a:cxn>
                    <a:cxn ang="0">
                      <a:pos x="5740" y="1046"/>
                    </a:cxn>
                    <a:cxn ang="0">
                      <a:pos x="5538" y="1069"/>
                    </a:cxn>
                    <a:cxn ang="0">
                      <a:pos x="5312" y="653"/>
                    </a:cxn>
                    <a:cxn ang="0">
                      <a:pos x="5050" y="689"/>
                    </a:cxn>
                    <a:cxn ang="0">
                      <a:pos x="4587" y="891"/>
                    </a:cxn>
                    <a:cxn ang="0">
                      <a:pos x="3743" y="606"/>
                    </a:cxn>
                    <a:cxn ang="0">
                      <a:pos x="3565" y="142"/>
                    </a:cxn>
                    <a:cxn ang="0">
                      <a:pos x="3232" y="440"/>
                    </a:cxn>
                    <a:cxn ang="0">
                      <a:pos x="3078" y="915"/>
                    </a:cxn>
                    <a:cxn ang="0">
                      <a:pos x="2840" y="1640"/>
                    </a:cxn>
                    <a:cxn ang="0">
                      <a:pos x="2674" y="2210"/>
                    </a:cxn>
                    <a:cxn ang="0">
                      <a:pos x="2388" y="3066"/>
                    </a:cxn>
                    <a:cxn ang="0">
                      <a:pos x="1806" y="3434"/>
                    </a:cxn>
                    <a:cxn ang="0">
                      <a:pos x="1687" y="3815"/>
                    </a:cxn>
                    <a:cxn ang="0">
                      <a:pos x="1141" y="4112"/>
                    </a:cxn>
                    <a:cxn ang="0">
                      <a:pos x="796" y="4575"/>
                    </a:cxn>
                    <a:cxn ang="0">
                      <a:pos x="725" y="4801"/>
                    </a:cxn>
                    <a:cxn ang="0">
                      <a:pos x="392" y="5157"/>
                    </a:cxn>
                    <a:cxn ang="0">
                      <a:pos x="59" y="5894"/>
                    </a:cxn>
                    <a:cxn ang="0">
                      <a:pos x="214" y="6667"/>
                    </a:cxn>
                    <a:cxn ang="0">
                      <a:pos x="237" y="7047"/>
                    </a:cxn>
                    <a:cxn ang="0">
                      <a:pos x="511" y="7166"/>
                    </a:cxn>
                    <a:cxn ang="0">
                      <a:pos x="677" y="7439"/>
                    </a:cxn>
                    <a:cxn ang="0">
                      <a:pos x="1224" y="7677"/>
                    </a:cxn>
                    <a:cxn ang="0">
                      <a:pos x="1675" y="7926"/>
                    </a:cxn>
                    <a:cxn ang="0">
                      <a:pos x="2495" y="8271"/>
                    </a:cxn>
                  </a:cxnLst>
                  <a:rect l="0" t="0" r="r" b="b"/>
                  <a:pathLst>
                    <a:path w="8544" h="8437">
                      <a:moveTo>
                        <a:pt x="2626" y="8437"/>
                      </a:moveTo>
                      <a:lnTo>
                        <a:pt x="2697" y="8414"/>
                      </a:lnTo>
                      <a:lnTo>
                        <a:pt x="2697" y="8342"/>
                      </a:lnTo>
                      <a:lnTo>
                        <a:pt x="2733" y="8307"/>
                      </a:lnTo>
                      <a:lnTo>
                        <a:pt x="2757" y="8235"/>
                      </a:lnTo>
                      <a:lnTo>
                        <a:pt x="2828" y="8164"/>
                      </a:lnTo>
                      <a:lnTo>
                        <a:pt x="2852" y="8116"/>
                      </a:lnTo>
                      <a:lnTo>
                        <a:pt x="2876" y="8093"/>
                      </a:lnTo>
                      <a:lnTo>
                        <a:pt x="2911" y="8081"/>
                      </a:lnTo>
                      <a:lnTo>
                        <a:pt x="2935" y="8045"/>
                      </a:lnTo>
                      <a:lnTo>
                        <a:pt x="2959" y="8033"/>
                      </a:lnTo>
                      <a:lnTo>
                        <a:pt x="3018" y="8033"/>
                      </a:lnTo>
                      <a:lnTo>
                        <a:pt x="3054" y="8021"/>
                      </a:lnTo>
                      <a:lnTo>
                        <a:pt x="3113" y="7950"/>
                      </a:lnTo>
                      <a:lnTo>
                        <a:pt x="3137" y="7891"/>
                      </a:lnTo>
                      <a:lnTo>
                        <a:pt x="3137" y="7819"/>
                      </a:lnTo>
                      <a:lnTo>
                        <a:pt x="3196" y="7724"/>
                      </a:lnTo>
                      <a:lnTo>
                        <a:pt x="3208" y="7689"/>
                      </a:lnTo>
                      <a:lnTo>
                        <a:pt x="3256" y="7665"/>
                      </a:lnTo>
                      <a:lnTo>
                        <a:pt x="3292" y="7629"/>
                      </a:lnTo>
                      <a:lnTo>
                        <a:pt x="3327" y="7534"/>
                      </a:lnTo>
                      <a:lnTo>
                        <a:pt x="3375" y="7510"/>
                      </a:lnTo>
                      <a:lnTo>
                        <a:pt x="3398" y="7510"/>
                      </a:lnTo>
                      <a:lnTo>
                        <a:pt x="3434" y="7487"/>
                      </a:lnTo>
                      <a:lnTo>
                        <a:pt x="3589" y="7499"/>
                      </a:lnTo>
                      <a:lnTo>
                        <a:pt x="3636" y="7475"/>
                      </a:lnTo>
                      <a:lnTo>
                        <a:pt x="3660" y="7439"/>
                      </a:lnTo>
                      <a:lnTo>
                        <a:pt x="3684" y="7427"/>
                      </a:lnTo>
                      <a:lnTo>
                        <a:pt x="3767" y="7439"/>
                      </a:lnTo>
                      <a:lnTo>
                        <a:pt x="3814" y="7427"/>
                      </a:lnTo>
                      <a:lnTo>
                        <a:pt x="3886" y="7439"/>
                      </a:lnTo>
                      <a:lnTo>
                        <a:pt x="3993" y="7439"/>
                      </a:lnTo>
                      <a:lnTo>
                        <a:pt x="4016" y="7427"/>
                      </a:lnTo>
                      <a:lnTo>
                        <a:pt x="4040" y="7415"/>
                      </a:lnTo>
                      <a:lnTo>
                        <a:pt x="4076" y="7415"/>
                      </a:lnTo>
                      <a:lnTo>
                        <a:pt x="4100" y="7415"/>
                      </a:lnTo>
                      <a:lnTo>
                        <a:pt x="4123" y="7403"/>
                      </a:lnTo>
                      <a:lnTo>
                        <a:pt x="4135" y="7392"/>
                      </a:lnTo>
                      <a:lnTo>
                        <a:pt x="4123" y="7368"/>
                      </a:lnTo>
                      <a:lnTo>
                        <a:pt x="4147" y="7344"/>
                      </a:lnTo>
                      <a:lnTo>
                        <a:pt x="4207" y="7344"/>
                      </a:lnTo>
                      <a:lnTo>
                        <a:pt x="4218" y="7308"/>
                      </a:lnTo>
                      <a:lnTo>
                        <a:pt x="4242" y="7296"/>
                      </a:lnTo>
                      <a:lnTo>
                        <a:pt x="4266" y="7296"/>
                      </a:lnTo>
                      <a:lnTo>
                        <a:pt x="4290" y="7332"/>
                      </a:lnTo>
                      <a:lnTo>
                        <a:pt x="4314" y="7368"/>
                      </a:lnTo>
                      <a:lnTo>
                        <a:pt x="4337" y="7380"/>
                      </a:lnTo>
                      <a:lnTo>
                        <a:pt x="4373" y="7439"/>
                      </a:lnTo>
                      <a:lnTo>
                        <a:pt x="4397" y="7451"/>
                      </a:lnTo>
                      <a:lnTo>
                        <a:pt x="4432" y="7451"/>
                      </a:lnTo>
                      <a:lnTo>
                        <a:pt x="4444" y="7439"/>
                      </a:lnTo>
                      <a:lnTo>
                        <a:pt x="4468" y="7392"/>
                      </a:lnTo>
                      <a:lnTo>
                        <a:pt x="4516" y="7380"/>
                      </a:lnTo>
                      <a:lnTo>
                        <a:pt x="4551" y="7356"/>
                      </a:lnTo>
                      <a:lnTo>
                        <a:pt x="4587" y="7296"/>
                      </a:lnTo>
                      <a:lnTo>
                        <a:pt x="4611" y="7237"/>
                      </a:lnTo>
                      <a:lnTo>
                        <a:pt x="4646" y="7213"/>
                      </a:lnTo>
                      <a:lnTo>
                        <a:pt x="4670" y="7190"/>
                      </a:lnTo>
                      <a:lnTo>
                        <a:pt x="4801" y="7190"/>
                      </a:lnTo>
                      <a:lnTo>
                        <a:pt x="4813" y="7142"/>
                      </a:lnTo>
                      <a:lnTo>
                        <a:pt x="4872" y="7130"/>
                      </a:lnTo>
                      <a:lnTo>
                        <a:pt x="4920" y="7118"/>
                      </a:lnTo>
                      <a:lnTo>
                        <a:pt x="4955" y="7106"/>
                      </a:lnTo>
                      <a:lnTo>
                        <a:pt x="5003" y="7130"/>
                      </a:lnTo>
                      <a:lnTo>
                        <a:pt x="5050" y="7142"/>
                      </a:lnTo>
                      <a:lnTo>
                        <a:pt x="5086" y="7142"/>
                      </a:lnTo>
                      <a:lnTo>
                        <a:pt x="5145" y="7142"/>
                      </a:lnTo>
                      <a:lnTo>
                        <a:pt x="5193" y="7142"/>
                      </a:lnTo>
                      <a:lnTo>
                        <a:pt x="5288" y="7130"/>
                      </a:lnTo>
                      <a:lnTo>
                        <a:pt x="5336" y="7130"/>
                      </a:lnTo>
                      <a:lnTo>
                        <a:pt x="5371" y="7154"/>
                      </a:lnTo>
                      <a:lnTo>
                        <a:pt x="5466" y="7178"/>
                      </a:lnTo>
                      <a:lnTo>
                        <a:pt x="5526" y="7178"/>
                      </a:lnTo>
                      <a:lnTo>
                        <a:pt x="5549" y="7190"/>
                      </a:lnTo>
                      <a:lnTo>
                        <a:pt x="5633" y="7190"/>
                      </a:lnTo>
                      <a:lnTo>
                        <a:pt x="5668" y="7166"/>
                      </a:lnTo>
                      <a:lnTo>
                        <a:pt x="5716" y="7166"/>
                      </a:lnTo>
                      <a:lnTo>
                        <a:pt x="5847" y="7225"/>
                      </a:lnTo>
                      <a:lnTo>
                        <a:pt x="5882" y="7237"/>
                      </a:lnTo>
                      <a:lnTo>
                        <a:pt x="5906" y="7273"/>
                      </a:lnTo>
                      <a:lnTo>
                        <a:pt x="5930" y="7273"/>
                      </a:lnTo>
                      <a:lnTo>
                        <a:pt x="5965" y="7296"/>
                      </a:lnTo>
                      <a:lnTo>
                        <a:pt x="6001" y="7332"/>
                      </a:lnTo>
                      <a:lnTo>
                        <a:pt x="6037" y="7344"/>
                      </a:lnTo>
                      <a:lnTo>
                        <a:pt x="6060" y="7332"/>
                      </a:lnTo>
                      <a:lnTo>
                        <a:pt x="6072" y="7308"/>
                      </a:lnTo>
                      <a:lnTo>
                        <a:pt x="6108" y="7320"/>
                      </a:lnTo>
                      <a:lnTo>
                        <a:pt x="6132" y="7285"/>
                      </a:lnTo>
                      <a:lnTo>
                        <a:pt x="6167" y="7285"/>
                      </a:lnTo>
                      <a:lnTo>
                        <a:pt x="6167" y="7261"/>
                      </a:lnTo>
                      <a:lnTo>
                        <a:pt x="6203" y="7249"/>
                      </a:lnTo>
                      <a:lnTo>
                        <a:pt x="6227" y="7249"/>
                      </a:lnTo>
                      <a:lnTo>
                        <a:pt x="6239" y="7249"/>
                      </a:lnTo>
                      <a:lnTo>
                        <a:pt x="6263" y="7213"/>
                      </a:lnTo>
                      <a:lnTo>
                        <a:pt x="6322" y="7201"/>
                      </a:lnTo>
                      <a:lnTo>
                        <a:pt x="6417" y="7154"/>
                      </a:lnTo>
                      <a:lnTo>
                        <a:pt x="6405" y="7118"/>
                      </a:lnTo>
                      <a:lnTo>
                        <a:pt x="6405" y="7094"/>
                      </a:lnTo>
                      <a:lnTo>
                        <a:pt x="6417" y="7071"/>
                      </a:lnTo>
                      <a:lnTo>
                        <a:pt x="6441" y="7047"/>
                      </a:lnTo>
                      <a:lnTo>
                        <a:pt x="6453" y="7035"/>
                      </a:lnTo>
                      <a:lnTo>
                        <a:pt x="6500" y="7023"/>
                      </a:lnTo>
                      <a:lnTo>
                        <a:pt x="6524" y="7035"/>
                      </a:lnTo>
                      <a:lnTo>
                        <a:pt x="6560" y="6976"/>
                      </a:lnTo>
                      <a:lnTo>
                        <a:pt x="6583" y="6976"/>
                      </a:lnTo>
                      <a:lnTo>
                        <a:pt x="6678" y="6928"/>
                      </a:lnTo>
                      <a:lnTo>
                        <a:pt x="6702" y="6904"/>
                      </a:lnTo>
                      <a:lnTo>
                        <a:pt x="6726" y="6857"/>
                      </a:lnTo>
                      <a:lnTo>
                        <a:pt x="6774" y="6845"/>
                      </a:lnTo>
                      <a:lnTo>
                        <a:pt x="6785" y="6821"/>
                      </a:lnTo>
                      <a:lnTo>
                        <a:pt x="6785" y="6797"/>
                      </a:lnTo>
                      <a:lnTo>
                        <a:pt x="6726" y="6643"/>
                      </a:lnTo>
                      <a:lnTo>
                        <a:pt x="6714" y="6583"/>
                      </a:lnTo>
                      <a:lnTo>
                        <a:pt x="6762" y="6536"/>
                      </a:lnTo>
                      <a:lnTo>
                        <a:pt x="6750" y="6488"/>
                      </a:lnTo>
                      <a:lnTo>
                        <a:pt x="6750" y="6465"/>
                      </a:lnTo>
                      <a:lnTo>
                        <a:pt x="6785" y="6417"/>
                      </a:lnTo>
                      <a:lnTo>
                        <a:pt x="6833" y="6393"/>
                      </a:lnTo>
                      <a:lnTo>
                        <a:pt x="6857" y="6370"/>
                      </a:lnTo>
                      <a:lnTo>
                        <a:pt x="6869" y="6322"/>
                      </a:lnTo>
                      <a:lnTo>
                        <a:pt x="6869" y="6286"/>
                      </a:lnTo>
                      <a:lnTo>
                        <a:pt x="6821" y="6239"/>
                      </a:lnTo>
                      <a:lnTo>
                        <a:pt x="6750" y="6191"/>
                      </a:lnTo>
                      <a:lnTo>
                        <a:pt x="6667" y="6203"/>
                      </a:lnTo>
                      <a:lnTo>
                        <a:pt x="6643" y="6191"/>
                      </a:lnTo>
                      <a:lnTo>
                        <a:pt x="6607" y="6144"/>
                      </a:lnTo>
                      <a:lnTo>
                        <a:pt x="6619" y="6084"/>
                      </a:lnTo>
                      <a:lnTo>
                        <a:pt x="6631" y="6049"/>
                      </a:lnTo>
                      <a:lnTo>
                        <a:pt x="6643" y="5989"/>
                      </a:lnTo>
                      <a:lnTo>
                        <a:pt x="6655" y="5930"/>
                      </a:lnTo>
                      <a:lnTo>
                        <a:pt x="6678" y="5906"/>
                      </a:lnTo>
                      <a:lnTo>
                        <a:pt x="6690" y="5882"/>
                      </a:lnTo>
                      <a:lnTo>
                        <a:pt x="6726" y="5870"/>
                      </a:lnTo>
                      <a:lnTo>
                        <a:pt x="6762" y="5787"/>
                      </a:lnTo>
                      <a:lnTo>
                        <a:pt x="6774" y="5787"/>
                      </a:lnTo>
                      <a:lnTo>
                        <a:pt x="6797" y="5787"/>
                      </a:lnTo>
                      <a:lnTo>
                        <a:pt x="6821" y="5787"/>
                      </a:lnTo>
                      <a:lnTo>
                        <a:pt x="6845" y="5763"/>
                      </a:lnTo>
                      <a:lnTo>
                        <a:pt x="6857" y="5716"/>
                      </a:lnTo>
                      <a:lnTo>
                        <a:pt x="6916" y="5692"/>
                      </a:lnTo>
                      <a:lnTo>
                        <a:pt x="6940" y="5657"/>
                      </a:lnTo>
                      <a:lnTo>
                        <a:pt x="6987" y="5645"/>
                      </a:lnTo>
                      <a:lnTo>
                        <a:pt x="7011" y="5609"/>
                      </a:lnTo>
                      <a:lnTo>
                        <a:pt x="7023" y="5585"/>
                      </a:lnTo>
                      <a:lnTo>
                        <a:pt x="7011" y="5526"/>
                      </a:lnTo>
                      <a:lnTo>
                        <a:pt x="6964" y="5454"/>
                      </a:lnTo>
                      <a:lnTo>
                        <a:pt x="6952" y="5395"/>
                      </a:lnTo>
                      <a:lnTo>
                        <a:pt x="6916" y="5348"/>
                      </a:lnTo>
                      <a:lnTo>
                        <a:pt x="6916" y="5264"/>
                      </a:lnTo>
                      <a:lnTo>
                        <a:pt x="6892" y="5217"/>
                      </a:lnTo>
                      <a:lnTo>
                        <a:pt x="6845" y="5157"/>
                      </a:lnTo>
                      <a:lnTo>
                        <a:pt x="6774" y="5110"/>
                      </a:lnTo>
                      <a:lnTo>
                        <a:pt x="6714" y="5062"/>
                      </a:lnTo>
                      <a:lnTo>
                        <a:pt x="6690" y="5015"/>
                      </a:lnTo>
                      <a:lnTo>
                        <a:pt x="6678" y="4979"/>
                      </a:lnTo>
                      <a:lnTo>
                        <a:pt x="6678" y="4920"/>
                      </a:lnTo>
                      <a:lnTo>
                        <a:pt x="6702" y="4848"/>
                      </a:lnTo>
                      <a:lnTo>
                        <a:pt x="6797" y="4753"/>
                      </a:lnTo>
                      <a:lnTo>
                        <a:pt x="6809" y="4741"/>
                      </a:lnTo>
                      <a:lnTo>
                        <a:pt x="6797" y="4706"/>
                      </a:lnTo>
                      <a:lnTo>
                        <a:pt x="6833" y="4646"/>
                      </a:lnTo>
                      <a:lnTo>
                        <a:pt x="6821" y="4599"/>
                      </a:lnTo>
                      <a:lnTo>
                        <a:pt x="6845" y="4504"/>
                      </a:lnTo>
                      <a:lnTo>
                        <a:pt x="6916" y="4421"/>
                      </a:lnTo>
                      <a:lnTo>
                        <a:pt x="6940" y="4421"/>
                      </a:lnTo>
                      <a:lnTo>
                        <a:pt x="6987" y="4421"/>
                      </a:lnTo>
                      <a:lnTo>
                        <a:pt x="7035" y="4373"/>
                      </a:lnTo>
                      <a:lnTo>
                        <a:pt x="7082" y="4349"/>
                      </a:lnTo>
                      <a:lnTo>
                        <a:pt x="7225" y="4326"/>
                      </a:lnTo>
                      <a:lnTo>
                        <a:pt x="7225" y="4314"/>
                      </a:lnTo>
                      <a:lnTo>
                        <a:pt x="7356" y="4302"/>
                      </a:lnTo>
                      <a:lnTo>
                        <a:pt x="7427" y="4278"/>
                      </a:lnTo>
                      <a:lnTo>
                        <a:pt x="7451" y="4254"/>
                      </a:lnTo>
                      <a:lnTo>
                        <a:pt x="7439" y="4230"/>
                      </a:lnTo>
                      <a:lnTo>
                        <a:pt x="7415" y="4124"/>
                      </a:lnTo>
                      <a:lnTo>
                        <a:pt x="7380" y="4040"/>
                      </a:lnTo>
                      <a:lnTo>
                        <a:pt x="7380" y="3945"/>
                      </a:lnTo>
                      <a:lnTo>
                        <a:pt x="7344" y="3862"/>
                      </a:lnTo>
                      <a:lnTo>
                        <a:pt x="7344" y="3791"/>
                      </a:lnTo>
                      <a:lnTo>
                        <a:pt x="7356" y="3719"/>
                      </a:lnTo>
                      <a:lnTo>
                        <a:pt x="7415" y="3672"/>
                      </a:lnTo>
                      <a:lnTo>
                        <a:pt x="7427" y="3636"/>
                      </a:lnTo>
                      <a:lnTo>
                        <a:pt x="7427" y="3577"/>
                      </a:lnTo>
                      <a:lnTo>
                        <a:pt x="7403" y="3577"/>
                      </a:lnTo>
                      <a:lnTo>
                        <a:pt x="7368" y="3529"/>
                      </a:lnTo>
                      <a:lnTo>
                        <a:pt x="7332" y="3470"/>
                      </a:lnTo>
                      <a:lnTo>
                        <a:pt x="7344" y="3434"/>
                      </a:lnTo>
                      <a:lnTo>
                        <a:pt x="7403" y="3387"/>
                      </a:lnTo>
                      <a:lnTo>
                        <a:pt x="7403" y="3375"/>
                      </a:lnTo>
                      <a:lnTo>
                        <a:pt x="7380" y="3280"/>
                      </a:lnTo>
                      <a:lnTo>
                        <a:pt x="7380" y="3268"/>
                      </a:lnTo>
                      <a:lnTo>
                        <a:pt x="7403" y="3244"/>
                      </a:lnTo>
                      <a:lnTo>
                        <a:pt x="7498" y="3232"/>
                      </a:lnTo>
                      <a:lnTo>
                        <a:pt x="7570" y="3244"/>
                      </a:lnTo>
                      <a:lnTo>
                        <a:pt x="7653" y="3292"/>
                      </a:lnTo>
                      <a:lnTo>
                        <a:pt x="7700" y="3315"/>
                      </a:lnTo>
                      <a:lnTo>
                        <a:pt x="7724" y="3327"/>
                      </a:lnTo>
                      <a:lnTo>
                        <a:pt x="7784" y="3327"/>
                      </a:lnTo>
                      <a:lnTo>
                        <a:pt x="7819" y="3304"/>
                      </a:lnTo>
                      <a:lnTo>
                        <a:pt x="7831" y="3280"/>
                      </a:lnTo>
                      <a:lnTo>
                        <a:pt x="7843" y="3244"/>
                      </a:lnTo>
                      <a:lnTo>
                        <a:pt x="7819" y="3197"/>
                      </a:lnTo>
                      <a:lnTo>
                        <a:pt x="7831" y="3125"/>
                      </a:lnTo>
                      <a:lnTo>
                        <a:pt x="7831" y="3042"/>
                      </a:lnTo>
                      <a:lnTo>
                        <a:pt x="7796" y="2983"/>
                      </a:lnTo>
                      <a:lnTo>
                        <a:pt x="7879" y="2876"/>
                      </a:lnTo>
                      <a:lnTo>
                        <a:pt x="7891" y="2864"/>
                      </a:lnTo>
                      <a:lnTo>
                        <a:pt x="7926" y="2876"/>
                      </a:lnTo>
                      <a:lnTo>
                        <a:pt x="7950" y="2899"/>
                      </a:lnTo>
                      <a:lnTo>
                        <a:pt x="8069" y="3006"/>
                      </a:lnTo>
                      <a:lnTo>
                        <a:pt x="8093" y="3006"/>
                      </a:lnTo>
                      <a:lnTo>
                        <a:pt x="8093" y="3090"/>
                      </a:lnTo>
                      <a:lnTo>
                        <a:pt x="8104" y="3113"/>
                      </a:lnTo>
                      <a:lnTo>
                        <a:pt x="8188" y="3161"/>
                      </a:lnTo>
                      <a:lnTo>
                        <a:pt x="8354" y="3149"/>
                      </a:lnTo>
                      <a:lnTo>
                        <a:pt x="8378" y="3137"/>
                      </a:lnTo>
                      <a:lnTo>
                        <a:pt x="8437" y="3090"/>
                      </a:lnTo>
                      <a:lnTo>
                        <a:pt x="8437" y="3090"/>
                      </a:lnTo>
                      <a:lnTo>
                        <a:pt x="8437" y="3090"/>
                      </a:lnTo>
                      <a:lnTo>
                        <a:pt x="8449" y="3042"/>
                      </a:lnTo>
                      <a:lnTo>
                        <a:pt x="8437" y="2935"/>
                      </a:lnTo>
                      <a:lnTo>
                        <a:pt x="8437" y="2876"/>
                      </a:lnTo>
                      <a:lnTo>
                        <a:pt x="8473" y="2697"/>
                      </a:lnTo>
                      <a:lnTo>
                        <a:pt x="8437" y="2590"/>
                      </a:lnTo>
                      <a:lnTo>
                        <a:pt x="8461" y="2567"/>
                      </a:lnTo>
                      <a:lnTo>
                        <a:pt x="8532" y="2531"/>
                      </a:lnTo>
                      <a:lnTo>
                        <a:pt x="8544" y="2472"/>
                      </a:lnTo>
                      <a:lnTo>
                        <a:pt x="8485" y="2365"/>
                      </a:lnTo>
                      <a:lnTo>
                        <a:pt x="8402" y="2317"/>
                      </a:lnTo>
                      <a:lnTo>
                        <a:pt x="8342" y="2246"/>
                      </a:lnTo>
                      <a:lnTo>
                        <a:pt x="8271" y="2222"/>
                      </a:lnTo>
                      <a:lnTo>
                        <a:pt x="8235" y="2175"/>
                      </a:lnTo>
                      <a:lnTo>
                        <a:pt x="8211" y="2079"/>
                      </a:lnTo>
                      <a:lnTo>
                        <a:pt x="8200" y="1996"/>
                      </a:lnTo>
                      <a:lnTo>
                        <a:pt x="8188" y="1913"/>
                      </a:lnTo>
                      <a:lnTo>
                        <a:pt x="8188" y="1806"/>
                      </a:lnTo>
                      <a:lnTo>
                        <a:pt x="8223" y="1652"/>
                      </a:lnTo>
                      <a:lnTo>
                        <a:pt x="8271" y="1557"/>
                      </a:lnTo>
                      <a:lnTo>
                        <a:pt x="8283" y="1521"/>
                      </a:lnTo>
                      <a:lnTo>
                        <a:pt x="8271" y="1497"/>
                      </a:lnTo>
                      <a:lnTo>
                        <a:pt x="8235" y="1485"/>
                      </a:lnTo>
                      <a:lnTo>
                        <a:pt x="8223" y="1450"/>
                      </a:lnTo>
                      <a:lnTo>
                        <a:pt x="8235" y="1378"/>
                      </a:lnTo>
                      <a:lnTo>
                        <a:pt x="8259" y="1343"/>
                      </a:lnTo>
                      <a:lnTo>
                        <a:pt x="8307" y="1295"/>
                      </a:lnTo>
                      <a:lnTo>
                        <a:pt x="8413" y="1236"/>
                      </a:lnTo>
                      <a:lnTo>
                        <a:pt x="8449" y="1188"/>
                      </a:lnTo>
                      <a:lnTo>
                        <a:pt x="8449" y="1164"/>
                      </a:lnTo>
                      <a:lnTo>
                        <a:pt x="8425" y="1164"/>
                      </a:lnTo>
                      <a:lnTo>
                        <a:pt x="8366" y="1176"/>
                      </a:lnTo>
                      <a:lnTo>
                        <a:pt x="8330" y="1212"/>
                      </a:lnTo>
                      <a:lnTo>
                        <a:pt x="8283" y="1224"/>
                      </a:lnTo>
                      <a:lnTo>
                        <a:pt x="8283" y="1236"/>
                      </a:lnTo>
                      <a:lnTo>
                        <a:pt x="8247" y="1236"/>
                      </a:lnTo>
                      <a:lnTo>
                        <a:pt x="8200" y="1248"/>
                      </a:lnTo>
                      <a:lnTo>
                        <a:pt x="8188" y="1236"/>
                      </a:lnTo>
                      <a:lnTo>
                        <a:pt x="8176" y="1224"/>
                      </a:lnTo>
                      <a:lnTo>
                        <a:pt x="8152" y="1164"/>
                      </a:lnTo>
                      <a:lnTo>
                        <a:pt x="8140" y="1034"/>
                      </a:lnTo>
                      <a:lnTo>
                        <a:pt x="8164" y="986"/>
                      </a:lnTo>
                      <a:lnTo>
                        <a:pt x="8164" y="951"/>
                      </a:lnTo>
                      <a:lnTo>
                        <a:pt x="8176" y="903"/>
                      </a:lnTo>
                      <a:lnTo>
                        <a:pt x="8223" y="867"/>
                      </a:lnTo>
                      <a:lnTo>
                        <a:pt x="8259" y="844"/>
                      </a:lnTo>
                      <a:lnTo>
                        <a:pt x="8318" y="820"/>
                      </a:lnTo>
                      <a:lnTo>
                        <a:pt x="8390" y="772"/>
                      </a:lnTo>
                      <a:lnTo>
                        <a:pt x="8390" y="760"/>
                      </a:lnTo>
                      <a:lnTo>
                        <a:pt x="8390" y="737"/>
                      </a:lnTo>
                      <a:lnTo>
                        <a:pt x="8378" y="725"/>
                      </a:lnTo>
                      <a:lnTo>
                        <a:pt x="8354" y="725"/>
                      </a:lnTo>
                      <a:lnTo>
                        <a:pt x="8271" y="772"/>
                      </a:lnTo>
                      <a:lnTo>
                        <a:pt x="8211" y="760"/>
                      </a:lnTo>
                      <a:lnTo>
                        <a:pt x="8188" y="725"/>
                      </a:lnTo>
                      <a:lnTo>
                        <a:pt x="8188" y="653"/>
                      </a:lnTo>
                      <a:lnTo>
                        <a:pt x="8188" y="440"/>
                      </a:lnTo>
                      <a:lnTo>
                        <a:pt x="8188" y="653"/>
                      </a:lnTo>
                      <a:lnTo>
                        <a:pt x="8188" y="653"/>
                      </a:lnTo>
                      <a:lnTo>
                        <a:pt x="8116" y="653"/>
                      </a:lnTo>
                      <a:lnTo>
                        <a:pt x="8081" y="665"/>
                      </a:lnTo>
                      <a:lnTo>
                        <a:pt x="8069" y="677"/>
                      </a:lnTo>
                      <a:lnTo>
                        <a:pt x="8021" y="749"/>
                      </a:lnTo>
                      <a:lnTo>
                        <a:pt x="7986" y="760"/>
                      </a:lnTo>
                      <a:lnTo>
                        <a:pt x="7926" y="760"/>
                      </a:lnTo>
                      <a:lnTo>
                        <a:pt x="7879" y="737"/>
                      </a:lnTo>
                      <a:lnTo>
                        <a:pt x="7867" y="737"/>
                      </a:lnTo>
                      <a:lnTo>
                        <a:pt x="7819" y="725"/>
                      </a:lnTo>
                      <a:lnTo>
                        <a:pt x="7748" y="737"/>
                      </a:lnTo>
                      <a:lnTo>
                        <a:pt x="7665" y="796"/>
                      </a:lnTo>
                      <a:lnTo>
                        <a:pt x="7629" y="832"/>
                      </a:lnTo>
                      <a:lnTo>
                        <a:pt x="7582" y="832"/>
                      </a:lnTo>
                      <a:lnTo>
                        <a:pt x="7558" y="832"/>
                      </a:lnTo>
                      <a:lnTo>
                        <a:pt x="7534" y="820"/>
                      </a:lnTo>
                      <a:lnTo>
                        <a:pt x="7498" y="844"/>
                      </a:lnTo>
                      <a:lnTo>
                        <a:pt x="7427" y="903"/>
                      </a:lnTo>
                      <a:lnTo>
                        <a:pt x="7273" y="951"/>
                      </a:lnTo>
                      <a:lnTo>
                        <a:pt x="7225" y="1010"/>
                      </a:lnTo>
                      <a:lnTo>
                        <a:pt x="7201" y="1010"/>
                      </a:lnTo>
                      <a:lnTo>
                        <a:pt x="7189" y="986"/>
                      </a:lnTo>
                      <a:lnTo>
                        <a:pt x="7166" y="986"/>
                      </a:lnTo>
                      <a:lnTo>
                        <a:pt x="7106" y="1034"/>
                      </a:lnTo>
                      <a:lnTo>
                        <a:pt x="6987" y="1046"/>
                      </a:lnTo>
                      <a:lnTo>
                        <a:pt x="6940" y="1081"/>
                      </a:lnTo>
                      <a:lnTo>
                        <a:pt x="6904" y="1105"/>
                      </a:lnTo>
                      <a:lnTo>
                        <a:pt x="6869" y="1105"/>
                      </a:lnTo>
                      <a:lnTo>
                        <a:pt x="6857" y="1081"/>
                      </a:lnTo>
                      <a:lnTo>
                        <a:pt x="6821" y="1034"/>
                      </a:lnTo>
                      <a:lnTo>
                        <a:pt x="6797" y="1010"/>
                      </a:lnTo>
                      <a:lnTo>
                        <a:pt x="6726" y="998"/>
                      </a:lnTo>
                      <a:lnTo>
                        <a:pt x="6714" y="974"/>
                      </a:lnTo>
                      <a:lnTo>
                        <a:pt x="6714" y="939"/>
                      </a:lnTo>
                      <a:lnTo>
                        <a:pt x="6702" y="927"/>
                      </a:lnTo>
                      <a:lnTo>
                        <a:pt x="6631" y="903"/>
                      </a:lnTo>
                      <a:lnTo>
                        <a:pt x="6643" y="951"/>
                      </a:lnTo>
                      <a:lnTo>
                        <a:pt x="6631" y="1010"/>
                      </a:lnTo>
                      <a:lnTo>
                        <a:pt x="6678" y="1093"/>
                      </a:lnTo>
                      <a:lnTo>
                        <a:pt x="6655" y="1129"/>
                      </a:lnTo>
                      <a:lnTo>
                        <a:pt x="6655" y="1141"/>
                      </a:lnTo>
                      <a:lnTo>
                        <a:pt x="6655" y="1153"/>
                      </a:lnTo>
                      <a:lnTo>
                        <a:pt x="6667" y="1236"/>
                      </a:lnTo>
                      <a:lnTo>
                        <a:pt x="6667" y="1271"/>
                      </a:lnTo>
                      <a:lnTo>
                        <a:pt x="6655" y="1307"/>
                      </a:lnTo>
                      <a:lnTo>
                        <a:pt x="6643" y="1307"/>
                      </a:lnTo>
                      <a:lnTo>
                        <a:pt x="6607" y="1271"/>
                      </a:lnTo>
                      <a:lnTo>
                        <a:pt x="6583" y="1248"/>
                      </a:lnTo>
                      <a:lnTo>
                        <a:pt x="6500" y="1188"/>
                      </a:lnTo>
                      <a:lnTo>
                        <a:pt x="6441" y="1188"/>
                      </a:lnTo>
                      <a:lnTo>
                        <a:pt x="6429" y="1176"/>
                      </a:lnTo>
                      <a:lnTo>
                        <a:pt x="6358" y="1164"/>
                      </a:lnTo>
                      <a:lnTo>
                        <a:pt x="6298" y="1129"/>
                      </a:lnTo>
                      <a:lnTo>
                        <a:pt x="6215" y="1117"/>
                      </a:lnTo>
                      <a:lnTo>
                        <a:pt x="6144" y="1081"/>
                      </a:lnTo>
                      <a:lnTo>
                        <a:pt x="6108" y="1081"/>
                      </a:lnTo>
                      <a:lnTo>
                        <a:pt x="6037" y="1117"/>
                      </a:lnTo>
                      <a:lnTo>
                        <a:pt x="6001" y="1117"/>
                      </a:lnTo>
                      <a:lnTo>
                        <a:pt x="5977" y="1105"/>
                      </a:lnTo>
                      <a:lnTo>
                        <a:pt x="5977" y="1010"/>
                      </a:lnTo>
                      <a:lnTo>
                        <a:pt x="6001" y="915"/>
                      </a:lnTo>
                      <a:lnTo>
                        <a:pt x="5894" y="962"/>
                      </a:lnTo>
                      <a:lnTo>
                        <a:pt x="5823" y="1034"/>
                      </a:lnTo>
                      <a:lnTo>
                        <a:pt x="5740" y="1046"/>
                      </a:lnTo>
                      <a:lnTo>
                        <a:pt x="5692" y="1081"/>
                      </a:lnTo>
                      <a:lnTo>
                        <a:pt x="5668" y="1081"/>
                      </a:lnTo>
                      <a:lnTo>
                        <a:pt x="5633" y="1081"/>
                      </a:lnTo>
                      <a:lnTo>
                        <a:pt x="5621" y="1057"/>
                      </a:lnTo>
                      <a:lnTo>
                        <a:pt x="5633" y="962"/>
                      </a:lnTo>
                      <a:lnTo>
                        <a:pt x="5621" y="951"/>
                      </a:lnTo>
                      <a:lnTo>
                        <a:pt x="5609" y="939"/>
                      </a:lnTo>
                      <a:lnTo>
                        <a:pt x="5585" y="939"/>
                      </a:lnTo>
                      <a:lnTo>
                        <a:pt x="5538" y="1022"/>
                      </a:lnTo>
                      <a:lnTo>
                        <a:pt x="5538" y="1069"/>
                      </a:lnTo>
                      <a:lnTo>
                        <a:pt x="5514" y="1129"/>
                      </a:lnTo>
                      <a:lnTo>
                        <a:pt x="5478" y="1129"/>
                      </a:lnTo>
                      <a:lnTo>
                        <a:pt x="5478" y="1105"/>
                      </a:lnTo>
                      <a:lnTo>
                        <a:pt x="5466" y="1069"/>
                      </a:lnTo>
                      <a:lnTo>
                        <a:pt x="5466" y="962"/>
                      </a:lnTo>
                      <a:lnTo>
                        <a:pt x="5490" y="867"/>
                      </a:lnTo>
                      <a:lnTo>
                        <a:pt x="5478" y="820"/>
                      </a:lnTo>
                      <a:lnTo>
                        <a:pt x="5443" y="772"/>
                      </a:lnTo>
                      <a:lnTo>
                        <a:pt x="5359" y="725"/>
                      </a:lnTo>
                      <a:lnTo>
                        <a:pt x="5312" y="653"/>
                      </a:lnTo>
                      <a:lnTo>
                        <a:pt x="5240" y="606"/>
                      </a:lnTo>
                      <a:lnTo>
                        <a:pt x="5205" y="546"/>
                      </a:lnTo>
                      <a:lnTo>
                        <a:pt x="5193" y="475"/>
                      </a:lnTo>
                      <a:lnTo>
                        <a:pt x="5181" y="487"/>
                      </a:lnTo>
                      <a:lnTo>
                        <a:pt x="5157" y="546"/>
                      </a:lnTo>
                      <a:lnTo>
                        <a:pt x="5157" y="546"/>
                      </a:lnTo>
                      <a:lnTo>
                        <a:pt x="5134" y="594"/>
                      </a:lnTo>
                      <a:lnTo>
                        <a:pt x="5134" y="642"/>
                      </a:lnTo>
                      <a:lnTo>
                        <a:pt x="5110" y="665"/>
                      </a:lnTo>
                      <a:lnTo>
                        <a:pt x="5050" y="689"/>
                      </a:lnTo>
                      <a:lnTo>
                        <a:pt x="5038" y="689"/>
                      </a:lnTo>
                      <a:lnTo>
                        <a:pt x="4991" y="665"/>
                      </a:lnTo>
                      <a:lnTo>
                        <a:pt x="4943" y="618"/>
                      </a:lnTo>
                      <a:lnTo>
                        <a:pt x="4920" y="582"/>
                      </a:lnTo>
                      <a:lnTo>
                        <a:pt x="4860" y="558"/>
                      </a:lnTo>
                      <a:lnTo>
                        <a:pt x="4836" y="570"/>
                      </a:lnTo>
                      <a:lnTo>
                        <a:pt x="4777" y="606"/>
                      </a:lnTo>
                      <a:lnTo>
                        <a:pt x="4706" y="594"/>
                      </a:lnTo>
                      <a:lnTo>
                        <a:pt x="4670" y="701"/>
                      </a:lnTo>
                      <a:lnTo>
                        <a:pt x="4587" y="891"/>
                      </a:lnTo>
                      <a:lnTo>
                        <a:pt x="4587" y="1057"/>
                      </a:lnTo>
                      <a:lnTo>
                        <a:pt x="4409" y="974"/>
                      </a:lnTo>
                      <a:lnTo>
                        <a:pt x="4337" y="915"/>
                      </a:lnTo>
                      <a:lnTo>
                        <a:pt x="4242" y="879"/>
                      </a:lnTo>
                      <a:lnTo>
                        <a:pt x="4100" y="784"/>
                      </a:lnTo>
                      <a:lnTo>
                        <a:pt x="4028" y="772"/>
                      </a:lnTo>
                      <a:lnTo>
                        <a:pt x="3993" y="737"/>
                      </a:lnTo>
                      <a:lnTo>
                        <a:pt x="3886" y="653"/>
                      </a:lnTo>
                      <a:lnTo>
                        <a:pt x="3826" y="642"/>
                      </a:lnTo>
                      <a:lnTo>
                        <a:pt x="3743" y="606"/>
                      </a:lnTo>
                      <a:lnTo>
                        <a:pt x="3684" y="606"/>
                      </a:lnTo>
                      <a:lnTo>
                        <a:pt x="3612" y="558"/>
                      </a:lnTo>
                      <a:lnTo>
                        <a:pt x="3529" y="546"/>
                      </a:lnTo>
                      <a:lnTo>
                        <a:pt x="3494" y="499"/>
                      </a:lnTo>
                      <a:lnTo>
                        <a:pt x="3482" y="463"/>
                      </a:lnTo>
                      <a:lnTo>
                        <a:pt x="3505" y="368"/>
                      </a:lnTo>
                      <a:lnTo>
                        <a:pt x="3529" y="344"/>
                      </a:lnTo>
                      <a:lnTo>
                        <a:pt x="3541" y="273"/>
                      </a:lnTo>
                      <a:lnTo>
                        <a:pt x="3565" y="226"/>
                      </a:lnTo>
                      <a:lnTo>
                        <a:pt x="3565" y="142"/>
                      </a:lnTo>
                      <a:lnTo>
                        <a:pt x="3601" y="71"/>
                      </a:lnTo>
                      <a:lnTo>
                        <a:pt x="3624" y="0"/>
                      </a:lnTo>
                      <a:lnTo>
                        <a:pt x="3601" y="0"/>
                      </a:lnTo>
                      <a:lnTo>
                        <a:pt x="3446" y="154"/>
                      </a:lnTo>
                      <a:lnTo>
                        <a:pt x="3387" y="178"/>
                      </a:lnTo>
                      <a:lnTo>
                        <a:pt x="3351" y="226"/>
                      </a:lnTo>
                      <a:lnTo>
                        <a:pt x="3327" y="285"/>
                      </a:lnTo>
                      <a:lnTo>
                        <a:pt x="3280" y="333"/>
                      </a:lnTo>
                      <a:lnTo>
                        <a:pt x="3268" y="380"/>
                      </a:lnTo>
                      <a:lnTo>
                        <a:pt x="3232" y="440"/>
                      </a:lnTo>
                      <a:lnTo>
                        <a:pt x="3196" y="570"/>
                      </a:lnTo>
                      <a:lnTo>
                        <a:pt x="3196" y="570"/>
                      </a:lnTo>
                      <a:lnTo>
                        <a:pt x="3196" y="594"/>
                      </a:lnTo>
                      <a:lnTo>
                        <a:pt x="3185" y="701"/>
                      </a:lnTo>
                      <a:lnTo>
                        <a:pt x="3173" y="713"/>
                      </a:lnTo>
                      <a:lnTo>
                        <a:pt x="3137" y="713"/>
                      </a:lnTo>
                      <a:lnTo>
                        <a:pt x="3125" y="784"/>
                      </a:lnTo>
                      <a:lnTo>
                        <a:pt x="3090" y="796"/>
                      </a:lnTo>
                      <a:lnTo>
                        <a:pt x="3078" y="820"/>
                      </a:lnTo>
                      <a:lnTo>
                        <a:pt x="3078" y="915"/>
                      </a:lnTo>
                      <a:lnTo>
                        <a:pt x="3101" y="1010"/>
                      </a:lnTo>
                      <a:lnTo>
                        <a:pt x="3101" y="1093"/>
                      </a:lnTo>
                      <a:lnTo>
                        <a:pt x="3054" y="1153"/>
                      </a:lnTo>
                      <a:lnTo>
                        <a:pt x="3018" y="1260"/>
                      </a:lnTo>
                      <a:lnTo>
                        <a:pt x="2935" y="1343"/>
                      </a:lnTo>
                      <a:lnTo>
                        <a:pt x="2935" y="1343"/>
                      </a:lnTo>
                      <a:lnTo>
                        <a:pt x="2899" y="1473"/>
                      </a:lnTo>
                      <a:lnTo>
                        <a:pt x="2816" y="1568"/>
                      </a:lnTo>
                      <a:lnTo>
                        <a:pt x="2816" y="1592"/>
                      </a:lnTo>
                      <a:lnTo>
                        <a:pt x="2840" y="1640"/>
                      </a:lnTo>
                      <a:lnTo>
                        <a:pt x="2828" y="1699"/>
                      </a:lnTo>
                      <a:lnTo>
                        <a:pt x="2852" y="1747"/>
                      </a:lnTo>
                      <a:lnTo>
                        <a:pt x="2828" y="1818"/>
                      </a:lnTo>
                      <a:lnTo>
                        <a:pt x="2828" y="1949"/>
                      </a:lnTo>
                      <a:lnTo>
                        <a:pt x="2840" y="1973"/>
                      </a:lnTo>
                      <a:lnTo>
                        <a:pt x="2828" y="2008"/>
                      </a:lnTo>
                      <a:lnTo>
                        <a:pt x="2757" y="2044"/>
                      </a:lnTo>
                      <a:lnTo>
                        <a:pt x="2745" y="2079"/>
                      </a:lnTo>
                      <a:lnTo>
                        <a:pt x="2721" y="2115"/>
                      </a:lnTo>
                      <a:lnTo>
                        <a:pt x="2674" y="2210"/>
                      </a:lnTo>
                      <a:lnTo>
                        <a:pt x="2662" y="2270"/>
                      </a:lnTo>
                      <a:lnTo>
                        <a:pt x="2662" y="2305"/>
                      </a:lnTo>
                      <a:lnTo>
                        <a:pt x="2650" y="2341"/>
                      </a:lnTo>
                      <a:lnTo>
                        <a:pt x="2674" y="2484"/>
                      </a:lnTo>
                      <a:lnTo>
                        <a:pt x="2662" y="2543"/>
                      </a:lnTo>
                      <a:lnTo>
                        <a:pt x="2590" y="2757"/>
                      </a:lnTo>
                      <a:lnTo>
                        <a:pt x="2567" y="2840"/>
                      </a:lnTo>
                      <a:lnTo>
                        <a:pt x="2531" y="2876"/>
                      </a:lnTo>
                      <a:lnTo>
                        <a:pt x="2495" y="2983"/>
                      </a:lnTo>
                      <a:lnTo>
                        <a:pt x="2388" y="3066"/>
                      </a:lnTo>
                      <a:lnTo>
                        <a:pt x="2293" y="3101"/>
                      </a:lnTo>
                      <a:lnTo>
                        <a:pt x="2270" y="3101"/>
                      </a:lnTo>
                      <a:lnTo>
                        <a:pt x="2222" y="3054"/>
                      </a:lnTo>
                      <a:lnTo>
                        <a:pt x="2163" y="3078"/>
                      </a:lnTo>
                      <a:lnTo>
                        <a:pt x="2115" y="3078"/>
                      </a:lnTo>
                      <a:lnTo>
                        <a:pt x="1949" y="3173"/>
                      </a:lnTo>
                      <a:lnTo>
                        <a:pt x="1901" y="3244"/>
                      </a:lnTo>
                      <a:lnTo>
                        <a:pt x="1842" y="3315"/>
                      </a:lnTo>
                      <a:lnTo>
                        <a:pt x="1830" y="3387"/>
                      </a:lnTo>
                      <a:lnTo>
                        <a:pt x="1806" y="3434"/>
                      </a:lnTo>
                      <a:lnTo>
                        <a:pt x="1818" y="3529"/>
                      </a:lnTo>
                      <a:lnTo>
                        <a:pt x="1782" y="3589"/>
                      </a:lnTo>
                      <a:lnTo>
                        <a:pt x="1794" y="3624"/>
                      </a:lnTo>
                      <a:lnTo>
                        <a:pt x="1735" y="3696"/>
                      </a:lnTo>
                      <a:lnTo>
                        <a:pt x="1723" y="3708"/>
                      </a:lnTo>
                      <a:lnTo>
                        <a:pt x="1687" y="3696"/>
                      </a:lnTo>
                      <a:lnTo>
                        <a:pt x="1687" y="3708"/>
                      </a:lnTo>
                      <a:lnTo>
                        <a:pt x="1675" y="3731"/>
                      </a:lnTo>
                      <a:lnTo>
                        <a:pt x="1699" y="3791"/>
                      </a:lnTo>
                      <a:lnTo>
                        <a:pt x="1687" y="3815"/>
                      </a:lnTo>
                      <a:lnTo>
                        <a:pt x="1640" y="3910"/>
                      </a:lnTo>
                      <a:lnTo>
                        <a:pt x="1592" y="3957"/>
                      </a:lnTo>
                      <a:lnTo>
                        <a:pt x="1557" y="4028"/>
                      </a:lnTo>
                      <a:lnTo>
                        <a:pt x="1533" y="4040"/>
                      </a:lnTo>
                      <a:lnTo>
                        <a:pt x="1461" y="4040"/>
                      </a:lnTo>
                      <a:lnTo>
                        <a:pt x="1414" y="4100"/>
                      </a:lnTo>
                      <a:lnTo>
                        <a:pt x="1331" y="4112"/>
                      </a:lnTo>
                      <a:lnTo>
                        <a:pt x="1283" y="4124"/>
                      </a:lnTo>
                      <a:lnTo>
                        <a:pt x="1164" y="4112"/>
                      </a:lnTo>
                      <a:lnTo>
                        <a:pt x="1141" y="4112"/>
                      </a:lnTo>
                      <a:lnTo>
                        <a:pt x="1093" y="4195"/>
                      </a:lnTo>
                      <a:lnTo>
                        <a:pt x="1081" y="4278"/>
                      </a:lnTo>
                      <a:lnTo>
                        <a:pt x="1069" y="4314"/>
                      </a:lnTo>
                      <a:lnTo>
                        <a:pt x="998" y="4373"/>
                      </a:lnTo>
                      <a:lnTo>
                        <a:pt x="927" y="4385"/>
                      </a:lnTo>
                      <a:lnTo>
                        <a:pt x="891" y="4421"/>
                      </a:lnTo>
                      <a:lnTo>
                        <a:pt x="843" y="4432"/>
                      </a:lnTo>
                      <a:lnTo>
                        <a:pt x="796" y="4492"/>
                      </a:lnTo>
                      <a:lnTo>
                        <a:pt x="796" y="4563"/>
                      </a:lnTo>
                      <a:lnTo>
                        <a:pt x="796" y="4575"/>
                      </a:lnTo>
                      <a:lnTo>
                        <a:pt x="748" y="4563"/>
                      </a:lnTo>
                      <a:lnTo>
                        <a:pt x="653" y="4599"/>
                      </a:lnTo>
                      <a:lnTo>
                        <a:pt x="641" y="4623"/>
                      </a:lnTo>
                      <a:lnTo>
                        <a:pt x="641" y="4670"/>
                      </a:lnTo>
                      <a:lnTo>
                        <a:pt x="653" y="4706"/>
                      </a:lnTo>
                      <a:lnTo>
                        <a:pt x="665" y="4730"/>
                      </a:lnTo>
                      <a:lnTo>
                        <a:pt x="689" y="4730"/>
                      </a:lnTo>
                      <a:lnTo>
                        <a:pt x="701" y="4753"/>
                      </a:lnTo>
                      <a:lnTo>
                        <a:pt x="725" y="4765"/>
                      </a:lnTo>
                      <a:lnTo>
                        <a:pt x="725" y="4801"/>
                      </a:lnTo>
                      <a:lnTo>
                        <a:pt x="713" y="4884"/>
                      </a:lnTo>
                      <a:lnTo>
                        <a:pt x="677" y="4896"/>
                      </a:lnTo>
                      <a:lnTo>
                        <a:pt x="653" y="4932"/>
                      </a:lnTo>
                      <a:lnTo>
                        <a:pt x="594" y="4932"/>
                      </a:lnTo>
                      <a:lnTo>
                        <a:pt x="582" y="4955"/>
                      </a:lnTo>
                      <a:lnTo>
                        <a:pt x="582" y="5003"/>
                      </a:lnTo>
                      <a:lnTo>
                        <a:pt x="558" y="5015"/>
                      </a:lnTo>
                      <a:lnTo>
                        <a:pt x="523" y="5110"/>
                      </a:lnTo>
                      <a:lnTo>
                        <a:pt x="451" y="5146"/>
                      </a:lnTo>
                      <a:lnTo>
                        <a:pt x="392" y="5157"/>
                      </a:lnTo>
                      <a:lnTo>
                        <a:pt x="356" y="5205"/>
                      </a:lnTo>
                      <a:lnTo>
                        <a:pt x="344" y="5229"/>
                      </a:lnTo>
                      <a:lnTo>
                        <a:pt x="261" y="5300"/>
                      </a:lnTo>
                      <a:lnTo>
                        <a:pt x="202" y="5514"/>
                      </a:lnTo>
                      <a:lnTo>
                        <a:pt x="154" y="5573"/>
                      </a:lnTo>
                      <a:lnTo>
                        <a:pt x="95" y="5645"/>
                      </a:lnTo>
                      <a:lnTo>
                        <a:pt x="59" y="5728"/>
                      </a:lnTo>
                      <a:lnTo>
                        <a:pt x="59" y="5799"/>
                      </a:lnTo>
                      <a:lnTo>
                        <a:pt x="59" y="5835"/>
                      </a:lnTo>
                      <a:lnTo>
                        <a:pt x="59" y="5894"/>
                      </a:lnTo>
                      <a:lnTo>
                        <a:pt x="12" y="6001"/>
                      </a:lnTo>
                      <a:lnTo>
                        <a:pt x="0" y="6144"/>
                      </a:lnTo>
                      <a:lnTo>
                        <a:pt x="0" y="6203"/>
                      </a:lnTo>
                      <a:lnTo>
                        <a:pt x="23" y="6263"/>
                      </a:lnTo>
                      <a:lnTo>
                        <a:pt x="47" y="6286"/>
                      </a:lnTo>
                      <a:lnTo>
                        <a:pt x="83" y="6322"/>
                      </a:lnTo>
                      <a:lnTo>
                        <a:pt x="107" y="6370"/>
                      </a:lnTo>
                      <a:lnTo>
                        <a:pt x="142" y="6488"/>
                      </a:lnTo>
                      <a:lnTo>
                        <a:pt x="202" y="6595"/>
                      </a:lnTo>
                      <a:lnTo>
                        <a:pt x="214" y="6667"/>
                      </a:lnTo>
                      <a:lnTo>
                        <a:pt x="178" y="6690"/>
                      </a:lnTo>
                      <a:lnTo>
                        <a:pt x="95" y="6667"/>
                      </a:lnTo>
                      <a:lnTo>
                        <a:pt x="178" y="6690"/>
                      </a:lnTo>
                      <a:lnTo>
                        <a:pt x="154" y="6774"/>
                      </a:lnTo>
                      <a:lnTo>
                        <a:pt x="190" y="6845"/>
                      </a:lnTo>
                      <a:lnTo>
                        <a:pt x="178" y="6940"/>
                      </a:lnTo>
                      <a:lnTo>
                        <a:pt x="178" y="6976"/>
                      </a:lnTo>
                      <a:lnTo>
                        <a:pt x="202" y="7011"/>
                      </a:lnTo>
                      <a:lnTo>
                        <a:pt x="226" y="7035"/>
                      </a:lnTo>
                      <a:lnTo>
                        <a:pt x="237" y="7047"/>
                      </a:lnTo>
                      <a:lnTo>
                        <a:pt x="273" y="7035"/>
                      </a:lnTo>
                      <a:lnTo>
                        <a:pt x="380" y="6976"/>
                      </a:lnTo>
                      <a:lnTo>
                        <a:pt x="451" y="7011"/>
                      </a:lnTo>
                      <a:lnTo>
                        <a:pt x="511" y="7011"/>
                      </a:lnTo>
                      <a:lnTo>
                        <a:pt x="523" y="7011"/>
                      </a:lnTo>
                      <a:lnTo>
                        <a:pt x="546" y="7035"/>
                      </a:lnTo>
                      <a:lnTo>
                        <a:pt x="558" y="7059"/>
                      </a:lnTo>
                      <a:lnTo>
                        <a:pt x="558" y="7094"/>
                      </a:lnTo>
                      <a:lnTo>
                        <a:pt x="534" y="7142"/>
                      </a:lnTo>
                      <a:lnTo>
                        <a:pt x="511" y="7166"/>
                      </a:lnTo>
                      <a:lnTo>
                        <a:pt x="428" y="7178"/>
                      </a:lnTo>
                      <a:lnTo>
                        <a:pt x="428" y="7190"/>
                      </a:lnTo>
                      <a:lnTo>
                        <a:pt x="392" y="7201"/>
                      </a:lnTo>
                      <a:lnTo>
                        <a:pt x="356" y="7237"/>
                      </a:lnTo>
                      <a:lnTo>
                        <a:pt x="356" y="7296"/>
                      </a:lnTo>
                      <a:lnTo>
                        <a:pt x="356" y="7320"/>
                      </a:lnTo>
                      <a:lnTo>
                        <a:pt x="392" y="7368"/>
                      </a:lnTo>
                      <a:lnTo>
                        <a:pt x="416" y="7403"/>
                      </a:lnTo>
                      <a:lnTo>
                        <a:pt x="534" y="7451"/>
                      </a:lnTo>
                      <a:lnTo>
                        <a:pt x="677" y="7439"/>
                      </a:lnTo>
                      <a:lnTo>
                        <a:pt x="701" y="7463"/>
                      </a:lnTo>
                      <a:lnTo>
                        <a:pt x="725" y="7463"/>
                      </a:lnTo>
                      <a:lnTo>
                        <a:pt x="760" y="7427"/>
                      </a:lnTo>
                      <a:lnTo>
                        <a:pt x="891" y="7451"/>
                      </a:lnTo>
                      <a:lnTo>
                        <a:pt x="939" y="7487"/>
                      </a:lnTo>
                      <a:lnTo>
                        <a:pt x="962" y="7558"/>
                      </a:lnTo>
                      <a:lnTo>
                        <a:pt x="998" y="7605"/>
                      </a:lnTo>
                      <a:lnTo>
                        <a:pt x="1057" y="7629"/>
                      </a:lnTo>
                      <a:lnTo>
                        <a:pt x="1188" y="7653"/>
                      </a:lnTo>
                      <a:lnTo>
                        <a:pt x="1224" y="7677"/>
                      </a:lnTo>
                      <a:lnTo>
                        <a:pt x="1271" y="7712"/>
                      </a:lnTo>
                      <a:lnTo>
                        <a:pt x="1283" y="7736"/>
                      </a:lnTo>
                      <a:lnTo>
                        <a:pt x="1331" y="7784"/>
                      </a:lnTo>
                      <a:lnTo>
                        <a:pt x="1390" y="7784"/>
                      </a:lnTo>
                      <a:lnTo>
                        <a:pt x="1438" y="7807"/>
                      </a:lnTo>
                      <a:lnTo>
                        <a:pt x="1521" y="7807"/>
                      </a:lnTo>
                      <a:lnTo>
                        <a:pt x="1533" y="7819"/>
                      </a:lnTo>
                      <a:lnTo>
                        <a:pt x="1557" y="7831"/>
                      </a:lnTo>
                      <a:lnTo>
                        <a:pt x="1592" y="7891"/>
                      </a:lnTo>
                      <a:lnTo>
                        <a:pt x="1675" y="7926"/>
                      </a:lnTo>
                      <a:lnTo>
                        <a:pt x="1782" y="7998"/>
                      </a:lnTo>
                      <a:lnTo>
                        <a:pt x="1925" y="8010"/>
                      </a:lnTo>
                      <a:lnTo>
                        <a:pt x="1961" y="8033"/>
                      </a:lnTo>
                      <a:lnTo>
                        <a:pt x="2103" y="8069"/>
                      </a:lnTo>
                      <a:lnTo>
                        <a:pt x="2163" y="8116"/>
                      </a:lnTo>
                      <a:lnTo>
                        <a:pt x="2210" y="8128"/>
                      </a:lnTo>
                      <a:lnTo>
                        <a:pt x="2258" y="8176"/>
                      </a:lnTo>
                      <a:lnTo>
                        <a:pt x="2353" y="8176"/>
                      </a:lnTo>
                      <a:lnTo>
                        <a:pt x="2472" y="8235"/>
                      </a:lnTo>
                      <a:lnTo>
                        <a:pt x="2495" y="8271"/>
                      </a:lnTo>
                      <a:lnTo>
                        <a:pt x="2531" y="8342"/>
                      </a:lnTo>
                      <a:lnTo>
                        <a:pt x="2579" y="8378"/>
                      </a:lnTo>
                      <a:lnTo>
                        <a:pt x="2614" y="8402"/>
                      </a:lnTo>
                      <a:lnTo>
                        <a:pt x="2614" y="8425"/>
                      </a:lnTo>
                      <a:lnTo>
                        <a:pt x="2626" y="8425"/>
                      </a:lnTo>
                      <a:lnTo>
                        <a:pt x="2626" y="8437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26" name="Freeform 420"/>
                <p:cNvSpPr>
                  <a:spLocks/>
                </p:cNvSpPr>
                <p:nvPr/>
              </p:nvSpPr>
              <p:spPr bwMode="auto">
                <a:xfrm>
                  <a:off x="16216306" y="5929306"/>
                  <a:ext cx="1717687" cy="1150941"/>
                </a:xfrm>
                <a:custGeom>
                  <a:avLst/>
                  <a:gdLst/>
                  <a:ahLst/>
                  <a:cxnLst>
                    <a:cxn ang="0">
                      <a:pos x="987" y="48"/>
                    </a:cxn>
                    <a:cxn ang="0">
                      <a:pos x="107" y="0"/>
                    </a:cxn>
                    <a:cxn ang="0">
                      <a:pos x="83" y="36"/>
                    </a:cxn>
                    <a:cxn ang="0">
                      <a:pos x="83" y="71"/>
                    </a:cxn>
                    <a:cxn ang="0">
                      <a:pos x="83" y="131"/>
                    </a:cxn>
                    <a:cxn ang="0">
                      <a:pos x="71" y="155"/>
                    </a:cxn>
                    <a:cxn ang="0">
                      <a:pos x="71" y="166"/>
                    </a:cxn>
                    <a:cxn ang="0">
                      <a:pos x="60" y="178"/>
                    </a:cxn>
                    <a:cxn ang="0">
                      <a:pos x="60" y="202"/>
                    </a:cxn>
                    <a:cxn ang="0">
                      <a:pos x="71" y="226"/>
                    </a:cxn>
                    <a:cxn ang="0">
                      <a:pos x="71" y="238"/>
                    </a:cxn>
                    <a:cxn ang="0">
                      <a:pos x="60" y="262"/>
                    </a:cxn>
                    <a:cxn ang="0">
                      <a:pos x="12" y="345"/>
                    </a:cxn>
                    <a:cxn ang="0">
                      <a:pos x="12" y="357"/>
                    </a:cxn>
                    <a:cxn ang="0">
                      <a:pos x="12" y="369"/>
                    </a:cxn>
                    <a:cxn ang="0">
                      <a:pos x="12" y="416"/>
                    </a:cxn>
                    <a:cxn ang="0">
                      <a:pos x="12" y="487"/>
                    </a:cxn>
                    <a:cxn ang="0">
                      <a:pos x="12" y="547"/>
                    </a:cxn>
                    <a:cxn ang="0">
                      <a:pos x="0" y="606"/>
                    </a:cxn>
                    <a:cxn ang="0">
                      <a:pos x="0" y="654"/>
                    </a:cxn>
                    <a:cxn ang="0">
                      <a:pos x="36" y="654"/>
                    </a:cxn>
                    <a:cxn ang="0">
                      <a:pos x="975" y="701"/>
                    </a:cxn>
                    <a:cxn ang="0">
                      <a:pos x="1070" y="725"/>
                    </a:cxn>
                    <a:cxn ang="0">
                      <a:pos x="1022" y="642"/>
                    </a:cxn>
                    <a:cxn ang="0">
                      <a:pos x="1022" y="618"/>
                    </a:cxn>
                    <a:cxn ang="0">
                      <a:pos x="1034" y="594"/>
                    </a:cxn>
                    <a:cxn ang="0">
                      <a:pos x="1034" y="452"/>
                    </a:cxn>
                    <a:cxn ang="0">
                      <a:pos x="1046" y="392"/>
                    </a:cxn>
                    <a:cxn ang="0">
                      <a:pos x="1082" y="345"/>
                    </a:cxn>
                    <a:cxn ang="0">
                      <a:pos x="1082" y="238"/>
                    </a:cxn>
                    <a:cxn ang="0">
                      <a:pos x="1058" y="155"/>
                    </a:cxn>
                    <a:cxn ang="0">
                      <a:pos x="1010" y="107"/>
                    </a:cxn>
                    <a:cxn ang="0">
                      <a:pos x="1010" y="107"/>
                    </a:cxn>
                    <a:cxn ang="0">
                      <a:pos x="987" y="48"/>
                    </a:cxn>
                    <a:cxn ang="0">
                      <a:pos x="987" y="48"/>
                    </a:cxn>
                  </a:cxnLst>
                  <a:rect l="0" t="0" r="r" b="b"/>
                  <a:pathLst>
                    <a:path w="1082" h="725">
                      <a:moveTo>
                        <a:pt x="987" y="48"/>
                      </a:moveTo>
                      <a:lnTo>
                        <a:pt x="107" y="0"/>
                      </a:lnTo>
                      <a:lnTo>
                        <a:pt x="83" y="36"/>
                      </a:lnTo>
                      <a:lnTo>
                        <a:pt x="83" y="71"/>
                      </a:lnTo>
                      <a:lnTo>
                        <a:pt x="83" y="131"/>
                      </a:lnTo>
                      <a:lnTo>
                        <a:pt x="71" y="155"/>
                      </a:lnTo>
                      <a:lnTo>
                        <a:pt x="71" y="166"/>
                      </a:lnTo>
                      <a:lnTo>
                        <a:pt x="60" y="178"/>
                      </a:lnTo>
                      <a:lnTo>
                        <a:pt x="60" y="202"/>
                      </a:lnTo>
                      <a:lnTo>
                        <a:pt x="71" y="226"/>
                      </a:lnTo>
                      <a:lnTo>
                        <a:pt x="71" y="238"/>
                      </a:lnTo>
                      <a:lnTo>
                        <a:pt x="60" y="262"/>
                      </a:lnTo>
                      <a:lnTo>
                        <a:pt x="12" y="345"/>
                      </a:lnTo>
                      <a:lnTo>
                        <a:pt x="12" y="357"/>
                      </a:lnTo>
                      <a:lnTo>
                        <a:pt x="12" y="369"/>
                      </a:lnTo>
                      <a:lnTo>
                        <a:pt x="12" y="416"/>
                      </a:lnTo>
                      <a:lnTo>
                        <a:pt x="12" y="487"/>
                      </a:lnTo>
                      <a:lnTo>
                        <a:pt x="12" y="547"/>
                      </a:lnTo>
                      <a:lnTo>
                        <a:pt x="0" y="606"/>
                      </a:lnTo>
                      <a:lnTo>
                        <a:pt x="0" y="654"/>
                      </a:lnTo>
                      <a:lnTo>
                        <a:pt x="36" y="654"/>
                      </a:lnTo>
                      <a:lnTo>
                        <a:pt x="975" y="701"/>
                      </a:lnTo>
                      <a:lnTo>
                        <a:pt x="1070" y="725"/>
                      </a:lnTo>
                      <a:lnTo>
                        <a:pt x="1022" y="642"/>
                      </a:lnTo>
                      <a:lnTo>
                        <a:pt x="1022" y="618"/>
                      </a:lnTo>
                      <a:lnTo>
                        <a:pt x="1034" y="594"/>
                      </a:lnTo>
                      <a:lnTo>
                        <a:pt x="1034" y="452"/>
                      </a:lnTo>
                      <a:lnTo>
                        <a:pt x="1046" y="392"/>
                      </a:lnTo>
                      <a:lnTo>
                        <a:pt x="1082" y="345"/>
                      </a:lnTo>
                      <a:lnTo>
                        <a:pt x="1082" y="238"/>
                      </a:lnTo>
                      <a:lnTo>
                        <a:pt x="1058" y="155"/>
                      </a:lnTo>
                      <a:lnTo>
                        <a:pt x="1010" y="107"/>
                      </a:lnTo>
                      <a:lnTo>
                        <a:pt x="1010" y="107"/>
                      </a:lnTo>
                      <a:lnTo>
                        <a:pt x="987" y="48"/>
                      </a:lnTo>
                      <a:lnTo>
                        <a:pt x="987" y="48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27" name="Freeform 422"/>
                <p:cNvSpPr>
                  <a:spLocks/>
                </p:cNvSpPr>
                <p:nvPr/>
              </p:nvSpPr>
              <p:spPr bwMode="auto">
                <a:xfrm>
                  <a:off x="27290717" y="11174425"/>
                  <a:ext cx="4283064" cy="6489711"/>
                </a:xfrm>
                <a:custGeom>
                  <a:avLst/>
                  <a:gdLst/>
                  <a:ahLst/>
                  <a:cxnLst>
                    <a:cxn ang="0">
                      <a:pos x="2686" y="665"/>
                    </a:cxn>
                    <a:cxn ang="0">
                      <a:pos x="2614" y="939"/>
                    </a:cxn>
                    <a:cxn ang="0">
                      <a:pos x="2579" y="1164"/>
                    </a:cxn>
                    <a:cxn ang="0">
                      <a:pos x="2591" y="1711"/>
                    </a:cxn>
                    <a:cxn ang="0">
                      <a:pos x="2507" y="2068"/>
                    </a:cxn>
                    <a:cxn ang="0">
                      <a:pos x="2448" y="2186"/>
                    </a:cxn>
                    <a:cxn ang="0">
                      <a:pos x="2222" y="2293"/>
                    </a:cxn>
                    <a:cxn ang="0">
                      <a:pos x="2092" y="2495"/>
                    </a:cxn>
                    <a:cxn ang="0">
                      <a:pos x="2044" y="2543"/>
                    </a:cxn>
                    <a:cxn ang="0">
                      <a:pos x="1949" y="2662"/>
                    </a:cxn>
                    <a:cxn ang="0">
                      <a:pos x="1925" y="2828"/>
                    </a:cxn>
                    <a:cxn ang="0">
                      <a:pos x="1854" y="2971"/>
                    </a:cxn>
                    <a:cxn ang="0">
                      <a:pos x="1830" y="2995"/>
                    </a:cxn>
                    <a:cxn ang="0">
                      <a:pos x="1759" y="3078"/>
                    </a:cxn>
                    <a:cxn ang="0">
                      <a:pos x="1592" y="3351"/>
                    </a:cxn>
                    <a:cxn ang="0">
                      <a:pos x="1402" y="3553"/>
                    </a:cxn>
                    <a:cxn ang="0">
                      <a:pos x="1331" y="3553"/>
                    </a:cxn>
                    <a:cxn ang="0">
                      <a:pos x="1129" y="3755"/>
                    </a:cxn>
                    <a:cxn ang="0">
                      <a:pos x="1046" y="3945"/>
                    </a:cxn>
                    <a:cxn ang="0">
                      <a:pos x="951" y="4088"/>
                    </a:cxn>
                    <a:cxn ang="0">
                      <a:pos x="820" y="4005"/>
                    </a:cxn>
                    <a:cxn ang="0">
                      <a:pos x="582" y="4005"/>
                    </a:cxn>
                    <a:cxn ang="0">
                      <a:pos x="285" y="3898"/>
                    </a:cxn>
                    <a:cxn ang="0">
                      <a:pos x="131" y="3826"/>
                    </a:cxn>
                    <a:cxn ang="0">
                      <a:pos x="107" y="3779"/>
                    </a:cxn>
                    <a:cxn ang="0">
                      <a:pos x="95" y="3506"/>
                    </a:cxn>
                    <a:cxn ang="0">
                      <a:pos x="36" y="3458"/>
                    </a:cxn>
                    <a:cxn ang="0">
                      <a:pos x="36" y="3375"/>
                    </a:cxn>
                    <a:cxn ang="0">
                      <a:pos x="95" y="3208"/>
                    </a:cxn>
                    <a:cxn ang="0">
                      <a:pos x="71" y="3018"/>
                    </a:cxn>
                    <a:cxn ang="0">
                      <a:pos x="154" y="2804"/>
                    </a:cxn>
                    <a:cxn ang="0">
                      <a:pos x="273" y="2745"/>
                    </a:cxn>
                    <a:cxn ang="0">
                      <a:pos x="368" y="2769"/>
                    </a:cxn>
                    <a:cxn ang="0">
                      <a:pos x="630" y="2733"/>
                    </a:cxn>
                    <a:cxn ang="0">
                      <a:pos x="701" y="2531"/>
                    </a:cxn>
                    <a:cxn ang="0">
                      <a:pos x="915" y="2305"/>
                    </a:cxn>
                    <a:cxn ang="0">
                      <a:pos x="915" y="2127"/>
                    </a:cxn>
                    <a:cxn ang="0">
                      <a:pos x="1141" y="1866"/>
                    </a:cxn>
                    <a:cxn ang="0">
                      <a:pos x="1188" y="1533"/>
                    </a:cxn>
                    <a:cxn ang="0">
                      <a:pos x="1081" y="1390"/>
                    </a:cxn>
                    <a:cxn ang="0">
                      <a:pos x="1022" y="1212"/>
                    </a:cxn>
                    <a:cxn ang="0">
                      <a:pos x="879" y="1117"/>
                    </a:cxn>
                    <a:cxn ang="0">
                      <a:pos x="974" y="1069"/>
                    </a:cxn>
                    <a:cxn ang="0">
                      <a:pos x="1141" y="1117"/>
                    </a:cxn>
                    <a:cxn ang="0">
                      <a:pos x="1248" y="1022"/>
                    </a:cxn>
                    <a:cxn ang="0">
                      <a:pos x="1224" y="915"/>
                    </a:cxn>
                    <a:cxn ang="0">
                      <a:pos x="1141" y="820"/>
                    </a:cxn>
                    <a:cxn ang="0">
                      <a:pos x="1153" y="570"/>
                    </a:cxn>
                    <a:cxn ang="0">
                      <a:pos x="1046" y="487"/>
                    </a:cxn>
                    <a:cxn ang="0">
                      <a:pos x="1117" y="333"/>
                    </a:cxn>
                    <a:cxn ang="0">
                      <a:pos x="1248" y="237"/>
                    </a:cxn>
                    <a:cxn ang="0">
                      <a:pos x="1426" y="273"/>
                    </a:cxn>
                    <a:cxn ang="0">
                      <a:pos x="1426" y="202"/>
                    </a:cxn>
                    <a:cxn ang="0">
                      <a:pos x="1319" y="83"/>
                    </a:cxn>
                    <a:cxn ang="0">
                      <a:pos x="1390" y="95"/>
                    </a:cxn>
                    <a:cxn ang="0">
                      <a:pos x="1581" y="95"/>
                    </a:cxn>
                    <a:cxn ang="0">
                      <a:pos x="1676" y="0"/>
                    </a:cxn>
                    <a:cxn ang="0">
                      <a:pos x="1937" y="71"/>
                    </a:cxn>
                    <a:cxn ang="0">
                      <a:pos x="2068" y="119"/>
                    </a:cxn>
                    <a:cxn ang="0">
                      <a:pos x="2127" y="95"/>
                    </a:cxn>
                    <a:cxn ang="0">
                      <a:pos x="2436" y="404"/>
                    </a:cxn>
                  </a:cxnLst>
                  <a:rect l="0" t="0" r="r" b="b"/>
                  <a:pathLst>
                    <a:path w="2698" h="4088">
                      <a:moveTo>
                        <a:pt x="2698" y="642"/>
                      </a:moveTo>
                      <a:lnTo>
                        <a:pt x="2698" y="642"/>
                      </a:lnTo>
                      <a:lnTo>
                        <a:pt x="2686" y="665"/>
                      </a:lnTo>
                      <a:lnTo>
                        <a:pt x="2674" y="677"/>
                      </a:lnTo>
                      <a:lnTo>
                        <a:pt x="2626" y="808"/>
                      </a:lnTo>
                      <a:lnTo>
                        <a:pt x="2614" y="939"/>
                      </a:lnTo>
                      <a:lnTo>
                        <a:pt x="2614" y="951"/>
                      </a:lnTo>
                      <a:lnTo>
                        <a:pt x="2603" y="1034"/>
                      </a:lnTo>
                      <a:lnTo>
                        <a:pt x="2579" y="1164"/>
                      </a:lnTo>
                      <a:lnTo>
                        <a:pt x="2591" y="1402"/>
                      </a:lnTo>
                      <a:lnTo>
                        <a:pt x="2567" y="1580"/>
                      </a:lnTo>
                      <a:lnTo>
                        <a:pt x="2591" y="1711"/>
                      </a:lnTo>
                      <a:lnTo>
                        <a:pt x="2603" y="1782"/>
                      </a:lnTo>
                      <a:lnTo>
                        <a:pt x="2603" y="1806"/>
                      </a:lnTo>
                      <a:lnTo>
                        <a:pt x="2507" y="2068"/>
                      </a:lnTo>
                      <a:lnTo>
                        <a:pt x="2472" y="2151"/>
                      </a:lnTo>
                      <a:lnTo>
                        <a:pt x="2448" y="2175"/>
                      </a:lnTo>
                      <a:lnTo>
                        <a:pt x="2448" y="2186"/>
                      </a:lnTo>
                      <a:lnTo>
                        <a:pt x="2389" y="2234"/>
                      </a:lnTo>
                      <a:lnTo>
                        <a:pt x="2246" y="2270"/>
                      </a:lnTo>
                      <a:lnTo>
                        <a:pt x="2222" y="2293"/>
                      </a:lnTo>
                      <a:lnTo>
                        <a:pt x="2175" y="2353"/>
                      </a:lnTo>
                      <a:lnTo>
                        <a:pt x="2115" y="2460"/>
                      </a:lnTo>
                      <a:lnTo>
                        <a:pt x="2092" y="2495"/>
                      </a:lnTo>
                      <a:lnTo>
                        <a:pt x="2080" y="2507"/>
                      </a:lnTo>
                      <a:lnTo>
                        <a:pt x="2080" y="2507"/>
                      </a:lnTo>
                      <a:lnTo>
                        <a:pt x="2044" y="2543"/>
                      </a:lnTo>
                      <a:lnTo>
                        <a:pt x="2020" y="2602"/>
                      </a:lnTo>
                      <a:lnTo>
                        <a:pt x="1985" y="2650"/>
                      </a:lnTo>
                      <a:lnTo>
                        <a:pt x="1949" y="2662"/>
                      </a:lnTo>
                      <a:lnTo>
                        <a:pt x="1925" y="2686"/>
                      </a:lnTo>
                      <a:lnTo>
                        <a:pt x="1937" y="2745"/>
                      </a:lnTo>
                      <a:lnTo>
                        <a:pt x="1925" y="2828"/>
                      </a:lnTo>
                      <a:lnTo>
                        <a:pt x="1913" y="2899"/>
                      </a:lnTo>
                      <a:lnTo>
                        <a:pt x="1866" y="2971"/>
                      </a:lnTo>
                      <a:lnTo>
                        <a:pt x="1854" y="2971"/>
                      </a:lnTo>
                      <a:lnTo>
                        <a:pt x="1842" y="2971"/>
                      </a:lnTo>
                      <a:lnTo>
                        <a:pt x="1830" y="2971"/>
                      </a:lnTo>
                      <a:lnTo>
                        <a:pt x="1830" y="2995"/>
                      </a:lnTo>
                      <a:lnTo>
                        <a:pt x="1830" y="3018"/>
                      </a:lnTo>
                      <a:lnTo>
                        <a:pt x="1806" y="3030"/>
                      </a:lnTo>
                      <a:lnTo>
                        <a:pt x="1759" y="3078"/>
                      </a:lnTo>
                      <a:lnTo>
                        <a:pt x="1628" y="3351"/>
                      </a:lnTo>
                      <a:lnTo>
                        <a:pt x="1616" y="3363"/>
                      </a:lnTo>
                      <a:lnTo>
                        <a:pt x="1592" y="3351"/>
                      </a:lnTo>
                      <a:lnTo>
                        <a:pt x="1569" y="3375"/>
                      </a:lnTo>
                      <a:lnTo>
                        <a:pt x="1545" y="3387"/>
                      </a:lnTo>
                      <a:lnTo>
                        <a:pt x="1402" y="3553"/>
                      </a:lnTo>
                      <a:lnTo>
                        <a:pt x="1367" y="3565"/>
                      </a:lnTo>
                      <a:lnTo>
                        <a:pt x="1355" y="3541"/>
                      </a:lnTo>
                      <a:lnTo>
                        <a:pt x="1331" y="3553"/>
                      </a:lnTo>
                      <a:lnTo>
                        <a:pt x="1212" y="3636"/>
                      </a:lnTo>
                      <a:lnTo>
                        <a:pt x="1165" y="3684"/>
                      </a:lnTo>
                      <a:lnTo>
                        <a:pt x="1129" y="3755"/>
                      </a:lnTo>
                      <a:lnTo>
                        <a:pt x="1129" y="3791"/>
                      </a:lnTo>
                      <a:lnTo>
                        <a:pt x="1093" y="3862"/>
                      </a:lnTo>
                      <a:lnTo>
                        <a:pt x="1046" y="3945"/>
                      </a:lnTo>
                      <a:lnTo>
                        <a:pt x="986" y="3993"/>
                      </a:lnTo>
                      <a:lnTo>
                        <a:pt x="963" y="4040"/>
                      </a:lnTo>
                      <a:lnTo>
                        <a:pt x="951" y="4088"/>
                      </a:lnTo>
                      <a:lnTo>
                        <a:pt x="903" y="4088"/>
                      </a:lnTo>
                      <a:lnTo>
                        <a:pt x="856" y="4028"/>
                      </a:lnTo>
                      <a:lnTo>
                        <a:pt x="820" y="4005"/>
                      </a:lnTo>
                      <a:lnTo>
                        <a:pt x="725" y="4005"/>
                      </a:lnTo>
                      <a:lnTo>
                        <a:pt x="677" y="4017"/>
                      </a:lnTo>
                      <a:lnTo>
                        <a:pt x="582" y="4005"/>
                      </a:lnTo>
                      <a:lnTo>
                        <a:pt x="487" y="3957"/>
                      </a:lnTo>
                      <a:lnTo>
                        <a:pt x="333" y="3933"/>
                      </a:lnTo>
                      <a:lnTo>
                        <a:pt x="285" y="3898"/>
                      </a:lnTo>
                      <a:lnTo>
                        <a:pt x="214" y="3862"/>
                      </a:lnTo>
                      <a:lnTo>
                        <a:pt x="178" y="3838"/>
                      </a:lnTo>
                      <a:lnTo>
                        <a:pt x="131" y="3826"/>
                      </a:lnTo>
                      <a:lnTo>
                        <a:pt x="119" y="3838"/>
                      </a:lnTo>
                      <a:lnTo>
                        <a:pt x="107" y="3826"/>
                      </a:lnTo>
                      <a:lnTo>
                        <a:pt x="107" y="3779"/>
                      </a:lnTo>
                      <a:lnTo>
                        <a:pt x="131" y="3696"/>
                      </a:lnTo>
                      <a:lnTo>
                        <a:pt x="119" y="3541"/>
                      </a:lnTo>
                      <a:lnTo>
                        <a:pt x="95" y="3506"/>
                      </a:lnTo>
                      <a:lnTo>
                        <a:pt x="107" y="3482"/>
                      </a:lnTo>
                      <a:lnTo>
                        <a:pt x="95" y="3470"/>
                      </a:lnTo>
                      <a:lnTo>
                        <a:pt x="36" y="3458"/>
                      </a:lnTo>
                      <a:lnTo>
                        <a:pt x="12" y="3434"/>
                      </a:lnTo>
                      <a:lnTo>
                        <a:pt x="0" y="3399"/>
                      </a:lnTo>
                      <a:lnTo>
                        <a:pt x="36" y="3375"/>
                      </a:lnTo>
                      <a:lnTo>
                        <a:pt x="71" y="3327"/>
                      </a:lnTo>
                      <a:lnTo>
                        <a:pt x="83" y="3292"/>
                      </a:lnTo>
                      <a:lnTo>
                        <a:pt x="95" y="3208"/>
                      </a:lnTo>
                      <a:lnTo>
                        <a:pt x="107" y="3149"/>
                      </a:lnTo>
                      <a:lnTo>
                        <a:pt x="95" y="3078"/>
                      </a:lnTo>
                      <a:lnTo>
                        <a:pt x="71" y="3018"/>
                      </a:lnTo>
                      <a:lnTo>
                        <a:pt x="59" y="2971"/>
                      </a:lnTo>
                      <a:lnTo>
                        <a:pt x="95" y="2911"/>
                      </a:lnTo>
                      <a:lnTo>
                        <a:pt x="154" y="2804"/>
                      </a:lnTo>
                      <a:lnTo>
                        <a:pt x="214" y="2757"/>
                      </a:lnTo>
                      <a:lnTo>
                        <a:pt x="273" y="2757"/>
                      </a:lnTo>
                      <a:lnTo>
                        <a:pt x="273" y="2745"/>
                      </a:lnTo>
                      <a:lnTo>
                        <a:pt x="333" y="2745"/>
                      </a:lnTo>
                      <a:lnTo>
                        <a:pt x="333" y="2757"/>
                      </a:lnTo>
                      <a:lnTo>
                        <a:pt x="368" y="2769"/>
                      </a:lnTo>
                      <a:lnTo>
                        <a:pt x="558" y="2781"/>
                      </a:lnTo>
                      <a:lnTo>
                        <a:pt x="594" y="2769"/>
                      </a:lnTo>
                      <a:lnTo>
                        <a:pt x="630" y="2733"/>
                      </a:lnTo>
                      <a:lnTo>
                        <a:pt x="654" y="2697"/>
                      </a:lnTo>
                      <a:lnTo>
                        <a:pt x="665" y="2590"/>
                      </a:lnTo>
                      <a:lnTo>
                        <a:pt x="701" y="2531"/>
                      </a:lnTo>
                      <a:lnTo>
                        <a:pt x="772" y="2460"/>
                      </a:lnTo>
                      <a:lnTo>
                        <a:pt x="879" y="2365"/>
                      </a:lnTo>
                      <a:lnTo>
                        <a:pt x="915" y="2305"/>
                      </a:lnTo>
                      <a:lnTo>
                        <a:pt x="879" y="2258"/>
                      </a:lnTo>
                      <a:lnTo>
                        <a:pt x="879" y="2175"/>
                      </a:lnTo>
                      <a:lnTo>
                        <a:pt x="915" y="2127"/>
                      </a:lnTo>
                      <a:lnTo>
                        <a:pt x="998" y="2068"/>
                      </a:lnTo>
                      <a:lnTo>
                        <a:pt x="1058" y="1984"/>
                      </a:lnTo>
                      <a:lnTo>
                        <a:pt x="1141" y="1866"/>
                      </a:lnTo>
                      <a:lnTo>
                        <a:pt x="1141" y="1770"/>
                      </a:lnTo>
                      <a:lnTo>
                        <a:pt x="1188" y="1640"/>
                      </a:lnTo>
                      <a:lnTo>
                        <a:pt x="1188" y="1533"/>
                      </a:lnTo>
                      <a:lnTo>
                        <a:pt x="1176" y="1485"/>
                      </a:lnTo>
                      <a:lnTo>
                        <a:pt x="1093" y="1414"/>
                      </a:lnTo>
                      <a:lnTo>
                        <a:pt x="1081" y="1390"/>
                      </a:lnTo>
                      <a:lnTo>
                        <a:pt x="1058" y="1259"/>
                      </a:lnTo>
                      <a:lnTo>
                        <a:pt x="1046" y="1224"/>
                      </a:lnTo>
                      <a:lnTo>
                        <a:pt x="1022" y="1212"/>
                      </a:lnTo>
                      <a:lnTo>
                        <a:pt x="927" y="1200"/>
                      </a:lnTo>
                      <a:lnTo>
                        <a:pt x="891" y="1188"/>
                      </a:lnTo>
                      <a:lnTo>
                        <a:pt x="879" y="1117"/>
                      </a:lnTo>
                      <a:lnTo>
                        <a:pt x="915" y="1081"/>
                      </a:lnTo>
                      <a:lnTo>
                        <a:pt x="939" y="1069"/>
                      </a:lnTo>
                      <a:lnTo>
                        <a:pt x="974" y="1069"/>
                      </a:lnTo>
                      <a:lnTo>
                        <a:pt x="1070" y="1105"/>
                      </a:lnTo>
                      <a:lnTo>
                        <a:pt x="1105" y="1117"/>
                      </a:lnTo>
                      <a:lnTo>
                        <a:pt x="1141" y="1117"/>
                      </a:lnTo>
                      <a:lnTo>
                        <a:pt x="1200" y="1081"/>
                      </a:lnTo>
                      <a:lnTo>
                        <a:pt x="1236" y="1057"/>
                      </a:lnTo>
                      <a:lnTo>
                        <a:pt x="1248" y="1022"/>
                      </a:lnTo>
                      <a:lnTo>
                        <a:pt x="1260" y="962"/>
                      </a:lnTo>
                      <a:lnTo>
                        <a:pt x="1236" y="927"/>
                      </a:lnTo>
                      <a:lnTo>
                        <a:pt x="1224" y="915"/>
                      </a:lnTo>
                      <a:lnTo>
                        <a:pt x="1165" y="903"/>
                      </a:lnTo>
                      <a:lnTo>
                        <a:pt x="1141" y="867"/>
                      </a:lnTo>
                      <a:lnTo>
                        <a:pt x="1141" y="820"/>
                      </a:lnTo>
                      <a:lnTo>
                        <a:pt x="1176" y="689"/>
                      </a:lnTo>
                      <a:lnTo>
                        <a:pt x="1176" y="642"/>
                      </a:lnTo>
                      <a:lnTo>
                        <a:pt x="1153" y="570"/>
                      </a:lnTo>
                      <a:lnTo>
                        <a:pt x="1129" y="546"/>
                      </a:lnTo>
                      <a:lnTo>
                        <a:pt x="1046" y="558"/>
                      </a:lnTo>
                      <a:lnTo>
                        <a:pt x="1046" y="487"/>
                      </a:lnTo>
                      <a:lnTo>
                        <a:pt x="1058" y="440"/>
                      </a:lnTo>
                      <a:lnTo>
                        <a:pt x="1093" y="368"/>
                      </a:lnTo>
                      <a:lnTo>
                        <a:pt x="1117" y="333"/>
                      </a:lnTo>
                      <a:lnTo>
                        <a:pt x="1141" y="297"/>
                      </a:lnTo>
                      <a:lnTo>
                        <a:pt x="1176" y="273"/>
                      </a:lnTo>
                      <a:lnTo>
                        <a:pt x="1248" y="237"/>
                      </a:lnTo>
                      <a:lnTo>
                        <a:pt x="1319" y="237"/>
                      </a:lnTo>
                      <a:lnTo>
                        <a:pt x="1378" y="261"/>
                      </a:lnTo>
                      <a:lnTo>
                        <a:pt x="1426" y="273"/>
                      </a:lnTo>
                      <a:lnTo>
                        <a:pt x="1462" y="261"/>
                      </a:lnTo>
                      <a:lnTo>
                        <a:pt x="1462" y="237"/>
                      </a:lnTo>
                      <a:lnTo>
                        <a:pt x="1426" y="202"/>
                      </a:lnTo>
                      <a:lnTo>
                        <a:pt x="1367" y="166"/>
                      </a:lnTo>
                      <a:lnTo>
                        <a:pt x="1319" y="119"/>
                      </a:lnTo>
                      <a:lnTo>
                        <a:pt x="1319" y="83"/>
                      </a:lnTo>
                      <a:lnTo>
                        <a:pt x="1331" y="71"/>
                      </a:lnTo>
                      <a:lnTo>
                        <a:pt x="1355" y="83"/>
                      </a:lnTo>
                      <a:lnTo>
                        <a:pt x="1390" y="95"/>
                      </a:lnTo>
                      <a:lnTo>
                        <a:pt x="1426" y="107"/>
                      </a:lnTo>
                      <a:lnTo>
                        <a:pt x="1521" y="83"/>
                      </a:lnTo>
                      <a:lnTo>
                        <a:pt x="1581" y="95"/>
                      </a:lnTo>
                      <a:lnTo>
                        <a:pt x="1640" y="71"/>
                      </a:lnTo>
                      <a:lnTo>
                        <a:pt x="1640" y="47"/>
                      </a:lnTo>
                      <a:lnTo>
                        <a:pt x="1676" y="0"/>
                      </a:lnTo>
                      <a:lnTo>
                        <a:pt x="1711" y="0"/>
                      </a:lnTo>
                      <a:lnTo>
                        <a:pt x="1818" y="71"/>
                      </a:lnTo>
                      <a:lnTo>
                        <a:pt x="1937" y="71"/>
                      </a:lnTo>
                      <a:lnTo>
                        <a:pt x="1996" y="95"/>
                      </a:lnTo>
                      <a:lnTo>
                        <a:pt x="2020" y="119"/>
                      </a:lnTo>
                      <a:lnTo>
                        <a:pt x="2068" y="119"/>
                      </a:lnTo>
                      <a:lnTo>
                        <a:pt x="2092" y="119"/>
                      </a:lnTo>
                      <a:lnTo>
                        <a:pt x="2127" y="95"/>
                      </a:lnTo>
                      <a:lnTo>
                        <a:pt x="2127" y="95"/>
                      </a:lnTo>
                      <a:lnTo>
                        <a:pt x="2412" y="368"/>
                      </a:lnTo>
                      <a:lnTo>
                        <a:pt x="2436" y="404"/>
                      </a:lnTo>
                      <a:lnTo>
                        <a:pt x="2436" y="404"/>
                      </a:lnTo>
                      <a:lnTo>
                        <a:pt x="2698" y="64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grpSp>
              <p:nvGrpSpPr>
                <p:cNvPr id="128" name="Group 682"/>
                <p:cNvGrpSpPr/>
                <p:nvPr/>
              </p:nvGrpSpPr>
              <p:grpSpPr>
                <a:xfrm>
                  <a:off x="21724928" y="16570324"/>
                  <a:ext cx="7075491" cy="4602169"/>
                  <a:chOff x="21724938" y="16570325"/>
                  <a:chExt cx="7075488" cy="4602163"/>
                </a:xfrm>
                <a:grpFill/>
              </p:grpSpPr>
              <p:sp>
                <p:nvSpPr>
                  <p:cNvPr id="225" name="Freeform 424"/>
                  <p:cNvSpPr>
                    <a:spLocks/>
                  </p:cNvSpPr>
                  <p:nvPr/>
                </p:nvSpPr>
                <p:spPr bwMode="auto">
                  <a:xfrm>
                    <a:off x="21724938" y="16570325"/>
                    <a:ext cx="7075488" cy="4602163"/>
                  </a:xfrm>
                  <a:custGeom>
                    <a:avLst/>
                    <a:gdLst/>
                    <a:ahLst/>
                    <a:cxnLst>
                      <a:cxn ang="0">
                        <a:pos x="4314" y="1057"/>
                      </a:cxn>
                      <a:cxn ang="0">
                        <a:pos x="3874" y="1164"/>
                      </a:cxn>
                      <a:cxn ang="0">
                        <a:pos x="3767" y="1081"/>
                      </a:cxn>
                      <a:cxn ang="0">
                        <a:pos x="4148" y="1224"/>
                      </a:cxn>
                      <a:cxn ang="0">
                        <a:pos x="4350" y="1152"/>
                      </a:cxn>
                      <a:cxn ang="0">
                        <a:pos x="4350" y="1331"/>
                      </a:cxn>
                      <a:cxn ang="0">
                        <a:pos x="4338" y="1604"/>
                      </a:cxn>
                      <a:cxn ang="0">
                        <a:pos x="3779" y="1782"/>
                      </a:cxn>
                      <a:cxn ang="0">
                        <a:pos x="3399" y="1960"/>
                      </a:cxn>
                      <a:cxn ang="0">
                        <a:pos x="3185" y="2210"/>
                      </a:cxn>
                      <a:cxn ang="0">
                        <a:pos x="3304" y="2388"/>
                      </a:cxn>
                      <a:cxn ang="0">
                        <a:pos x="3114" y="2519"/>
                      </a:cxn>
                      <a:cxn ang="0">
                        <a:pos x="3126" y="2685"/>
                      </a:cxn>
                      <a:cxn ang="0">
                        <a:pos x="3007" y="2578"/>
                      </a:cxn>
                      <a:cxn ang="0">
                        <a:pos x="2543" y="2531"/>
                      </a:cxn>
                      <a:cxn ang="0">
                        <a:pos x="1961" y="2531"/>
                      </a:cxn>
                      <a:cxn ang="0">
                        <a:pos x="1973" y="2353"/>
                      </a:cxn>
                      <a:cxn ang="0">
                        <a:pos x="1949" y="2186"/>
                      </a:cxn>
                      <a:cxn ang="0">
                        <a:pos x="1759" y="2281"/>
                      </a:cxn>
                      <a:cxn ang="0">
                        <a:pos x="1854" y="2471"/>
                      </a:cxn>
                      <a:cxn ang="0">
                        <a:pos x="1438" y="2602"/>
                      </a:cxn>
                      <a:cxn ang="0">
                        <a:pos x="927" y="2626"/>
                      </a:cxn>
                      <a:cxn ang="0">
                        <a:pos x="1034" y="2566"/>
                      </a:cxn>
                      <a:cxn ang="0">
                        <a:pos x="1284" y="2543"/>
                      </a:cxn>
                      <a:cxn ang="0">
                        <a:pos x="975" y="2436"/>
                      </a:cxn>
                      <a:cxn ang="0">
                        <a:pos x="796" y="2531"/>
                      </a:cxn>
                      <a:cxn ang="0">
                        <a:pos x="689" y="2483"/>
                      </a:cxn>
                      <a:cxn ang="0">
                        <a:pos x="583" y="2412"/>
                      </a:cxn>
                      <a:cxn ang="0">
                        <a:pos x="452" y="2495"/>
                      </a:cxn>
                      <a:cxn ang="0">
                        <a:pos x="143" y="2685"/>
                      </a:cxn>
                      <a:cxn ang="0">
                        <a:pos x="250" y="2697"/>
                      </a:cxn>
                      <a:cxn ang="0">
                        <a:pos x="250" y="2745"/>
                      </a:cxn>
                      <a:cxn ang="0">
                        <a:pos x="345" y="2828"/>
                      </a:cxn>
                      <a:cxn ang="0">
                        <a:pos x="131" y="2875"/>
                      </a:cxn>
                      <a:cxn ang="0">
                        <a:pos x="48" y="2614"/>
                      </a:cxn>
                      <a:cxn ang="0">
                        <a:pos x="416" y="2317"/>
                      </a:cxn>
                      <a:cxn ang="0">
                        <a:pos x="701" y="2257"/>
                      </a:cxn>
                      <a:cxn ang="0">
                        <a:pos x="785" y="2067"/>
                      </a:cxn>
                      <a:cxn ang="0">
                        <a:pos x="297" y="1984"/>
                      </a:cxn>
                      <a:cxn ang="0">
                        <a:pos x="83" y="1735"/>
                      </a:cxn>
                      <a:cxn ang="0">
                        <a:pos x="381" y="1651"/>
                      </a:cxn>
                      <a:cxn ang="0">
                        <a:pos x="856" y="1544"/>
                      </a:cxn>
                      <a:cxn ang="0">
                        <a:pos x="1343" y="1426"/>
                      </a:cxn>
                      <a:cxn ang="0">
                        <a:pos x="1711" y="1378"/>
                      </a:cxn>
                      <a:cxn ang="0">
                        <a:pos x="2127" y="1414"/>
                      </a:cxn>
                      <a:cxn ang="0">
                        <a:pos x="2674" y="1200"/>
                      </a:cxn>
                      <a:cxn ang="0">
                        <a:pos x="2888" y="1022"/>
                      </a:cxn>
                      <a:cxn ang="0">
                        <a:pos x="2995" y="784"/>
                      </a:cxn>
                      <a:cxn ang="0">
                        <a:pos x="3126" y="475"/>
                      </a:cxn>
                      <a:cxn ang="0">
                        <a:pos x="3173" y="249"/>
                      </a:cxn>
                      <a:cxn ang="0">
                        <a:pos x="3375" y="202"/>
                      </a:cxn>
                      <a:cxn ang="0">
                        <a:pos x="3613" y="83"/>
                      </a:cxn>
                      <a:cxn ang="0">
                        <a:pos x="3625" y="439"/>
                      </a:cxn>
                      <a:cxn ang="0">
                        <a:pos x="3993" y="558"/>
                      </a:cxn>
                      <a:cxn ang="0">
                        <a:pos x="4409" y="689"/>
                      </a:cxn>
                    </a:cxnLst>
                    <a:rect l="0" t="0" r="r" b="b"/>
                    <a:pathLst>
                      <a:path w="4457" h="2899">
                        <a:moveTo>
                          <a:pt x="4457" y="689"/>
                        </a:moveTo>
                        <a:lnTo>
                          <a:pt x="4421" y="808"/>
                        </a:lnTo>
                        <a:lnTo>
                          <a:pt x="4385" y="843"/>
                        </a:lnTo>
                        <a:lnTo>
                          <a:pt x="4373" y="879"/>
                        </a:lnTo>
                        <a:lnTo>
                          <a:pt x="4326" y="950"/>
                        </a:lnTo>
                        <a:lnTo>
                          <a:pt x="4314" y="1057"/>
                        </a:lnTo>
                        <a:lnTo>
                          <a:pt x="4290" y="1093"/>
                        </a:lnTo>
                        <a:lnTo>
                          <a:pt x="4243" y="1129"/>
                        </a:lnTo>
                        <a:lnTo>
                          <a:pt x="4124" y="1200"/>
                        </a:lnTo>
                        <a:lnTo>
                          <a:pt x="4053" y="1224"/>
                        </a:lnTo>
                        <a:lnTo>
                          <a:pt x="3993" y="1212"/>
                        </a:lnTo>
                        <a:lnTo>
                          <a:pt x="3874" y="1164"/>
                        </a:lnTo>
                        <a:lnTo>
                          <a:pt x="3791" y="1069"/>
                        </a:lnTo>
                        <a:lnTo>
                          <a:pt x="3767" y="1045"/>
                        </a:lnTo>
                        <a:lnTo>
                          <a:pt x="3720" y="1033"/>
                        </a:lnTo>
                        <a:lnTo>
                          <a:pt x="3672" y="1057"/>
                        </a:lnTo>
                        <a:lnTo>
                          <a:pt x="3720" y="1069"/>
                        </a:lnTo>
                        <a:lnTo>
                          <a:pt x="3767" y="1081"/>
                        </a:lnTo>
                        <a:lnTo>
                          <a:pt x="3803" y="1105"/>
                        </a:lnTo>
                        <a:lnTo>
                          <a:pt x="3874" y="1188"/>
                        </a:lnTo>
                        <a:lnTo>
                          <a:pt x="3946" y="1235"/>
                        </a:lnTo>
                        <a:lnTo>
                          <a:pt x="3993" y="1259"/>
                        </a:lnTo>
                        <a:lnTo>
                          <a:pt x="4076" y="1247"/>
                        </a:lnTo>
                        <a:lnTo>
                          <a:pt x="4148" y="1224"/>
                        </a:lnTo>
                        <a:lnTo>
                          <a:pt x="4231" y="1176"/>
                        </a:lnTo>
                        <a:lnTo>
                          <a:pt x="4278" y="1140"/>
                        </a:lnTo>
                        <a:lnTo>
                          <a:pt x="4302" y="1117"/>
                        </a:lnTo>
                        <a:lnTo>
                          <a:pt x="4362" y="1093"/>
                        </a:lnTo>
                        <a:lnTo>
                          <a:pt x="4373" y="1105"/>
                        </a:lnTo>
                        <a:lnTo>
                          <a:pt x="4350" y="1152"/>
                        </a:lnTo>
                        <a:lnTo>
                          <a:pt x="4350" y="1176"/>
                        </a:lnTo>
                        <a:lnTo>
                          <a:pt x="4350" y="1188"/>
                        </a:lnTo>
                        <a:lnTo>
                          <a:pt x="4338" y="1200"/>
                        </a:lnTo>
                        <a:lnTo>
                          <a:pt x="4338" y="1212"/>
                        </a:lnTo>
                        <a:lnTo>
                          <a:pt x="4338" y="1224"/>
                        </a:lnTo>
                        <a:lnTo>
                          <a:pt x="4350" y="1331"/>
                        </a:lnTo>
                        <a:lnTo>
                          <a:pt x="4350" y="1342"/>
                        </a:lnTo>
                        <a:lnTo>
                          <a:pt x="4362" y="1390"/>
                        </a:lnTo>
                        <a:lnTo>
                          <a:pt x="4385" y="1473"/>
                        </a:lnTo>
                        <a:lnTo>
                          <a:pt x="4385" y="1544"/>
                        </a:lnTo>
                        <a:lnTo>
                          <a:pt x="4362" y="1580"/>
                        </a:lnTo>
                        <a:lnTo>
                          <a:pt x="4338" y="1604"/>
                        </a:lnTo>
                        <a:lnTo>
                          <a:pt x="4219" y="1663"/>
                        </a:lnTo>
                        <a:lnTo>
                          <a:pt x="4112" y="1723"/>
                        </a:lnTo>
                        <a:lnTo>
                          <a:pt x="4029" y="1723"/>
                        </a:lnTo>
                        <a:lnTo>
                          <a:pt x="3969" y="1758"/>
                        </a:lnTo>
                        <a:lnTo>
                          <a:pt x="3898" y="1770"/>
                        </a:lnTo>
                        <a:lnTo>
                          <a:pt x="3779" y="1782"/>
                        </a:lnTo>
                        <a:lnTo>
                          <a:pt x="3732" y="1794"/>
                        </a:lnTo>
                        <a:lnTo>
                          <a:pt x="3649" y="1842"/>
                        </a:lnTo>
                        <a:lnTo>
                          <a:pt x="3542" y="1865"/>
                        </a:lnTo>
                        <a:lnTo>
                          <a:pt x="3482" y="1889"/>
                        </a:lnTo>
                        <a:lnTo>
                          <a:pt x="3458" y="1913"/>
                        </a:lnTo>
                        <a:lnTo>
                          <a:pt x="3399" y="1960"/>
                        </a:lnTo>
                        <a:lnTo>
                          <a:pt x="3340" y="2044"/>
                        </a:lnTo>
                        <a:lnTo>
                          <a:pt x="3304" y="2055"/>
                        </a:lnTo>
                        <a:lnTo>
                          <a:pt x="3256" y="2103"/>
                        </a:lnTo>
                        <a:lnTo>
                          <a:pt x="3233" y="2115"/>
                        </a:lnTo>
                        <a:lnTo>
                          <a:pt x="3197" y="2162"/>
                        </a:lnTo>
                        <a:lnTo>
                          <a:pt x="3185" y="2210"/>
                        </a:lnTo>
                        <a:lnTo>
                          <a:pt x="3173" y="2269"/>
                        </a:lnTo>
                        <a:lnTo>
                          <a:pt x="3185" y="2305"/>
                        </a:lnTo>
                        <a:lnTo>
                          <a:pt x="3245" y="2364"/>
                        </a:lnTo>
                        <a:lnTo>
                          <a:pt x="3292" y="2353"/>
                        </a:lnTo>
                        <a:lnTo>
                          <a:pt x="3304" y="2376"/>
                        </a:lnTo>
                        <a:lnTo>
                          <a:pt x="3304" y="2388"/>
                        </a:lnTo>
                        <a:lnTo>
                          <a:pt x="3292" y="2400"/>
                        </a:lnTo>
                        <a:lnTo>
                          <a:pt x="3256" y="2400"/>
                        </a:lnTo>
                        <a:lnTo>
                          <a:pt x="3233" y="2436"/>
                        </a:lnTo>
                        <a:lnTo>
                          <a:pt x="3185" y="2448"/>
                        </a:lnTo>
                        <a:lnTo>
                          <a:pt x="3149" y="2483"/>
                        </a:lnTo>
                        <a:lnTo>
                          <a:pt x="3114" y="2519"/>
                        </a:lnTo>
                        <a:lnTo>
                          <a:pt x="3114" y="2555"/>
                        </a:lnTo>
                        <a:lnTo>
                          <a:pt x="3114" y="2590"/>
                        </a:lnTo>
                        <a:lnTo>
                          <a:pt x="3126" y="2626"/>
                        </a:lnTo>
                        <a:lnTo>
                          <a:pt x="3149" y="2673"/>
                        </a:lnTo>
                        <a:lnTo>
                          <a:pt x="3138" y="2685"/>
                        </a:lnTo>
                        <a:lnTo>
                          <a:pt x="3126" y="2685"/>
                        </a:lnTo>
                        <a:lnTo>
                          <a:pt x="3114" y="2673"/>
                        </a:lnTo>
                        <a:lnTo>
                          <a:pt x="3090" y="2626"/>
                        </a:lnTo>
                        <a:lnTo>
                          <a:pt x="3090" y="2614"/>
                        </a:lnTo>
                        <a:lnTo>
                          <a:pt x="3066" y="2602"/>
                        </a:lnTo>
                        <a:lnTo>
                          <a:pt x="3042" y="2590"/>
                        </a:lnTo>
                        <a:lnTo>
                          <a:pt x="3007" y="2578"/>
                        </a:lnTo>
                        <a:lnTo>
                          <a:pt x="2947" y="2590"/>
                        </a:lnTo>
                        <a:lnTo>
                          <a:pt x="2900" y="2578"/>
                        </a:lnTo>
                        <a:lnTo>
                          <a:pt x="2793" y="2555"/>
                        </a:lnTo>
                        <a:lnTo>
                          <a:pt x="2662" y="2543"/>
                        </a:lnTo>
                        <a:lnTo>
                          <a:pt x="2603" y="2555"/>
                        </a:lnTo>
                        <a:lnTo>
                          <a:pt x="2543" y="2531"/>
                        </a:lnTo>
                        <a:lnTo>
                          <a:pt x="2496" y="2531"/>
                        </a:lnTo>
                        <a:lnTo>
                          <a:pt x="2270" y="2555"/>
                        </a:lnTo>
                        <a:lnTo>
                          <a:pt x="2223" y="2555"/>
                        </a:lnTo>
                        <a:lnTo>
                          <a:pt x="2080" y="2543"/>
                        </a:lnTo>
                        <a:lnTo>
                          <a:pt x="1985" y="2555"/>
                        </a:lnTo>
                        <a:lnTo>
                          <a:pt x="1961" y="2531"/>
                        </a:lnTo>
                        <a:lnTo>
                          <a:pt x="1902" y="2507"/>
                        </a:lnTo>
                        <a:lnTo>
                          <a:pt x="1902" y="2424"/>
                        </a:lnTo>
                        <a:lnTo>
                          <a:pt x="1914" y="2412"/>
                        </a:lnTo>
                        <a:lnTo>
                          <a:pt x="1925" y="2376"/>
                        </a:lnTo>
                        <a:lnTo>
                          <a:pt x="1961" y="2364"/>
                        </a:lnTo>
                        <a:lnTo>
                          <a:pt x="1973" y="2353"/>
                        </a:lnTo>
                        <a:lnTo>
                          <a:pt x="1985" y="2293"/>
                        </a:lnTo>
                        <a:lnTo>
                          <a:pt x="2009" y="2281"/>
                        </a:lnTo>
                        <a:lnTo>
                          <a:pt x="2020" y="2246"/>
                        </a:lnTo>
                        <a:lnTo>
                          <a:pt x="2009" y="2198"/>
                        </a:lnTo>
                        <a:lnTo>
                          <a:pt x="1985" y="2174"/>
                        </a:lnTo>
                        <a:lnTo>
                          <a:pt x="1949" y="2186"/>
                        </a:lnTo>
                        <a:lnTo>
                          <a:pt x="1914" y="2222"/>
                        </a:lnTo>
                        <a:lnTo>
                          <a:pt x="1854" y="2222"/>
                        </a:lnTo>
                        <a:lnTo>
                          <a:pt x="1830" y="2234"/>
                        </a:lnTo>
                        <a:lnTo>
                          <a:pt x="1795" y="2246"/>
                        </a:lnTo>
                        <a:lnTo>
                          <a:pt x="1771" y="2269"/>
                        </a:lnTo>
                        <a:lnTo>
                          <a:pt x="1759" y="2281"/>
                        </a:lnTo>
                        <a:lnTo>
                          <a:pt x="1747" y="2317"/>
                        </a:lnTo>
                        <a:lnTo>
                          <a:pt x="1759" y="2341"/>
                        </a:lnTo>
                        <a:lnTo>
                          <a:pt x="1771" y="2388"/>
                        </a:lnTo>
                        <a:lnTo>
                          <a:pt x="1795" y="2424"/>
                        </a:lnTo>
                        <a:lnTo>
                          <a:pt x="1842" y="2448"/>
                        </a:lnTo>
                        <a:lnTo>
                          <a:pt x="1854" y="2471"/>
                        </a:lnTo>
                        <a:lnTo>
                          <a:pt x="1830" y="2519"/>
                        </a:lnTo>
                        <a:lnTo>
                          <a:pt x="1795" y="2543"/>
                        </a:lnTo>
                        <a:lnTo>
                          <a:pt x="1759" y="2555"/>
                        </a:lnTo>
                        <a:lnTo>
                          <a:pt x="1605" y="2566"/>
                        </a:lnTo>
                        <a:lnTo>
                          <a:pt x="1509" y="2602"/>
                        </a:lnTo>
                        <a:lnTo>
                          <a:pt x="1438" y="2602"/>
                        </a:lnTo>
                        <a:lnTo>
                          <a:pt x="1379" y="2626"/>
                        </a:lnTo>
                        <a:lnTo>
                          <a:pt x="1319" y="2614"/>
                        </a:lnTo>
                        <a:lnTo>
                          <a:pt x="1248" y="2614"/>
                        </a:lnTo>
                        <a:lnTo>
                          <a:pt x="1022" y="2626"/>
                        </a:lnTo>
                        <a:lnTo>
                          <a:pt x="927" y="2638"/>
                        </a:lnTo>
                        <a:lnTo>
                          <a:pt x="927" y="2626"/>
                        </a:lnTo>
                        <a:lnTo>
                          <a:pt x="963" y="2602"/>
                        </a:lnTo>
                        <a:lnTo>
                          <a:pt x="1034" y="2602"/>
                        </a:lnTo>
                        <a:lnTo>
                          <a:pt x="1046" y="2590"/>
                        </a:lnTo>
                        <a:lnTo>
                          <a:pt x="1034" y="2590"/>
                        </a:lnTo>
                        <a:lnTo>
                          <a:pt x="1034" y="2578"/>
                        </a:lnTo>
                        <a:lnTo>
                          <a:pt x="1034" y="2566"/>
                        </a:lnTo>
                        <a:lnTo>
                          <a:pt x="1117" y="2602"/>
                        </a:lnTo>
                        <a:lnTo>
                          <a:pt x="1284" y="2590"/>
                        </a:lnTo>
                        <a:lnTo>
                          <a:pt x="1367" y="2602"/>
                        </a:lnTo>
                        <a:lnTo>
                          <a:pt x="1379" y="2590"/>
                        </a:lnTo>
                        <a:lnTo>
                          <a:pt x="1379" y="2578"/>
                        </a:lnTo>
                        <a:lnTo>
                          <a:pt x="1284" y="2543"/>
                        </a:lnTo>
                        <a:lnTo>
                          <a:pt x="1236" y="2471"/>
                        </a:lnTo>
                        <a:lnTo>
                          <a:pt x="1212" y="2460"/>
                        </a:lnTo>
                        <a:lnTo>
                          <a:pt x="1129" y="2448"/>
                        </a:lnTo>
                        <a:lnTo>
                          <a:pt x="1082" y="2424"/>
                        </a:lnTo>
                        <a:lnTo>
                          <a:pt x="1022" y="2436"/>
                        </a:lnTo>
                        <a:lnTo>
                          <a:pt x="975" y="2436"/>
                        </a:lnTo>
                        <a:lnTo>
                          <a:pt x="892" y="2471"/>
                        </a:lnTo>
                        <a:lnTo>
                          <a:pt x="880" y="2460"/>
                        </a:lnTo>
                        <a:lnTo>
                          <a:pt x="880" y="2424"/>
                        </a:lnTo>
                        <a:lnTo>
                          <a:pt x="868" y="2424"/>
                        </a:lnTo>
                        <a:lnTo>
                          <a:pt x="832" y="2495"/>
                        </a:lnTo>
                        <a:lnTo>
                          <a:pt x="796" y="2531"/>
                        </a:lnTo>
                        <a:lnTo>
                          <a:pt x="761" y="2531"/>
                        </a:lnTo>
                        <a:lnTo>
                          <a:pt x="749" y="2555"/>
                        </a:lnTo>
                        <a:lnTo>
                          <a:pt x="689" y="2555"/>
                        </a:lnTo>
                        <a:lnTo>
                          <a:pt x="678" y="2531"/>
                        </a:lnTo>
                        <a:lnTo>
                          <a:pt x="701" y="2507"/>
                        </a:lnTo>
                        <a:lnTo>
                          <a:pt x="689" y="2483"/>
                        </a:lnTo>
                        <a:lnTo>
                          <a:pt x="642" y="2483"/>
                        </a:lnTo>
                        <a:lnTo>
                          <a:pt x="571" y="2495"/>
                        </a:lnTo>
                        <a:lnTo>
                          <a:pt x="535" y="2483"/>
                        </a:lnTo>
                        <a:lnTo>
                          <a:pt x="535" y="2471"/>
                        </a:lnTo>
                        <a:lnTo>
                          <a:pt x="583" y="2448"/>
                        </a:lnTo>
                        <a:lnTo>
                          <a:pt x="583" y="2412"/>
                        </a:lnTo>
                        <a:lnTo>
                          <a:pt x="559" y="2400"/>
                        </a:lnTo>
                        <a:lnTo>
                          <a:pt x="523" y="2424"/>
                        </a:lnTo>
                        <a:lnTo>
                          <a:pt x="499" y="2412"/>
                        </a:lnTo>
                        <a:lnTo>
                          <a:pt x="476" y="2412"/>
                        </a:lnTo>
                        <a:lnTo>
                          <a:pt x="464" y="2483"/>
                        </a:lnTo>
                        <a:lnTo>
                          <a:pt x="452" y="2495"/>
                        </a:lnTo>
                        <a:lnTo>
                          <a:pt x="416" y="2495"/>
                        </a:lnTo>
                        <a:lnTo>
                          <a:pt x="392" y="2495"/>
                        </a:lnTo>
                        <a:lnTo>
                          <a:pt x="321" y="2519"/>
                        </a:lnTo>
                        <a:lnTo>
                          <a:pt x="214" y="2507"/>
                        </a:lnTo>
                        <a:lnTo>
                          <a:pt x="190" y="2519"/>
                        </a:lnTo>
                        <a:lnTo>
                          <a:pt x="143" y="2685"/>
                        </a:lnTo>
                        <a:lnTo>
                          <a:pt x="155" y="2697"/>
                        </a:lnTo>
                        <a:lnTo>
                          <a:pt x="178" y="2709"/>
                        </a:lnTo>
                        <a:lnTo>
                          <a:pt x="226" y="2673"/>
                        </a:lnTo>
                        <a:lnTo>
                          <a:pt x="250" y="2673"/>
                        </a:lnTo>
                        <a:lnTo>
                          <a:pt x="250" y="2685"/>
                        </a:lnTo>
                        <a:lnTo>
                          <a:pt x="250" y="2697"/>
                        </a:lnTo>
                        <a:lnTo>
                          <a:pt x="202" y="2721"/>
                        </a:lnTo>
                        <a:lnTo>
                          <a:pt x="190" y="2733"/>
                        </a:lnTo>
                        <a:lnTo>
                          <a:pt x="202" y="2745"/>
                        </a:lnTo>
                        <a:lnTo>
                          <a:pt x="202" y="2780"/>
                        </a:lnTo>
                        <a:lnTo>
                          <a:pt x="214" y="2780"/>
                        </a:lnTo>
                        <a:lnTo>
                          <a:pt x="250" y="2745"/>
                        </a:lnTo>
                        <a:lnTo>
                          <a:pt x="262" y="2733"/>
                        </a:lnTo>
                        <a:lnTo>
                          <a:pt x="285" y="2733"/>
                        </a:lnTo>
                        <a:lnTo>
                          <a:pt x="309" y="2768"/>
                        </a:lnTo>
                        <a:lnTo>
                          <a:pt x="345" y="2780"/>
                        </a:lnTo>
                        <a:lnTo>
                          <a:pt x="357" y="2816"/>
                        </a:lnTo>
                        <a:lnTo>
                          <a:pt x="345" y="2828"/>
                        </a:lnTo>
                        <a:lnTo>
                          <a:pt x="297" y="2840"/>
                        </a:lnTo>
                        <a:lnTo>
                          <a:pt x="250" y="2899"/>
                        </a:lnTo>
                        <a:lnTo>
                          <a:pt x="250" y="2899"/>
                        </a:lnTo>
                        <a:lnTo>
                          <a:pt x="226" y="2899"/>
                        </a:lnTo>
                        <a:lnTo>
                          <a:pt x="167" y="2864"/>
                        </a:lnTo>
                        <a:lnTo>
                          <a:pt x="131" y="2875"/>
                        </a:lnTo>
                        <a:lnTo>
                          <a:pt x="119" y="2875"/>
                        </a:lnTo>
                        <a:lnTo>
                          <a:pt x="83" y="2816"/>
                        </a:lnTo>
                        <a:lnTo>
                          <a:pt x="12" y="2733"/>
                        </a:lnTo>
                        <a:lnTo>
                          <a:pt x="0" y="2697"/>
                        </a:lnTo>
                        <a:lnTo>
                          <a:pt x="0" y="2650"/>
                        </a:lnTo>
                        <a:lnTo>
                          <a:pt x="48" y="2614"/>
                        </a:lnTo>
                        <a:lnTo>
                          <a:pt x="72" y="2543"/>
                        </a:lnTo>
                        <a:lnTo>
                          <a:pt x="72" y="2495"/>
                        </a:lnTo>
                        <a:lnTo>
                          <a:pt x="95" y="2448"/>
                        </a:lnTo>
                        <a:lnTo>
                          <a:pt x="155" y="2388"/>
                        </a:lnTo>
                        <a:lnTo>
                          <a:pt x="369" y="2341"/>
                        </a:lnTo>
                        <a:lnTo>
                          <a:pt x="416" y="2317"/>
                        </a:lnTo>
                        <a:lnTo>
                          <a:pt x="452" y="2317"/>
                        </a:lnTo>
                        <a:lnTo>
                          <a:pt x="476" y="2329"/>
                        </a:lnTo>
                        <a:lnTo>
                          <a:pt x="511" y="2341"/>
                        </a:lnTo>
                        <a:lnTo>
                          <a:pt x="666" y="2305"/>
                        </a:lnTo>
                        <a:lnTo>
                          <a:pt x="666" y="2293"/>
                        </a:lnTo>
                        <a:lnTo>
                          <a:pt x="701" y="2257"/>
                        </a:lnTo>
                        <a:lnTo>
                          <a:pt x="701" y="2234"/>
                        </a:lnTo>
                        <a:lnTo>
                          <a:pt x="725" y="2210"/>
                        </a:lnTo>
                        <a:lnTo>
                          <a:pt x="773" y="2162"/>
                        </a:lnTo>
                        <a:lnTo>
                          <a:pt x="796" y="2127"/>
                        </a:lnTo>
                        <a:lnTo>
                          <a:pt x="796" y="2091"/>
                        </a:lnTo>
                        <a:lnTo>
                          <a:pt x="785" y="2067"/>
                        </a:lnTo>
                        <a:lnTo>
                          <a:pt x="737" y="2020"/>
                        </a:lnTo>
                        <a:lnTo>
                          <a:pt x="630" y="1996"/>
                        </a:lnTo>
                        <a:lnTo>
                          <a:pt x="535" y="1996"/>
                        </a:lnTo>
                        <a:lnTo>
                          <a:pt x="369" y="2032"/>
                        </a:lnTo>
                        <a:lnTo>
                          <a:pt x="345" y="2020"/>
                        </a:lnTo>
                        <a:lnTo>
                          <a:pt x="297" y="1984"/>
                        </a:lnTo>
                        <a:lnTo>
                          <a:pt x="238" y="1913"/>
                        </a:lnTo>
                        <a:lnTo>
                          <a:pt x="226" y="1877"/>
                        </a:lnTo>
                        <a:lnTo>
                          <a:pt x="202" y="1806"/>
                        </a:lnTo>
                        <a:lnTo>
                          <a:pt x="178" y="1770"/>
                        </a:lnTo>
                        <a:lnTo>
                          <a:pt x="119" y="1758"/>
                        </a:lnTo>
                        <a:lnTo>
                          <a:pt x="83" y="1735"/>
                        </a:lnTo>
                        <a:lnTo>
                          <a:pt x="143" y="1699"/>
                        </a:lnTo>
                        <a:lnTo>
                          <a:pt x="250" y="1675"/>
                        </a:lnTo>
                        <a:lnTo>
                          <a:pt x="285" y="1675"/>
                        </a:lnTo>
                        <a:lnTo>
                          <a:pt x="321" y="1663"/>
                        </a:lnTo>
                        <a:lnTo>
                          <a:pt x="357" y="1640"/>
                        </a:lnTo>
                        <a:lnTo>
                          <a:pt x="381" y="1651"/>
                        </a:lnTo>
                        <a:lnTo>
                          <a:pt x="416" y="1651"/>
                        </a:lnTo>
                        <a:lnTo>
                          <a:pt x="535" y="1580"/>
                        </a:lnTo>
                        <a:lnTo>
                          <a:pt x="583" y="1592"/>
                        </a:lnTo>
                        <a:lnTo>
                          <a:pt x="654" y="1592"/>
                        </a:lnTo>
                        <a:lnTo>
                          <a:pt x="737" y="1592"/>
                        </a:lnTo>
                        <a:lnTo>
                          <a:pt x="856" y="1544"/>
                        </a:lnTo>
                        <a:lnTo>
                          <a:pt x="951" y="1485"/>
                        </a:lnTo>
                        <a:lnTo>
                          <a:pt x="1034" y="1485"/>
                        </a:lnTo>
                        <a:lnTo>
                          <a:pt x="1248" y="1402"/>
                        </a:lnTo>
                        <a:lnTo>
                          <a:pt x="1284" y="1414"/>
                        </a:lnTo>
                        <a:lnTo>
                          <a:pt x="1307" y="1426"/>
                        </a:lnTo>
                        <a:lnTo>
                          <a:pt x="1343" y="1426"/>
                        </a:lnTo>
                        <a:lnTo>
                          <a:pt x="1379" y="1438"/>
                        </a:lnTo>
                        <a:lnTo>
                          <a:pt x="1426" y="1414"/>
                        </a:lnTo>
                        <a:lnTo>
                          <a:pt x="1462" y="1438"/>
                        </a:lnTo>
                        <a:lnTo>
                          <a:pt x="1486" y="1449"/>
                        </a:lnTo>
                        <a:lnTo>
                          <a:pt x="1593" y="1426"/>
                        </a:lnTo>
                        <a:lnTo>
                          <a:pt x="1711" y="1378"/>
                        </a:lnTo>
                        <a:lnTo>
                          <a:pt x="1771" y="1390"/>
                        </a:lnTo>
                        <a:lnTo>
                          <a:pt x="1949" y="1449"/>
                        </a:lnTo>
                        <a:lnTo>
                          <a:pt x="1973" y="1473"/>
                        </a:lnTo>
                        <a:lnTo>
                          <a:pt x="2020" y="1485"/>
                        </a:lnTo>
                        <a:lnTo>
                          <a:pt x="2044" y="1473"/>
                        </a:lnTo>
                        <a:lnTo>
                          <a:pt x="2127" y="1414"/>
                        </a:lnTo>
                        <a:lnTo>
                          <a:pt x="2234" y="1354"/>
                        </a:lnTo>
                        <a:lnTo>
                          <a:pt x="2341" y="1319"/>
                        </a:lnTo>
                        <a:lnTo>
                          <a:pt x="2425" y="1271"/>
                        </a:lnTo>
                        <a:lnTo>
                          <a:pt x="2543" y="1247"/>
                        </a:lnTo>
                        <a:lnTo>
                          <a:pt x="2603" y="1212"/>
                        </a:lnTo>
                        <a:lnTo>
                          <a:pt x="2674" y="1200"/>
                        </a:lnTo>
                        <a:lnTo>
                          <a:pt x="2781" y="1140"/>
                        </a:lnTo>
                        <a:lnTo>
                          <a:pt x="2888" y="1117"/>
                        </a:lnTo>
                        <a:lnTo>
                          <a:pt x="2959" y="1093"/>
                        </a:lnTo>
                        <a:lnTo>
                          <a:pt x="2959" y="1069"/>
                        </a:lnTo>
                        <a:lnTo>
                          <a:pt x="2947" y="1033"/>
                        </a:lnTo>
                        <a:lnTo>
                          <a:pt x="2888" y="1022"/>
                        </a:lnTo>
                        <a:lnTo>
                          <a:pt x="2876" y="986"/>
                        </a:lnTo>
                        <a:lnTo>
                          <a:pt x="2900" y="950"/>
                        </a:lnTo>
                        <a:lnTo>
                          <a:pt x="2936" y="927"/>
                        </a:lnTo>
                        <a:lnTo>
                          <a:pt x="2947" y="903"/>
                        </a:lnTo>
                        <a:lnTo>
                          <a:pt x="2983" y="867"/>
                        </a:lnTo>
                        <a:lnTo>
                          <a:pt x="2995" y="784"/>
                        </a:lnTo>
                        <a:lnTo>
                          <a:pt x="3019" y="760"/>
                        </a:lnTo>
                        <a:lnTo>
                          <a:pt x="3031" y="736"/>
                        </a:lnTo>
                        <a:lnTo>
                          <a:pt x="3042" y="713"/>
                        </a:lnTo>
                        <a:lnTo>
                          <a:pt x="3042" y="641"/>
                        </a:lnTo>
                        <a:lnTo>
                          <a:pt x="3090" y="546"/>
                        </a:lnTo>
                        <a:lnTo>
                          <a:pt x="3126" y="475"/>
                        </a:lnTo>
                        <a:lnTo>
                          <a:pt x="3161" y="416"/>
                        </a:lnTo>
                        <a:lnTo>
                          <a:pt x="3233" y="356"/>
                        </a:lnTo>
                        <a:lnTo>
                          <a:pt x="3233" y="332"/>
                        </a:lnTo>
                        <a:lnTo>
                          <a:pt x="3221" y="297"/>
                        </a:lnTo>
                        <a:lnTo>
                          <a:pt x="3173" y="273"/>
                        </a:lnTo>
                        <a:lnTo>
                          <a:pt x="3173" y="249"/>
                        </a:lnTo>
                        <a:lnTo>
                          <a:pt x="3173" y="225"/>
                        </a:lnTo>
                        <a:lnTo>
                          <a:pt x="3173" y="202"/>
                        </a:lnTo>
                        <a:lnTo>
                          <a:pt x="3209" y="190"/>
                        </a:lnTo>
                        <a:lnTo>
                          <a:pt x="3256" y="178"/>
                        </a:lnTo>
                        <a:lnTo>
                          <a:pt x="3304" y="202"/>
                        </a:lnTo>
                        <a:lnTo>
                          <a:pt x="3375" y="202"/>
                        </a:lnTo>
                        <a:lnTo>
                          <a:pt x="3435" y="59"/>
                        </a:lnTo>
                        <a:lnTo>
                          <a:pt x="3506" y="0"/>
                        </a:lnTo>
                        <a:lnTo>
                          <a:pt x="3518" y="35"/>
                        </a:lnTo>
                        <a:lnTo>
                          <a:pt x="3542" y="59"/>
                        </a:lnTo>
                        <a:lnTo>
                          <a:pt x="3601" y="71"/>
                        </a:lnTo>
                        <a:lnTo>
                          <a:pt x="3613" y="83"/>
                        </a:lnTo>
                        <a:lnTo>
                          <a:pt x="3601" y="107"/>
                        </a:lnTo>
                        <a:lnTo>
                          <a:pt x="3625" y="142"/>
                        </a:lnTo>
                        <a:lnTo>
                          <a:pt x="3637" y="297"/>
                        </a:lnTo>
                        <a:lnTo>
                          <a:pt x="3613" y="380"/>
                        </a:lnTo>
                        <a:lnTo>
                          <a:pt x="3613" y="427"/>
                        </a:lnTo>
                        <a:lnTo>
                          <a:pt x="3625" y="439"/>
                        </a:lnTo>
                        <a:lnTo>
                          <a:pt x="3637" y="427"/>
                        </a:lnTo>
                        <a:lnTo>
                          <a:pt x="3684" y="439"/>
                        </a:lnTo>
                        <a:lnTo>
                          <a:pt x="3720" y="463"/>
                        </a:lnTo>
                        <a:lnTo>
                          <a:pt x="3791" y="499"/>
                        </a:lnTo>
                        <a:lnTo>
                          <a:pt x="3839" y="534"/>
                        </a:lnTo>
                        <a:lnTo>
                          <a:pt x="3993" y="558"/>
                        </a:lnTo>
                        <a:lnTo>
                          <a:pt x="4088" y="606"/>
                        </a:lnTo>
                        <a:lnTo>
                          <a:pt x="4183" y="618"/>
                        </a:lnTo>
                        <a:lnTo>
                          <a:pt x="4231" y="606"/>
                        </a:lnTo>
                        <a:lnTo>
                          <a:pt x="4326" y="606"/>
                        </a:lnTo>
                        <a:lnTo>
                          <a:pt x="4362" y="629"/>
                        </a:lnTo>
                        <a:lnTo>
                          <a:pt x="4409" y="689"/>
                        </a:lnTo>
                        <a:lnTo>
                          <a:pt x="4457" y="689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6" name="Freeform 426"/>
                  <p:cNvSpPr>
                    <a:spLocks/>
                  </p:cNvSpPr>
                  <p:nvPr/>
                </p:nvSpPr>
                <p:spPr bwMode="auto">
                  <a:xfrm>
                    <a:off x="22555200" y="20662900"/>
                    <a:ext cx="471488" cy="246063"/>
                  </a:xfrm>
                  <a:custGeom>
                    <a:avLst/>
                    <a:gdLst/>
                    <a:ahLst/>
                    <a:cxnLst>
                      <a:cxn ang="0">
                        <a:pos x="178" y="0"/>
                      </a:cxn>
                      <a:cxn ang="0">
                        <a:pos x="202" y="0"/>
                      </a:cxn>
                      <a:cxn ang="0">
                        <a:pos x="226" y="48"/>
                      </a:cxn>
                      <a:cxn ang="0">
                        <a:pos x="273" y="48"/>
                      </a:cxn>
                      <a:cxn ang="0">
                        <a:pos x="285" y="84"/>
                      </a:cxn>
                      <a:cxn ang="0">
                        <a:pos x="297" y="107"/>
                      </a:cxn>
                      <a:cxn ang="0">
                        <a:pos x="285" y="119"/>
                      </a:cxn>
                      <a:cxn ang="0">
                        <a:pos x="273" y="119"/>
                      </a:cxn>
                      <a:cxn ang="0">
                        <a:pos x="250" y="107"/>
                      </a:cxn>
                      <a:cxn ang="0">
                        <a:pos x="226" y="107"/>
                      </a:cxn>
                      <a:cxn ang="0">
                        <a:pos x="190" y="143"/>
                      </a:cxn>
                      <a:cxn ang="0">
                        <a:pos x="131" y="143"/>
                      </a:cxn>
                      <a:cxn ang="0">
                        <a:pos x="95" y="119"/>
                      </a:cxn>
                      <a:cxn ang="0">
                        <a:pos x="71" y="119"/>
                      </a:cxn>
                      <a:cxn ang="0">
                        <a:pos x="36" y="155"/>
                      </a:cxn>
                      <a:cxn ang="0">
                        <a:pos x="12" y="155"/>
                      </a:cxn>
                      <a:cxn ang="0">
                        <a:pos x="0" y="84"/>
                      </a:cxn>
                      <a:cxn ang="0">
                        <a:pos x="12" y="72"/>
                      </a:cxn>
                      <a:cxn ang="0">
                        <a:pos x="36" y="72"/>
                      </a:cxn>
                      <a:cxn ang="0">
                        <a:pos x="71" y="24"/>
                      </a:cxn>
                      <a:cxn ang="0">
                        <a:pos x="107" y="36"/>
                      </a:cxn>
                      <a:cxn ang="0">
                        <a:pos x="119" y="24"/>
                      </a:cxn>
                      <a:cxn ang="0">
                        <a:pos x="155" y="12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297" h="155">
                        <a:moveTo>
                          <a:pt x="178" y="0"/>
                        </a:moveTo>
                        <a:lnTo>
                          <a:pt x="202" y="0"/>
                        </a:lnTo>
                        <a:lnTo>
                          <a:pt x="226" y="48"/>
                        </a:lnTo>
                        <a:lnTo>
                          <a:pt x="273" y="48"/>
                        </a:lnTo>
                        <a:lnTo>
                          <a:pt x="285" y="84"/>
                        </a:lnTo>
                        <a:lnTo>
                          <a:pt x="297" y="107"/>
                        </a:lnTo>
                        <a:lnTo>
                          <a:pt x="285" y="119"/>
                        </a:lnTo>
                        <a:lnTo>
                          <a:pt x="273" y="119"/>
                        </a:lnTo>
                        <a:lnTo>
                          <a:pt x="250" y="107"/>
                        </a:lnTo>
                        <a:lnTo>
                          <a:pt x="226" y="107"/>
                        </a:lnTo>
                        <a:lnTo>
                          <a:pt x="190" y="143"/>
                        </a:lnTo>
                        <a:lnTo>
                          <a:pt x="131" y="143"/>
                        </a:lnTo>
                        <a:lnTo>
                          <a:pt x="95" y="119"/>
                        </a:lnTo>
                        <a:lnTo>
                          <a:pt x="71" y="119"/>
                        </a:lnTo>
                        <a:lnTo>
                          <a:pt x="36" y="155"/>
                        </a:lnTo>
                        <a:lnTo>
                          <a:pt x="12" y="155"/>
                        </a:lnTo>
                        <a:lnTo>
                          <a:pt x="0" y="84"/>
                        </a:lnTo>
                        <a:lnTo>
                          <a:pt x="12" y="72"/>
                        </a:lnTo>
                        <a:lnTo>
                          <a:pt x="36" y="72"/>
                        </a:lnTo>
                        <a:lnTo>
                          <a:pt x="71" y="24"/>
                        </a:lnTo>
                        <a:lnTo>
                          <a:pt x="107" y="36"/>
                        </a:lnTo>
                        <a:lnTo>
                          <a:pt x="119" y="24"/>
                        </a:lnTo>
                        <a:lnTo>
                          <a:pt x="155" y="12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129" name="Group 683"/>
                <p:cNvGrpSpPr/>
                <p:nvPr/>
              </p:nvGrpSpPr>
              <p:grpSpPr>
                <a:xfrm>
                  <a:off x="7199321" y="13966835"/>
                  <a:ext cx="15789268" cy="10658481"/>
                  <a:chOff x="7199313" y="13966825"/>
                  <a:chExt cx="15789275" cy="10658475"/>
                </a:xfrm>
                <a:grpFill/>
              </p:grpSpPr>
              <p:sp>
                <p:nvSpPr>
                  <p:cNvPr id="222" name="Freeform 428"/>
                  <p:cNvSpPr>
                    <a:spLocks/>
                  </p:cNvSpPr>
                  <p:nvPr/>
                </p:nvSpPr>
                <p:spPr bwMode="auto">
                  <a:xfrm>
                    <a:off x="7199313" y="13966825"/>
                    <a:ext cx="15789275" cy="10658475"/>
                  </a:xfrm>
                  <a:custGeom>
                    <a:avLst/>
                    <a:gdLst/>
                    <a:ahLst/>
                    <a:cxnLst>
                      <a:cxn ang="0">
                        <a:pos x="9091" y="4492"/>
                      </a:cxn>
                      <a:cxn ang="0">
                        <a:pos x="8877" y="4658"/>
                      </a:cxn>
                      <a:cxn ang="0">
                        <a:pos x="8580" y="4741"/>
                      </a:cxn>
                      <a:cxn ang="0">
                        <a:pos x="8461" y="5062"/>
                      </a:cxn>
                      <a:cxn ang="0">
                        <a:pos x="7760" y="4979"/>
                      </a:cxn>
                      <a:cxn ang="0">
                        <a:pos x="7463" y="5205"/>
                      </a:cxn>
                      <a:cxn ang="0">
                        <a:pos x="7403" y="5252"/>
                      </a:cxn>
                      <a:cxn ang="0">
                        <a:pos x="6571" y="5775"/>
                      </a:cxn>
                      <a:cxn ang="0">
                        <a:pos x="5787" y="6215"/>
                      </a:cxn>
                      <a:cxn ang="0">
                        <a:pos x="5621" y="6369"/>
                      </a:cxn>
                      <a:cxn ang="0">
                        <a:pos x="5585" y="6429"/>
                      </a:cxn>
                      <a:cxn ang="0">
                        <a:pos x="5502" y="6655"/>
                      </a:cxn>
                      <a:cxn ang="0">
                        <a:pos x="5359" y="6369"/>
                      </a:cxn>
                      <a:cxn ang="0">
                        <a:pos x="4908" y="6393"/>
                      </a:cxn>
                      <a:cxn ang="0">
                        <a:pos x="4896" y="5953"/>
                      </a:cxn>
                      <a:cxn ang="0">
                        <a:pos x="4195" y="5942"/>
                      </a:cxn>
                      <a:cxn ang="0">
                        <a:pos x="4195" y="5454"/>
                      </a:cxn>
                      <a:cxn ang="0">
                        <a:pos x="3886" y="4908"/>
                      </a:cxn>
                      <a:cxn ang="0">
                        <a:pos x="3874" y="4539"/>
                      </a:cxn>
                      <a:cxn ang="0">
                        <a:pos x="3696" y="3993"/>
                      </a:cxn>
                      <a:cxn ang="0">
                        <a:pos x="3137" y="3791"/>
                      </a:cxn>
                      <a:cxn ang="0">
                        <a:pos x="2543" y="3707"/>
                      </a:cxn>
                      <a:cxn ang="0">
                        <a:pos x="2163" y="3541"/>
                      </a:cxn>
                      <a:cxn ang="0">
                        <a:pos x="1747" y="3458"/>
                      </a:cxn>
                      <a:cxn ang="0">
                        <a:pos x="1069" y="3327"/>
                      </a:cxn>
                      <a:cxn ang="0">
                        <a:pos x="784" y="3386"/>
                      </a:cxn>
                      <a:cxn ang="0">
                        <a:pos x="249" y="3315"/>
                      </a:cxn>
                      <a:cxn ang="0">
                        <a:pos x="309" y="3149"/>
                      </a:cxn>
                      <a:cxn ang="0">
                        <a:pos x="1188" y="2293"/>
                      </a:cxn>
                      <a:cxn ang="0">
                        <a:pos x="1663" y="1366"/>
                      </a:cxn>
                      <a:cxn ang="0">
                        <a:pos x="1937" y="820"/>
                      </a:cxn>
                      <a:cxn ang="0">
                        <a:pos x="2460" y="332"/>
                      </a:cxn>
                      <a:cxn ang="0">
                        <a:pos x="3113" y="35"/>
                      </a:cxn>
                      <a:cxn ang="0">
                        <a:pos x="3755" y="190"/>
                      </a:cxn>
                      <a:cxn ang="0">
                        <a:pos x="4397" y="320"/>
                      </a:cxn>
                      <a:cxn ang="0">
                        <a:pos x="4527" y="629"/>
                      </a:cxn>
                      <a:cxn ang="0">
                        <a:pos x="4777" y="796"/>
                      </a:cxn>
                      <a:cxn ang="0">
                        <a:pos x="5229" y="499"/>
                      </a:cxn>
                      <a:cxn ang="0">
                        <a:pos x="5502" y="427"/>
                      </a:cxn>
                      <a:cxn ang="0">
                        <a:pos x="5882" y="475"/>
                      </a:cxn>
                      <a:cxn ang="0">
                        <a:pos x="6203" y="404"/>
                      </a:cxn>
                      <a:cxn ang="0">
                        <a:pos x="6619" y="534"/>
                      </a:cxn>
                      <a:cxn ang="0">
                        <a:pos x="6738" y="1033"/>
                      </a:cxn>
                      <a:cxn ang="0">
                        <a:pos x="6655" y="1402"/>
                      </a:cxn>
                      <a:cxn ang="0">
                        <a:pos x="6880" y="2103"/>
                      </a:cxn>
                      <a:cxn ang="0">
                        <a:pos x="7308" y="2139"/>
                      </a:cxn>
                      <a:cxn ang="0">
                        <a:pos x="7249" y="2662"/>
                      </a:cxn>
                      <a:cxn ang="0">
                        <a:pos x="7189" y="2923"/>
                      </a:cxn>
                      <a:cxn ang="0">
                        <a:pos x="7213" y="3303"/>
                      </a:cxn>
                      <a:cxn ang="0">
                        <a:pos x="7451" y="3684"/>
                      </a:cxn>
                      <a:cxn ang="0">
                        <a:pos x="7736" y="3838"/>
                      </a:cxn>
                      <a:cxn ang="0">
                        <a:pos x="7997" y="3862"/>
                      </a:cxn>
                      <a:cxn ang="0">
                        <a:pos x="8140" y="3660"/>
                      </a:cxn>
                      <a:cxn ang="0">
                        <a:pos x="8580" y="3612"/>
                      </a:cxn>
                      <a:cxn ang="0">
                        <a:pos x="9233" y="3375"/>
                      </a:cxn>
                      <a:cxn ang="0">
                        <a:pos x="9780" y="3636"/>
                      </a:cxn>
                      <a:cxn ang="0">
                        <a:pos x="9816" y="3945"/>
                      </a:cxn>
                      <a:cxn ang="0">
                        <a:pos x="9198" y="4254"/>
                      </a:cxn>
                    </a:cxnLst>
                    <a:rect l="0" t="0" r="r" b="b"/>
                    <a:pathLst>
                      <a:path w="9946" h="6714">
                        <a:moveTo>
                          <a:pt x="9269" y="4515"/>
                        </a:moveTo>
                        <a:lnTo>
                          <a:pt x="9269" y="4527"/>
                        </a:lnTo>
                        <a:lnTo>
                          <a:pt x="9257" y="4539"/>
                        </a:lnTo>
                        <a:lnTo>
                          <a:pt x="9198" y="4527"/>
                        </a:lnTo>
                        <a:lnTo>
                          <a:pt x="9162" y="4539"/>
                        </a:lnTo>
                        <a:lnTo>
                          <a:pt x="9150" y="4539"/>
                        </a:lnTo>
                        <a:lnTo>
                          <a:pt x="9138" y="4515"/>
                        </a:lnTo>
                        <a:lnTo>
                          <a:pt x="9115" y="4515"/>
                        </a:lnTo>
                        <a:lnTo>
                          <a:pt x="9103" y="4515"/>
                        </a:lnTo>
                        <a:lnTo>
                          <a:pt x="9091" y="4492"/>
                        </a:lnTo>
                        <a:lnTo>
                          <a:pt x="9055" y="4492"/>
                        </a:lnTo>
                        <a:lnTo>
                          <a:pt x="9031" y="4504"/>
                        </a:lnTo>
                        <a:lnTo>
                          <a:pt x="8972" y="4527"/>
                        </a:lnTo>
                        <a:lnTo>
                          <a:pt x="8901" y="4575"/>
                        </a:lnTo>
                        <a:lnTo>
                          <a:pt x="8889" y="4587"/>
                        </a:lnTo>
                        <a:lnTo>
                          <a:pt x="8913" y="4599"/>
                        </a:lnTo>
                        <a:lnTo>
                          <a:pt x="8924" y="4611"/>
                        </a:lnTo>
                        <a:lnTo>
                          <a:pt x="8913" y="4622"/>
                        </a:lnTo>
                        <a:lnTo>
                          <a:pt x="8889" y="4634"/>
                        </a:lnTo>
                        <a:lnTo>
                          <a:pt x="8877" y="4658"/>
                        </a:lnTo>
                        <a:lnTo>
                          <a:pt x="8841" y="4646"/>
                        </a:lnTo>
                        <a:lnTo>
                          <a:pt x="8817" y="4682"/>
                        </a:lnTo>
                        <a:lnTo>
                          <a:pt x="8782" y="4670"/>
                        </a:lnTo>
                        <a:lnTo>
                          <a:pt x="8770" y="4694"/>
                        </a:lnTo>
                        <a:lnTo>
                          <a:pt x="8746" y="4694"/>
                        </a:lnTo>
                        <a:lnTo>
                          <a:pt x="8722" y="4706"/>
                        </a:lnTo>
                        <a:lnTo>
                          <a:pt x="8734" y="4741"/>
                        </a:lnTo>
                        <a:lnTo>
                          <a:pt x="8699" y="4765"/>
                        </a:lnTo>
                        <a:lnTo>
                          <a:pt x="8627" y="4729"/>
                        </a:lnTo>
                        <a:lnTo>
                          <a:pt x="8580" y="4741"/>
                        </a:lnTo>
                        <a:lnTo>
                          <a:pt x="8532" y="4706"/>
                        </a:lnTo>
                        <a:lnTo>
                          <a:pt x="8509" y="4706"/>
                        </a:lnTo>
                        <a:lnTo>
                          <a:pt x="8509" y="4765"/>
                        </a:lnTo>
                        <a:lnTo>
                          <a:pt x="8473" y="4836"/>
                        </a:lnTo>
                        <a:lnTo>
                          <a:pt x="8473" y="4872"/>
                        </a:lnTo>
                        <a:lnTo>
                          <a:pt x="8497" y="4896"/>
                        </a:lnTo>
                        <a:lnTo>
                          <a:pt x="8485" y="4931"/>
                        </a:lnTo>
                        <a:lnTo>
                          <a:pt x="8497" y="4979"/>
                        </a:lnTo>
                        <a:lnTo>
                          <a:pt x="8485" y="5038"/>
                        </a:lnTo>
                        <a:lnTo>
                          <a:pt x="8461" y="5062"/>
                        </a:lnTo>
                        <a:lnTo>
                          <a:pt x="8330" y="5062"/>
                        </a:lnTo>
                        <a:lnTo>
                          <a:pt x="8295" y="5026"/>
                        </a:lnTo>
                        <a:lnTo>
                          <a:pt x="8223" y="5003"/>
                        </a:lnTo>
                        <a:lnTo>
                          <a:pt x="8200" y="4991"/>
                        </a:lnTo>
                        <a:lnTo>
                          <a:pt x="8021" y="4931"/>
                        </a:lnTo>
                        <a:lnTo>
                          <a:pt x="7926" y="4931"/>
                        </a:lnTo>
                        <a:lnTo>
                          <a:pt x="7855" y="4955"/>
                        </a:lnTo>
                        <a:lnTo>
                          <a:pt x="7772" y="5015"/>
                        </a:lnTo>
                        <a:lnTo>
                          <a:pt x="7772" y="5015"/>
                        </a:lnTo>
                        <a:lnTo>
                          <a:pt x="7760" y="4979"/>
                        </a:lnTo>
                        <a:lnTo>
                          <a:pt x="7724" y="4991"/>
                        </a:lnTo>
                        <a:lnTo>
                          <a:pt x="7689" y="5038"/>
                        </a:lnTo>
                        <a:lnTo>
                          <a:pt x="7689" y="5074"/>
                        </a:lnTo>
                        <a:lnTo>
                          <a:pt x="7641" y="5110"/>
                        </a:lnTo>
                        <a:lnTo>
                          <a:pt x="7629" y="5157"/>
                        </a:lnTo>
                        <a:lnTo>
                          <a:pt x="7582" y="5181"/>
                        </a:lnTo>
                        <a:lnTo>
                          <a:pt x="7546" y="5193"/>
                        </a:lnTo>
                        <a:lnTo>
                          <a:pt x="7510" y="5228"/>
                        </a:lnTo>
                        <a:lnTo>
                          <a:pt x="7486" y="5217"/>
                        </a:lnTo>
                        <a:lnTo>
                          <a:pt x="7463" y="5205"/>
                        </a:lnTo>
                        <a:lnTo>
                          <a:pt x="7451" y="5169"/>
                        </a:lnTo>
                        <a:lnTo>
                          <a:pt x="7451" y="5145"/>
                        </a:lnTo>
                        <a:lnTo>
                          <a:pt x="7451" y="5133"/>
                        </a:lnTo>
                        <a:lnTo>
                          <a:pt x="7439" y="5133"/>
                        </a:lnTo>
                        <a:lnTo>
                          <a:pt x="7403" y="5133"/>
                        </a:lnTo>
                        <a:lnTo>
                          <a:pt x="7391" y="5145"/>
                        </a:lnTo>
                        <a:lnTo>
                          <a:pt x="7391" y="5169"/>
                        </a:lnTo>
                        <a:lnTo>
                          <a:pt x="7415" y="5217"/>
                        </a:lnTo>
                        <a:lnTo>
                          <a:pt x="7415" y="5240"/>
                        </a:lnTo>
                        <a:lnTo>
                          <a:pt x="7403" y="5252"/>
                        </a:lnTo>
                        <a:lnTo>
                          <a:pt x="7261" y="5288"/>
                        </a:lnTo>
                        <a:lnTo>
                          <a:pt x="7106" y="5359"/>
                        </a:lnTo>
                        <a:lnTo>
                          <a:pt x="6964" y="5454"/>
                        </a:lnTo>
                        <a:lnTo>
                          <a:pt x="6833" y="5502"/>
                        </a:lnTo>
                        <a:lnTo>
                          <a:pt x="6702" y="5609"/>
                        </a:lnTo>
                        <a:lnTo>
                          <a:pt x="6690" y="5680"/>
                        </a:lnTo>
                        <a:lnTo>
                          <a:pt x="6667" y="5704"/>
                        </a:lnTo>
                        <a:lnTo>
                          <a:pt x="6643" y="5716"/>
                        </a:lnTo>
                        <a:lnTo>
                          <a:pt x="6595" y="5716"/>
                        </a:lnTo>
                        <a:lnTo>
                          <a:pt x="6571" y="5775"/>
                        </a:lnTo>
                        <a:lnTo>
                          <a:pt x="6476" y="5835"/>
                        </a:lnTo>
                        <a:lnTo>
                          <a:pt x="6429" y="5894"/>
                        </a:lnTo>
                        <a:lnTo>
                          <a:pt x="6358" y="5906"/>
                        </a:lnTo>
                        <a:lnTo>
                          <a:pt x="6334" y="5930"/>
                        </a:lnTo>
                        <a:lnTo>
                          <a:pt x="6274" y="5977"/>
                        </a:lnTo>
                        <a:lnTo>
                          <a:pt x="6239" y="5977"/>
                        </a:lnTo>
                        <a:lnTo>
                          <a:pt x="6203" y="6001"/>
                        </a:lnTo>
                        <a:lnTo>
                          <a:pt x="6156" y="5989"/>
                        </a:lnTo>
                        <a:lnTo>
                          <a:pt x="6025" y="6048"/>
                        </a:lnTo>
                        <a:lnTo>
                          <a:pt x="5787" y="6215"/>
                        </a:lnTo>
                        <a:lnTo>
                          <a:pt x="5704" y="6239"/>
                        </a:lnTo>
                        <a:lnTo>
                          <a:pt x="5668" y="6274"/>
                        </a:lnTo>
                        <a:lnTo>
                          <a:pt x="5633" y="6298"/>
                        </a:lnTo>
                        <a:lnTo>
                          <a:pt x="5609" y="6334"/>
                        </a:lnTo>
                        <a:lnTo>
                          <a:pt x="5585" y="6322"/>
                        </a:lnTo>
                        <a:lnTo>
                          <a:pt x="5573" y="6322"/>
                        </a:lnTo>
                        <a:lnTo>
                          <a:pt x="5573" y="6334"/>
                        </a:lnTo>
                        <a:lnTo>
                          <a:pt x="5573" y="6381"/>
                        </a:lnTo>
                        <a:lnTo>
                          <a:pt x="5597" y="6393"/>
                        </a:lnTo>
                        <a:lnTo>
                          <a:pt x="5621" y="6369"/>
                        </a:lnTo>
                        <a:lnTo>
                          <a:pt x="5633" y="6346"/>
                        </a:lnTo>
                        <a:lnTo>
                          <a:pt x="5680" y="6286"/>
                        </a:lnTo>
                        <a:lnTo>
                          <a:pt x="5716" y="6274"/>
                        </a:lnTo>
                        <a:lnTo>
                          <a:pt x="5728" y="6274"/>
                        </a:lnTo>
                        <a:lnTo>
                          <a:pt x="5716" y="6298"/>
                        </a:lnTo>
                        <a:lnTo>
                          <a:pt x="5680" y="6322"/>
                        </a:lnTo>
                        <a:lnTo>
                          <a:pt x="5656" y="6393"/>
                        </a:lnTo>
                        <a:lnTo>
                          <a:pt x="5644" y="6405"/>
                        </a:lnTo>
                        <a:lnTo>
                          <a:pt x="5585" y="6429"/>
                        </a:lnTo>
                        <a:lnTo>
                          <a:pt x="5585" y="6429"/>
                        </a:lnTo>
                        <a:lnTo>
                          <a:pt x="5573" y="6453"/>
                        </a:lnTo>
                        <a:lnTo>
                          <a:pt x="5585" y="6464"/>
                        </a:lnTo>
                        <a:lnTo>
                          <a:pt x="5597" y="6476"/>
                        </a:lnTo>
                        <a:lnTo>
                          <a:pt x="5644" y="6441"/>
                        </a:lnTo>
                        <a:lnTo>
                          <a:pt x="5668" y="6441"/>
                        </a:lnTo>
                        <a:lnTo>
                          <a:pt x="5668" y="6453"/>
                        </a:lnTo>
                        <a:lnTo>
                          <a:pt x="5668" y="6476"/>
                        </a:lnTo>
                        <a:lnTo>
                          <a:pt x="5633" y="6559"/>
                        </a:lnTo>
                        <a:lnTo>
                          <a:pt x="5454" y="6714"/>
                        </a:lnTo>
                        <a:lnTo>
                          <a:pt x="5502" y="6655"/>
                        </a:lnTo>
                        <a:lnTo>
                          <a:pt x="5502" y="6643"/>
                        </a:lnTo>
                        <a:lnTo>
                          <a:pt x="5466" y="6631"/>
                        </a:lnTo>
                        <a:lnTo>
                          <a:pt x="5431" y="6643"/>
                        </a:lnTo>
                        <a:lnTo>
                          <a:pt x="5395" y="6643"/>
                        </a:lnTo>
                        <a:lnTo>
                          <a:pt x="5395" y="6619"/>
                        </a:lnTo>
                        <a:lnTo>
                          <a:pt x="5407" y="6548"/>
                        </a:lnTo>
                        <a:lnTo>
                          <a:pt x="5371" y="6441"/>
                        </a:lnTo>
                        <a:lnTo>
                          <a:pt x="5371" y="6393"/>
                        </a:lnTo>
                        <a:lnTo>
                          <a:pt x="5371" y="6369"/>
                        </a:lnTo>
                        <a:lnTo>
                          <a:pt x="5359" y="6369"/>
                        </a:lnTo>
                        <a:lnTo>
                          <a:pt x="5336" y="6357"/>
                        </a:lnTo>
                        <a:lnTo>
                          <a:pt x="5240" y="6417"/>
                        </a:lnTo>
                        <a:lnTo>
                          <a:pt x="5217" y="6417"/>
                        </a:lnTo>
                        <a:lnTo>
                          <a:pt x="5193" y="6393"/>
                        </a:lnTo>
                        <a:lnTo>
                          <a:pt x="5122" y="6369"/>
                        </a:lnTo>
                        <a:lnTo>
                          <a:pt x="5110" y="6381"/>
                        </a:lnTo>
                        <a:lnTo>
                          <a:pt x="5062" y="6429"/>
                        </a:lnTo>
                        <a:lnTo>
                          <a:pt x="5038" y="6441"/>
                        </a:lnTo>
                        <a:lnTo>
                          <a:pt x="5003" y="6453"/>
                        </a:lnTo>
                        <a:lnTo>
                          <a:pt x="4908" y="6393"/>
                        </a:lnTo>
                        <a:lnTo>
                          <a:pt x="4884" y="6357"/>
                        </a:lnTo>
                        <a:lnTo>
                          <a:pt x="4908" y="6322"/>
                        </a:lnTo>
                        <a:lnTo>
                          <a:pt x="4920" y="6274"/>
                        </a:lnTo>
                        <a:lnTo>
                          <a:pt x="4943" y="6239"/>
                        </a:lnTo>
                        <a:lnTo>
                          <a:pt x="4931" y="6179"/>
                        </a:lnTo>
                        <a:lnTo>
                          <a:pt x="4943" y="6144"/>
                        </a:lnTo>
                        <a:lnTo>
                          <a:pt x="5003" y="6037"/>
                        </a:lnTo>
                        <a:lnTo>
                          <a:pt x="5015" y="6001"/>
                        </a:lnTo>
                        <a:lnTo>
                          <a:pt x="4991" y="5977"/>
                        </a:lnTo>
                        <a:lnTo>
                          <a:pt x="4896" y="5953"/>
                        </a:lnTo>
                        <a:lnTo>
                          <a:pt x="4884" y="5942"/>
                        </a:lnTo>
                        <a:lnTo>
                          <a:pt x="4884" y="5918"/>
                        </a:lnTo>
                        <a:lnTo>
                          <a:pt x="4801" y="5942"/>
                        </a:lnTo>
                        <a:lnTo>
                          <a:pt x="4753" y="5942"/>
                        </a:lnTo>
                        <a:lnTo>
                          <a:pt x="4658" y="5930"/>
                        </a:lnTo>
                        <a:lnTo>
                          <a:pt x="4587" y="5930"/>
                        </a:lnTo>
                        <a:lnTo>
                          <a:pt x="4539" y="5906"/>
                        </a:lnTo>
                        <a:lnTo>
                          <a:pt x="4504" y="5894"/>
                        </a:lnTo>
                        <a:lnTo>
                          <a:pt x="4420" y="5942"/>
                        </a:lnTo>
                        <a:lnTo>
                          <a:pt x="4195" y="5942"/>
                        </a:lnTo>
                        <a:lnTo>
                          <a:pt x="4159" y="5906"/>
                        </a:lnTo>
                        <a:lnTo>
                          <a:pt x="4147" y="5870"/>
                        </a:lnTo>
                        <a:lnTo>
                          <a:pt x="4135" y="5775"/>
                        </a:lnTo>
                        <a:lnTo>
                          <a:pt x="4147" y="5716"/>
                        </a:lnTo>
                        <a:lnTo>
                          <a:pt x="4159" y="5692"/>
                        </a:lnTo>
                        <a:lnTo>
                          <a:pt x="4207" y="5633"/>
                        </a:lnTo>
                        <a:lnTo>
                          <a:pt x="4278" y="5549"/>
                        </a:lnTo>
                        <a:lnTo>
                          <a:pt x="4278" y="5526"/>
                        </a:lnTo>
                        <a:lnTo>
                          <a:pt x="4254" y="5502"/>
                        </a:lnTo>
                        <a:lnTo>
                          <a:pt x="4195" y="5454"/>
                        </a:lnTo>
                        <a:lnTo>
                          <a:pt x="4171" y="5419"/>
                        </a:lnTo>
                        <a:lnTo>
                          <a:pt x="4159" y="5383"/>
                        </a:lnTo>
                        <a:lnTo>
                          <a:pt x="4135" y="5347"/>
                        </a:lnTo>
                        <a:lnTo>
                          <a:pt x="4135" y="5276"/>
                        </a:lnTo>
                        <a:lnTo>
                          <a:pt x="4123" y="5264"/>
                        </a:lnTo>
                        <a:lnTo>
                          <a:pt x="4076" y="5217"/>
                        </a:lnTo>
                        <a:lnTo>
                          <a:pt x="3981" y="5110"/>
                        </a:lnTo>
                        <a:lnTo>
                          <a:pt x="3957" y="5062"/>
                        </a:lnTo>
                        <a:lnTo>
                          <a:pt x="3969" y="5003"/>
                        </a:lnTo>
                        <a:lnTo>
                          <a:pt x="3886" y="4908"/>
                        </a:lnTo>
                        <a:lnTo>
                          <a:pt x="3886" y="4872"/>
                        </a:lnTo>
                        <a:lnTo>
                          <a:pt x="3909" y="4860"/>
                        </a:lnTo>
                        <a:lnTo>
                          <a:pt x="3921" y="4836"/>
                        </a:lnTo>
                        <a:lnTo>
                          <a:pt x="3921" y="4777"/>
                        </a:lnTo>
                        <a:lnTo>
                          <a:pt x="3933" y="4729"/>
                        </a:lnTo>
                        <a:lnTo>
                          <a:pt x="3933" y="4694"/>
                        </a:lnTo>
                        <a:lnTo>
                          <a:pt x="3921" y="4682"/>
                        </a:lnTo>
                        <a:lnTo>
                          <a:pt x="3886" y="4611"/>
                        </a:lnTo>
                        <a:lnTo>
                          <a:pt x="3874" y="4551"/>
                        </a:lnTo>
                        <a:lnTo>
                          <a:pt x="3874" y="4539"/>
                        </a:lnTo>
                        <a:lnTo>
                          <a:pt x="3862" y="4504"/>
                        </a:lnTo>
                        <a:lnTo>
                          <a:pt x="3874" y="4456"/>
                        </a:lnTo>
                        <a:lnTo>
                          <a:pt x="3898" y="4397"/>
                        </a:lnTo>
                        <a:lnTo>
                          <a:pt x="3886" y="4361"/>
                        </a:lnTo>
                        <a:lnTo>
                          <a:pt x="3862" y="4313"/>
                        </a:lnTo>
                        <a:lnTo>
                          <a:pt x="3862" y="4206"/>
                        </a:lnTo>
                        <a:lnTo>
                          <a:pt x="3838" y="4111"/>
                        </a:lnTo>
                        <a:lnTo>
                          <a:pt x="3767" y="4016"/>
                        </a:lnTo>
                        <a:lnTo>
                          <a:pt x="3743" y="3993"/>
                        </a:lnTo>
                        <a:lnTo>
                          <a:pt x="3696" y="3993"/>
                        </a:lnTo>
                        <a:lnTo>
                          <a:pt x="3660" y="3969"/>
                        </a:lnTo>
                        <a:lnTo>
                          <a:pt x="3577" y="3933"/>
                        </a:lnTo>
                        <a:lnTo>
                          <a:pt x="3505" y="3862"/>
                        </a:lnTo>
                        <a:lnTo>
                          <a:pt x="3482" y="3826"/>
                        </a:lnTo>
                        <a:lnTo>
                          <a:pt x="3422" y="3767"/>
                        </a:lnTo>
                        <a:lnTo>
                          <a:pt x="3398" y="3767"/>
                        </a:lnTo>
                        <a:lnTo>
                          <a:pt x="3363" y="3767"/>
                        </a:lnTo>
                        <a:lnTo>
                          <a:pt x="3327" y="3779"/>
                        </a:lnTo>
                        <a:lnTo>
                          <a:pt x="3244" y="3802"/>
                        </a:lnTo>
                        <a:lnTo>
                          <a:pt x="3137" y="3791"/>
                        </a:lnTo>
                        <a:lnTo>
                          <a:pt x="3078" y="3791"/>
                        </a:lnTo>
                        <a:lnTo>
                          <a:pt x="3006" y="3779"/>
                        </a:lnTo>
                        <a:lnTo>
                          <a:pt x="2923" y="3779"/>
                        </a:lnTo>
                        <a:lnTo>
                          <a:pt x="2840" y="3743"/>
                        </a:lnTo>
                        <a:lnTo>
                          <a:pt x="2757" y="3743"/>
                        </a:lnTo>
                        <a:lnTo>
                          <a:pt x="2721" y="3731"/>
                        </a:lnTo>
                        <a:lnTo>
                          <a:pt x="2685" y="3731"/>
                        </a:lnTo>
                        <a:lnTo>
                          <a:pt x="2638" y="3767"/>
                        </a:lnTo>
                        <a:lnTo>
                          <a:pt x="2590" y="3743"/>
                        </a:lnTo>
                        <a:lnTo>
                          <a:pt x="2543" y="3707"/>
                        </a:lnTo>
                        <a:lnTo>
                          <a:pt x="2519" y="3660"/>
                        </a:lnTo>
                        <a:lnTo>
                          <a:pt x="2507" y="3636"/>
                        </a:lnTo>
                        <a:lnTo>
                          <a:pt x="2483" y="3624"/>
                        </a:lnTo>
                        <a:lnTo>
                          <a:pt x="2424" y="3612"/>
                        </a:lnTo>
                        <a:lnTo>
                          <a:pt x="2353" y="3589"/>
                        </a:lnTo>
                        <a:lnTo>
                          <a:pt x="2293" y="3577"/>
                        </a:lnTo>
                        <a:lnTo>
                          <a:pt x="2258" y="3541"/>
                        </a:lnTo>
                        <a:lnTo>
                          <a:pt x="2222" y="3541"/>
                        </a:lnTo>
                        <a:lnTo>
                          <a:pt x="2198" y="3553"/>
                        </a:lnTo>
                        <a:lnTo>
                          <a:pt x="2163" y="3541"/>
                        </a:lnTo>
                        <a:lnTo>
                          <a:pt x="2103" y="3493"/>
                        </a:lnTo>
                        <a:lnTo>
                          <a:pt x="2079" y="3458"/>
                        </a:lnTo>
                        <a:lnTo>
                          <a:pt x="2032" y="3446"/>
                        </a:lnTo>
                        <a:lnTo>
                          <a:pt x="2020" y="3458"/>
                        </a:lnTo>
                        <a:lnTo>
                          <a:pt x="1961" y="3446"/>
                        </a:lnTo>
                        <a:lnTo>
                          <a:pt x="1913" y="3422"/>
                        </a:lnTo>
                        <a:lnTo>
                          <a:pt x="1854" y="3422"/>
                        </a:lnTo>
                        <a:lnTo>
                          <a:pt x="1818" y="3434"/>
                        </a:lnTo>
                        <a:lnTo>
                          <a:pt x="1782" y="3446"/>
                        </a:lnTo>
                        <a:lnTo>
                          <a:pt x="1747" y="3458"/>
                        </a:lnTo>
                        <a:lnTo>
                          <a:pt x="1675" y="3434"/>
                        </a:lnTo>
                        <a:lnTo>
                          <a:pt x="1568" y="3434"/>
                        </a:lnTo>
                        <a:lnTo>
                          <a:pt x="1521" y="3386"/>
                        </a:lnTo>
                        <a:lnTo>
                          <a:pt x="1414" y="3386"/>
                        </a:lnTo>
                        <a:lnTo>
                          <a:pt x="1295" y="3303"/>
                        </a:lnTo>
                        <a:lnTo>
                          <a:pt x="1247" y="3280"/>
                        </a:lnTo>
                        <a:lnTo>
                          <a:pt x="1224" y="3291"/>
                        </a:lnTo>
                        <a:lnTo>
                          <a:pt x="1129" y="3280"/>
                        </a:lnTo>
                        <a:lnTo>
                          <a:pt x="1093" y="3291"/>
                        </a:lnTo>
                        <a:lnTo>
                          <a:pt x="1069" y="3327"/>
                        </a:lnTo>
                        <a:lnTo>
                          <a:pt x="1057" y="3398"/>
                        </a:lnTo>
                        <a:lnTo>
                          <a:pt x="1034" y="3422"/>
                        </a:lnTo>
                        <a:lnTo>
                          <a:pt x="1022" y="3422"/>
                        </a:lnTo>
                        <a:lnTo>
                          <a:pt x="998" y="3422"/>
                        </a:lnTo>
                        <a:lnTo>
                          <a:pt x="986" y="3398"/>
                        </a:lnTo>
                        <a:lnTo>
                          <a:pt x="962" y="3375"/>
                        </a:lnTo>
                        <a:lnTo>
                          <a:pt x="938" y="3375"/>
                        </a:lnTo>
                        <a:lnTo>
                          <a:pt x="879" y="3410"/>
                        </a:lnTo>
                        <a:lnTo>
                          <a:pt x="843" y="3410"/>
                        </a:lnTo>
                        <a:lnTo>
                          <a:pt x="784" y="3386"/>
                        </a:lnTo>
                        <a:lnTo>
                          <a:pt x="701" y="3398"/>
                        </a:lnTo>
                        <a:lnTo>
                          <a:pt x="689" y="3386"/>
                        </a:lnTo>
                        <a:lnTo>
                          <a:pt x="653" y="3351"/>
                        </a:lnTo>
                        <a:lnTo>
                          <a:pt x="618" y="3327"/>
                        </a:lnTo>
                        <a:lnTo>
                          <a:pt x="594" y="3327"/>
                        </a:lnTo>
                        <a:lnTo>
                          <a:pt x="534" y="3363"/>
                        </a:lnTo>
                        <a:lnTo>
                          <a:pt x="439" y="3363"/>
                        </a:lnTo>
                        <a:lnTo>
                          <a:pt x="309" y="3351"/>
                        </a:lnTo>
                        <a:lnTo>
                          <a:pt x="285" y="3339"/>
                        </a:lnTo>
                        <a:lnTo>
                          <a:pt x="249" y="3315"/>
                        </a:lnTo>
                        <a:lnTo>
                          <a:pt x="225" y="3303"/>
                        </a:lnTo>
                        <a:lnTo>
                          <a:pt x="83" y="3363"/>
                        </a:lnTo>
                        <a:lnTo>
                          <a:pt x="47" y="3375"/>
                        </a:lnTo>
                        <a:lnTo>
                          <a:pt x="0" y="3375"/>
                        </a:lnTo>
                        <a:lnTo>
                          <a:pt x="0" y="3375"/>
                        </a:lnTo>
                        <a:lnTo>
                          <a:pt x="23" y="3339"/>
                        </a:lnTo>
                        <a:lnTo>
                          <a:pt x="23" y="3315"/>
                        </a:lnTo>
                        <a:lnTo>
                          <a:pt x="59" y="3280"/>
                        </a:lnTo>
                        <a:lnTo>
                          <a:pt x="225" y="3173"/>
                        </a:lnTo>
                        <a:lnTo>
                          <a:pt x="309" y="3149"/>
                        </a:lnTo>
                        <a:lnTo>
                          <a:pt x="416" y="3054"/>
                        </a:lnTo>
                        <a:lnTo>
                          <a:pt x="511" y="2982"/>
                        </a:lnTo>
                        <a:lnTo>
                          <a:pt x="606" y="2935"/>
                        </a:lnTo>
                        <a:lnTo>
                          <a:pt x="689" y="2887"/>
                        </a:lnTo>
                        <a:lnTo>
                          <a:pt x="748" y="2816"/>
                        </a:lnTo>
                        <a:lnTo>
                          <a:pt x="820" y="2780"/>
                        </a:lnTo>
                        <a:lnTo>
                          <a:pt x="867" y="2709"/>
                        </a:lnTo>
                        <a:lnTo>
                          <a:pt x="915" y="2555"/>
                        </a:lnTo>
                        <a:lnTo>
                          <a:pt x="1069" y="2376"/>
                        </a:lnTo>
                        <a:lnTo>
                          <a:pt x="1188" y="2293"/>
                        </a:lnTo>
                        <a:lnTo>
                          <a:pt x="1152" y="2079"/>
                        </a:lnTo>
                        <a:lnTo>
                          <a:pt x="1164" y="2044"/>
                        </a:lnTo>
                        <a:lnTo>
                          <a:pt x="1247" y="2044"/>
                        </a:lnTo>
                        <a:lnTo>
                          <a:pt x="1307" y="2020"/>
                        </a:lnTo>
                        <a:lnTo>
                          <a:pt x="1426" y="1842"/>
                        </a:lnTo>
                        <a:lnTo>
                          <a:pt x="1438" y="1616"/>
                        </a:lnTo>
                        <a:lnTo>
                          <a:pt x="1533" y="1509"/>
                        </a:lnTo>
                        <a:lnTo>
                          <a:pt x="1568" y="1426"/>
                        </a:lnTo>
                        <a:lnTo>
                          <a:pt x="1640" y="1390"/>
                        </a:lnTo>
                        <a:lnTo>
                          <a:pt x="1663" y="1366"/>
                        </a:lnTo>
                        <a:lnTo>
                          <a:pt x="1675" y="1319"/>
                        </a:lnTo>
                        <a:lnTo>
                          <a:pt x="1687" y="1164"/>
                        </a:lnTo>
                        <a:lnTo>
                          <a:pt x="1687" y="1093"/>
                        </a:lnTo>
                        <a:lnTo>
                          <a:pt x="1699" y="1057"/>
                        </a:lnTo>
                        <a:lnTo>
                          <a:pt x="1711" y="1033"/>
                        </a:lnTo>
                        <a:lnTo>
                          <a:pt x="1794" y="950"/>
                        </a:lnTo>
                        <a:lnTo>
                          <a:pt x="1806" y="938"/>
                        </a:lnTo>
                        <a:lnTo>
                          <a:pt x="1830" y="927"/>
                        </a:lnTo>
                        <a:lnTo>
                          <a:pt x="1854" y="855"/>
                        </a:lnTo>
                        <a:lnTo>
                          <a:pt x="1937" y="820"/>
                        </a:lnTo>
                        <a:lnTo>
                          <a:pt x="1972" y="748"/>
                        </a:lnTo>
                        <a:lnTo>
                          <a:pt x="2056" y="653"/>
                        </a:lnTo>
                        <a:lnTo>
                          <a:pt x="2067" y="641"/>
                        </a:lnTo>
                        <a:lnTo>
                          <a:pt x="2127" y="629"/>
                        </a:lnTo>
                        <a:lnTo>
                          <a:pt x="2210" y="618"/>
                        </a:lnTo>
                        <a:lnTo>
                          <a:pt x="2281" y="582"/>
                        </a:lnTo>
                        <a:lnTo>
                          <a:pt x="2329" y="522"/>
                        </a:lnTo>
                        <a:lnTo>
                          <a:pt x="2365" y="451"/>
                        </a:lnTo>
                        <a:lnTo>
                          <a:pt x="2400" y="368"/>
                        </a:lnTo>
                        <a:lnTo>
                          <a:pt x="2460" y="332"/>
                        </a:lnTo>
                        <a:lnTo>
                          <a:pt x="2495" y="297"/>
                        </a:lnTo>
                        <a:lnTo>
                          <a:pt x="2567" y="261"/>
                        </a:lnTo>
                        <a:lnTo>
                          <a:pt x="2614" y="237"/>
                        </a:lnTo>
                        <a:lnTo>
                          <a:pt x="2709" y="190"/>
                        </a:lnTo>
                        <a:lnTo>
                          <a:pt x="2852" y="118"/>
                        </a:lnTo>
                        <a:lnTo>
                          <a:pt x="2876" y="83"/>
                        </a:lnTo>
                        <a:lnTo>
                          <a:pt x="2947" y="47"/>
                        </a:lnTo>
                        <a:lnTo>
                          <a:pt x="3042" y="0"/>
                        </a:lnTo>
                        <a:lnTo>
                          <a:pt x="3066" y="11"/>
                        </a:lnTo>
                        <a:lnTo>
                          <a:pt x="3113" y="35"/>
                        </a:lnTo>
                        <a:lnTo>
                          <a:pt x="3125" y="59"/>
                        </a:lnTo>
                        <a:lnTo>
                          <a:pt x="3161" y="95"/>
                        </a:lnTo>
                        <a:lnTo>
                          <a:pt x="3244" y="107"/>
                        </a:lnTo>
                        <a:lnTo>
                          <a:pt x="3303" y="107"/>
                        </a:lnTo>
                        <a:lnTo>
                          <a:pt x="3458" y="118"/>
                        </a:lnTo>
                        <a:lnTo>
                          <a:pt x="3482" y="118"/>
                        </a:lnTo>
                        <a:lnTo>
                          <a:pt x="3529" y="166"/>
                        </a:lnTo>
                        <a:lnTo>
                          <a:pt x="3577" y="178"/>
                        </a:lnTo>
                        <a:lnTo>
                          <a:pt x="3648" y="190"/>
                        </a:lnTo>
                        <a:lnTo>
                          <a:pt x="3755" y="190"/>
                        </a:lnTo>
                        <a:lnTo>
                          <a:pt x="3803" y="178"/>
                        </a:lnTo>
                        <a:lnTo>
                          <a:pt x="3957" y="178"/>
                        </a:lnTo>
                        <a:lnTo>
                          <a:pt x="4028" y="166"/>
                        </a:lnTo>
                        <a:lnTo>
                          <a:pt x="4076" y="166"/>
                        </a:lnTo>
                        <a:lnTo>
                          <a:pt x="4111" y="190"/>
                        </a:lnTo>
                        <a:lnTo>
                          <a:pt x="4147" y="237"/>
                        </a:lnTo>
                        <a:lnTo>
                          <a:pt x="4195" y="261"/>
                        </a:lnTo>
                        <a:lnTo>
                          <a:pt x="4337" y="237"/>
                        </a:lnTo>
                        <a:lnTo>
                          <a:pt x="4349" y="249"/>
                        </a:lnTo>
                        <a:lnTo>
                          <a:pt x="4397" y="320"/>
                        </a:lnTo>
                        <a:lnTo>
                          <a:pt x="4373" y="320"/>
                        </a:lnTo>
                        <a:lnTo>
                          <a:pt x="4337" y="332"/>
                        </a:lnTo>
                        <a:lnTo>
                          <a:pt x="4314" y="380"/>
                        </a:lnTo>
                        <a:lnTo>
                          <a:pt x="4325" y="511"/>
                        </a:lnTo>
                        <a:lnTo>
                          <a:pt x="4361" y="570"/>
                        </a:lnTo>
                        <a:lnTo>
                          <a:pt x="4385" y="653"/>
                        </a:lnTo>
                        <a:lnTo>
                          <a:pt x="4444" y="689"/>
                        </a:lnTo>
                        <a:lnTo>
                          <a:pt x="4456" y="701"/>
                        </a:lnTo>
                        <a:lnTo>
                          <a:pt x="4480" y="665"/>
                        </a:lnTo>
                        <a:lnTo>
                          <a:pt x="4527" y="629"/>
                        </a:lnTo>
                        <a:lnTo>
                          <a:pt x="4563" y="522"/>
                        </a:lnTo>
                        <a:lnTo>
                          <a:pt x="4575" y="511"/>
                        </a:lnTo>
                        <a:lnTo>
                          <a:pt x="4611" y="511"/>
                        </a:lnTo>
                        <a:lnTo>
                          <a:pt x="4646" y="499"/>
                        </a:lnTo>
                        <a:lnTo>
                          <a:pt x="4694" y="570"/>
                        </a:lnTo>
                        <a:lnTo>
                          <a:pt x="4706" y="665"/>
                        </a:lnTo>
                        <a:lnTo>
                          <a:pt x="4694" y="760"/>
                        </a:lnTo>
                        <a:lnTo>
                          <a:pt x="4718" y="808"/>
                        </a:lnTo>
                        <a:lnTo>
                          <a:pt x="4753" y="820"/>
                        </a:lnTo>
                        <a:lnTo>
                          <a:pt x="4777" y="796"/>
                        </a:lnTo>
                        <a:lnTo>
                          <a:pt x="4789" y="748"/>
                        </a:lnTo>
                        <a:lnTo>
                          <a:pt x="4777" y="653"/>
                        </a:lnTo>
                        <a:lnTo>
                          <a:pt x="4801" y="618"/>
                        </a:lnTo>
                        <a:lnTo>
                          <a:pt x="4813" y="558"/>
                        </a:lnTo>
                        <a:lnTo>
                          <a:pt x="4836" y="534"/>
                        </a:lnTo>
                        <a:lnTo>
                          <a:pt x="4931" y="511"/>
                        </a:lnTo>
                        <a:lnTo>
                          <a:pt x="5038" y="534"/>
                        </a:lnTo>
                        <a:lnTo>
                          <a:pt x="5145" y="487"/>
                        </a:lnTo>
                        <a:lnTo>
                          <a:pt x="5181" y="499"/>
                        </a:lnTo>
                        <a:lnTo>
                          <a:pt x="5229" y="499"/>
                        </a:lnTo>
                        <a:lnTo>
                          <a:pt x="5252" y="487"/>
                        </a:lnTo>
                        <a:lnTo>
                          <a:pt x="5288" y="475"/>
                        </a:lnTo>
                        <a:lnTo>
                          <a:pt x="5324" y="475"/>
                        </a:lnTo>
                        <a:lnTo>
                          <a:pt x="5395" y="475"/>
                        </a:lnTo>
                        <a:lnTo>
                          <a:pt x="5419" y="475"/>
                        </a:lnTo>
                        <a:lnTo>
                          <a:pt x="5442" y="499"/>
                        </a:lnTo>
                        <a:lnTo>
                          <a:pt x="5478" y="511"/>
                        </a:lnTo>
                        <a:lnTo>
                          <a:pt x="5490" y="499"/>
                        </a:lnTo>
                        <a:lnTo>
                          <a:pt x="5502" y="475"/>
                        </a:lnTo>
                        <a:lnTo>
                          <a:pt x="5502" y="427"/>
                        </a:lnTo>
                        <a:lnTo>
                          <a:pt x="5502" y="404"/>
                        </a:lnTo>
                        <a:lnTo>
                          <a:pt x="5538" y="404"/>
                        </a:lnTo>
                        <a:lnTo>
                          <a:pt x="5633" y="499"/>
                        </a:lnTo>
                        <a:lnTo>
                          <a:pt x="5656" y="511"/>
                        </a:lnTo>
                        <a:lnTo>
                          <a:pt x="5728" y="499"/>
                        </a:lnTo>
                        <a:lnTo>
                          <a:pt x="5763" y="487"/>
                        </a:lnTo>
                        <a:lnTo>
                          <a:pt x="5787" y="416"/>
                        </a:lnTo>
                        <a:lnTo>
                          <a:pt x="5799" y="404"/>
                        </a:lnTo>
                        <a:lnTo>
                          <a:pt x="5847" y="416"/>
                        </a:lnTo>
                        <a:lnTo>
                          <a:pt x="5882" y="475"/>
                        </a:lnTo>
                        <a:lnTo>
                          <a:pt x="5894" y="475"/>
                        </a:lnTo>
                        <a:lnTo>
                          <a:pt x="5918" y="475"/>
                        </a:lnTo>
                        <a:lnTo>
                          <a:pt x="5930" y="463"/>
                        </a:lnTo>
                        <a:lnTo>
                          <a:pt x="5942" y="380"/>
                        </a:lnTo>
                        <a:lnTo>
                          <a:pt x="5953" y="356"/>
                        </a:lnTo>
                        <a:lnTo>
                          <a:pt x="5977" y="320"/>
                        </a:lnTo>
                        <a:lnTo>
                          <a:pt x="6025" y="309"/>
                        </a:lnTo>
                        <a:lnTo>
                          <a:pt x="6120" y="332"/>
                        </a:lnTo>
                        <a:lnTo>
                          <a:pt x="6179" y="404"/>
                        </a:lnTo>
                        <a:lnTo>
                          <a:pt x="6203" y="404"/>
                        </a:lnTo>
                        <a:lnTo>
                          <a:pt x="6251" y="368"/>
                        </a:lnTo>
                        <a:lnTo>
                          <a:pt x="6369" y="332"/>
                        </a:lnTo>
                        <a:lnTo>
                          <a:pt x="6429" y="344"/>
                        </a:lnTo>
                        <a:lnTo>
                          <a:pt x="6441" y="368"/>
                        </a:lnTo>
                        <a:lnTo>
                          <a:pt x="6417" y="439"/>
                        </a:lnTo>
                        <a:lnTo>
                          <a:pt x="6429" y="463"/>
                        </a:lnTo>
                        <a:lnTo>
                          <a:pt x="6464" y="475"/>
                        </a:lnTo>
                        <a:lnTo>
                          <a:pt x="6476" y="511"/>
                        </a:lnTo>
                        <a:lnTo>
                          <a:pt x="6560" y="522"/>
                        </a:lnTo>
                        <a:lnTo>
                          <a:pt x="6619" y="534"/>
                        </a:lnTo>
                        <a:lnTo>
                          <a:pt x="6619" y="546"/>
                        </a:lnTo>
                        <a:lnTo>
                          <a:pt x="6619" y="594"/>
                        </a:lnTo>
                        <a:lnTo>
                          <a:pt x="6631" y="641"/>
                        </a:lnTo>
                        <a:lnTo>
                          <a:pt x="6631" y="725"/>
                        </a:lnTo>
                        <a:lnTo>
                          <a:pt x="6607" y="772"/>
                        </a:lnTo>
                        <a:lnTo>
                          <a:pt x="6595" y="867"/>
                        </a:lnTo>
                        <a:lnTo>
                          <a:pt x="6607" y="915"/>
                        </a:lnTo>
                        <a:lnTo>
                          <a:pt x="6631" y="950"/>
                        </a:lnTo>
                        <a:lnTo>
                          <a:pt x="6678" y="998"/>
                        </a:lnTo>
                        <a:lnTo>
                          <a:pt x="6738" y="1033"/>
                        </a:lnTo>
                        <a:lnTo>
                          <a:pt x="6773" y="1081"/>
                        </a:lnTo>
                        <a:lnTo>
                          <a:pt x="6785" y="1164"/>
                        </a:lnTo>
                        <a:lnTo>
                          <a:pt x="6797" y="1164"/>
                        </a:lnTo>
                        <a:lnTo>
                          <a:pt x="6797" y="1224"/>
                        </a:lnTo>
                        <a:lnTo>
                          <a:pt x="6773" y="1236"/>
                        </a:lnTo>
                        <a:lnTo>
                          <a:pt x="6762" y="1224"/>
                        </a:lnTo>
                        <a:lnTo>
                          <a:pt x="6738" y="1212"/>
                        </a:lnTo>
                        <a:lnTo>
                          <a:pt x="6702" y="1259"/>
                        </a:lnTo>
                        <a:lnTo>
                          <a:pt x="6667" y="1366"/>
                        </a:lnTo>
                        <a:lnTo>
                          <a:pt x="6655" y="1402"/>
                        </a:lnTo>
                        <a:lnTo>
                          <a:pt x="6655" y="1461"/>
                        </a:lnTo>
                        <a:lnTo>
                          <a:pt x="6678" y="1509"/>
                        </a:lnTo>
                        <a:lnTo>
                          <a:pt x="6738" y="1533"/>
                        </a:lnTo>
                        <a:lnTo>
                          <a:pt x="6738" y="1651"/>
                        </a:lnTo>
                        <a:lnTo>
                          <a:pt x="6773" y="1699"/>
                        </a:lnTo>
                        <a:lnTo>
                          <a:pt x="6762" y="1723"/>
                        </a:lnTo>
                        <a:lnTo>
                          <a:pt x="6762" y="1794"/>
                        </a:lnTo>
                        <a:lnTo>
                          <a:pt x="6785" y="1853"/>
                        </a:lnTo>
                        <a:lnTo>
                          <a:pt x="6833" y="1889"/>
                        </a:lnTo>
                        <a:lnTo>
                          <a:pt x="6880" y="2103"/>
                        </a:lnTo>
                        <a:lnTo>
                          <a:pt x="6904" y="2139"/>
                        </a:lnTo>
                        <a:lnTo>
                          <a:pt x="6928" y="2139"/>
                        </a:lnTo>
                        <a:lnTo>
                          <a:pt x="6964" y="2127"/>
                        </a:lnTo>
                        <a:lnTo>
                          <a:pt x="7023" y="2056"/>
                        </a:lnTo>
                        <a:lnTo>
                          <a:pt x="7059" y="2044"/>
                        </a:lnTo>
                        <a:lnTo>
                          <a:pt x="7154" y="2056"/>
                        </a:lnTo>
                        <a:lnTo>
                          <a:pt x="7249" y="2056"/>
                        </a:lnTo>
                        <a:lnTo>
                          <a:pt x="7273" y="2067"/>
                        </a:lnTo>
                        <a:lnTo>
                          <a:pt x="7284" y="2079"/>
                        </a:lnTo>
                        <a:lnTo>
                          <a:pt x="7308" y="2139"/>
                        </a:lnTo>
                        <a:lnTo>
                          <a:pt x="7320" y="2162"/>
                        </a:lnTo>
                        <a:lnTo>
                          <a:pt x="7403" y="2162"/>
                        </a:lnTo>
                        <a:lnTo>
                          <a:pt x="7427" y="2174"/>
                        </a:lnTo>
                        <a:lnTo>
                          <a:pt x="7439" y="2222"/>
                        </a:lnTo>
                        <a:lnTo>
                          <a:pt x="7415" y="2317"/>
                        </a:lnTo>
                        <a:lnTo>
                          <a:pt x="7368" y="2400"/>
                        </a:lnTo>
                        <a:lnTo>
                          <a:pt x="7284" y="2471"/>
                        </a:lnTo>
                        <a:lnTo>
                          <a:pt x="7261" y="2531"/>
                        </a:lnTo>
                        <a:lnTo>
                          <a:pt x="7249" y="2567"/>
                        </a:lnTo>
                        <a:lnTo>
                          <a:pt x="7249" y="2662"/>
                        </a:lnTo>
                        <a:lnTo>
                          <a:pt x="7237" y="2697"/>
                        </a:lnTo>
                        <a:lnTo>
                          <a:pt x="7261" y="2780"/>
                        </a:lnTo>
                        <a:lnTo>
                          <a:pt x="7237" y="2816"/>
                        </a:lnTo>
                        <a:lnTo>
                          <a:pt x="7237" y="2875"/>
                        </a:lnTo>
                        <a:lnTo>
                          <a:pt x="7225" y="2875"/>
                        </a:lnTo>
                        <a:lnTo>
                          <a:pt x="7213" y="2887"/>
                        </a:lnTo>
                        <a:lnTo>
                          <a:pt x="7189" y="2887"/>
                        </a:lnTo>
                        <a:lnTo>
                          <a:pt x="7178" y="2887"/>
                        </a:lnTo>
                        <a:lnTo>
                          <a:pt x="7166" y="2911"/>
                        </a:lnTo>
                        <a:lnTo>
                          <a:pt x="7189" y="2923"/>
                        </a:lnTo>
                        <a:lnTo>
                          <a:pt x="7237" y="2947"/>
                        </a:lnTo>
                        <a:lnTo>
                          <a:pt x="7261" y="2971"/>
                        </a:lnTo>
                        <a:lnTo>
                          <a:pt x="7249" y="2994"/>
                        </a:lnTo>
                        <a:lnTo>
                          <a:pt x="7201" y="3042"/>
                        </a:lnTo>
                        <a:lnTo>
                          <a:pt x="7189" y="3066"/>
                        </a:lnTo>
                        <a:lnTo>
                          <a:pt x="7189" y="3125"/>
                        </a:lnTo>
                        <a:lnTo>
                          <a:pt x="7201" y="3184"/>
                        </a:lnTo>
                        <a:lnTo>
                          <a:pt x="7201" y="3196"/>
                        </a:lnTo>
                        <a:lnTo>
                          <a:pt x="7225" y="3232"/>
                        </a:lnTo>
                        <a:lnTo>
                          <a:pt x="7213" y="3303"/>
                        </a:lnTo>
                        <a:lnTo>
                          <a:pt x="7284" y="3363"/>
                        </a:lnTo>
                        <a:lnTo>
                          <a:pt x="7439" y="3434"/>
                        </a:lnTo>
                        <a:lnTo>
                          <a:pt x="7463" y="3434"/>
                        </a:lnTo>
                        <a:lnTo>
                          <a:pt x="7486" y="3493"/>
                        </a:lnTo>
                        <a:lnTo>
                          <a:pt x="7498" y="3565"/>
                        </a:lnTo>
                        <a:lnTo>
                          <a:pt x="7451" y="3600"/>
                        </a:lnTo>
                        <a:lnTo>
                          <a:pt x="7439" y="3600"/>
                        </a:lnTo>
                        <a:lnTo>
                          <a:pt x="7427" y="3624"/>
                        </a:lnTo>
                        <a:lnTo>
                          <a:pt x="7415" y="3648"/>
                        </a:lnTo>
                        <a:lnTo>
                          <a:pt x="7451" y="3684"/>
                        </a:lnTo>
                        <a:lnTo>
                          <a:pt x="7510" y="3707"/>
                        </a:lnTo>
                        <a:lnTo>
                          <a:pt x="7522" y="3719"/>
                        </a:lnTo>
                        <a:lnTo>
                          <a:pt x="7522" y="3755"/>
                        </a:lnTo>
                        <a:lnTo>
                          <a:pt x="7486" y="3814"/>
                        </a:lnTo>
                        <a:lnTo>
                          <a:pt x="7510" y="3874"/>
                        </a:lnTo>
                        <a:lnTo>
                          <a:pt x="7558" y="3897"/>
                        </a:lnTo>
                        <a:lnTo>
                          <a:pt x="7605" y="3897"/>
                        </a:lnTo>
                        <a:lnTo>
                          <a:pt x="7641" y="3897"/>
                        </a:lnTo>
                        <a:lnTo>
                          <a:pt x="7724" y="3838"/>
                        </a:lnTo>
                        <a:lnTo>
                          <a:pt x="7736" y="3838"/>
                        </a:lnTo>
                        <a:lnTo>
                          <a:pt x="7748" y="3850"/>
                        </a:lnTo>
                        <a:lnTo>
                          <a:pt x="7760" y="3886"/>
                        </a:lnTo>
                        <a:lnTo>
                          <a:pt x="7760" y="3897"/>
                        </a:lnTo>
                        <a:lnTo>
                          <a:pt x="7843" y="3897"/>
                        </a:lnTo>
                        <a:lnTo>
                          <a:pt x="7855" y="3897"/>
                        </a:lnTo>
                        <a:lnTo>
                          <a:pt x="7855" y="3886"/>
                        </a:lnTo>
                        <a:lnTo>
                          <a:pt x="7902" y="3874"/>
                        </a:lnTo>
                        <a:lnTo>
                          <a:pt x="7962" y="3802"/>
                        </a:lnTo>
                        <a:lnTo>
                          <a:pt x="7986" y="3802"/>
                        </a:lnTo>
                        <a:lnTo>
                          <a:pt x="7997" y="3862"/>
                        </a:lnTo>
                        <a:lnTo>
                          <a:pt x="8021" y="3874"/>
                        </a:lnTo>
                        <a:lnTo>
                          <a:pt x="8069" y="3886"/>
                        </a:lnTo>
                        <a:lnTo>
                          <a:pt x="8188" y="3814"/>
                        </a:lnTo>
                        <a:lnTo>
                          <a:pt x="8223" y="3802"/>
                        </a:lnTo>
                        <a:lnTo>
                          <a:pt x="8223" y="3779"/>
                        </a:lnTo>
                        <a:lnTo>
                          <a:pt x="8235" y="3767"/>
                        </a:lnTo>
                        <a:lnTo>
                          <a:pt x="8211" y="3743"/>
                        </a:lnTo>
                        <a:lnTo>
                          <a:pt x="8128" y="3719"/>
                        </a:lnTo>
                        <a:lnTo>
                          <a:pt x="8116" y="3695"/>
                        </a:lnTo>
                        <a:lnTo>
                          <a:pt x="8140" y="3660"/>
                        </a:lnTo>
                        <a:lnTo>
                          <a:pt x="8211" y="3648"/>
                        </a:lnTo>
                        <a:lnTo>
                          <a:pt x="8235" y="3624"/>
                        </a:lnTo>
                        <a:lnTo>
                          <a:pt x="8235" y="3612"/>
                        </a:lnTo>
                        <a:lnTo>
                          <a:pt x="8295" y="3565"/>
                        </a:lnTo>
                        <a:lnTo>
                          <a:pt x="8342" y="3589"/>
                        </a:lnTo>
                        <a:lnTo>
                          <a:pt x="8390" y="3589"/>
                        </a:lnTo>
                        <a:lnTo>
                          <a:pt x="8437" y="3636"/>
                        </a:lnTo>
                        <a:lnTo>
                          <a:pt x="8449" y="3636"/>
                        </a:lnTo>
                        <a:lnTo>
                          <a:pt x="8544" y="3589"/>
                        </a:lnTo>
                        <a:lnTo>
                          <a:pt x="8580" y="3612"/>
                        </a:lnTo>
                        <a:lnTo>
                          <a:pt x="8615" y="3612"/>
                        </a:lnTo>
                        <a:lnTo>
                          <a:pt x="8699" y="3589"/>
                        </a:lnTo>
                        <a:lnTo>
                          <a:pt x="8770" y="3553"/>
                        </a:lnTo>
                        <a:lnTo>
                          <a:pt x="8853" y="3493"/>
                        </a:lnTo>
                        <a:lnTo>
                          <a:pt x="8936" y="3470"/>
                        </a:lnTo>
                        <a:lnTo>
                          <a:pt x="9008" y="3458"/>
                        </a:lnTo>
                        <a:lnTo>
                          <a:pt x="9079" y="3422"/>
                        </a:lnTo>
                        <a:lnTo>
                          <a:pt x="9186" y="3386"/>
                        </a:lnTo>
                        <a:lnTo>
                          <a:pt x="9233" y="3375"/>
                        </a:lnTo>
                        <a:lnTo>
                          <a:pt x="9233" y="3375"/>
                        </a:lnTo>
                        <a:lnTo>
                          <a:pt x="9269" y="3398"/>
                        </a:lnTo>
                        <a:lnTo>
                          <a:pt x="9328" y="3410"/>
                        </a:lnTo>
                        <a:lnTo>
                          <a:pt x="9352" y="3446"/>
                        </a:lnTo>
                        <a:lnTo>
                          <a:pt x="9376" y="3517"/>
                        </a:lnTo>
                        <a:lnTo>
                          <a:pt x="9388" y="3553"/>
                        </a:lnTo>
                        <a:lnTo>
                          <a:pt x="9447" y="3624"/>
                        </a:lnTo>
                        <a:lnTo>
                          <a:pt x="9495" y="3660"/>
                        </a:lnTo>
                        <a:lnTo>
                          <a:pt x="9519" y="3672"/>
                        </a:lnTo>
                        <a:lnTo>
                          <a:pt x="9685" y="3636"/>
                        </a:lnTo>
                        <a:lnTo>
                          <a:pt x="9780" y="3636"/>
                        </a:lnTo>
                        <a:lnTo>
                          <a:pt x="9887" y="3660"/>
                        </a:lnTo>
                        <a:lnTo>
                          <a:pt x="9935" y="3707"/>
                        </a:lnTo>
                        <a:lnTo>
                          <a:pt x="9946" y="3731"/>
                        </a:lnTo>
                        <a:lnTo>
                          <a:pt x="9946" y="3767"/>
                        </a:lnTo>
                        <a:lnTo>
                          <a:pt x="9923" y="3802"/>
                        </a:lnTo>
                        <a:lnTo>
                          <a:pt x="9875" y="3850"/>
                        </a:lnTo>
                        <a:lnTo>
                          <a:pt x="9851" y="3874"/>
                        </a:lnTo>
                        <a:lnTo>
                          <a:pt x="9851" y="3897"/>
                        </a:lnTo>
                        <a:lnTo>
                          <a:pt x="9816" y="3933"/>
                        </a:lnTo>
                        <a:lnTo>
                          <a:pt x="9816" y="3945"/>
                        </a:lnTo>
                        <a:lnTo>
                          <a:pt x="9661" y="3981"/>
                        </a:lnTo>
                        <a:lnTo>
                          <a:pt x="9626" y="3969"/>
                        </a:lnTo>
                        <a:lnTo>
                          <a:pt x="9602" y="3957"/>
                        </a:lnTo>
                        <a:lnTo>
                          <a:pt x="9566" y="3957"/>
                        </a:lnTo>
                        <a:lnTo>
                          <a:pt x="9519" y="3981"/>
                        </a:lnTo>
                        <a:lnTo>
                          <a:pt x="9305" y="4028"/>
                        </a:lnTo>
                        <a:lnTo>
                          <a:pt x="9245" y="4088"/>
                        </a:lnTo>
                        <a:lnTo>
                          <a:pt x="9222" y="4135"/>
                        </a:lnTo>
                        <a:lnTo>
                          <a:pt x="9222" y="4183"/>
                        </a:lnTo>
                        <a:lnTo>
                          <a:pt x="9198" y="4254"/>
                        </a:lnTo>
                        <a:lnTo>
                          <a:pt x="9150" y="4290"/>
                        </a:lnTo>
                        <a:lnTo>
                          <a:pt x="9150" y="4337"/>
                        </a:lnTo>
                        <a:lnTo>
                          <a:pt x="9162" y="4373"/>
                        </a:lnTo>
                        <a:lnTo>
                          <a:pt x="9233" y="4456"/>
                        </a:lnTo>
                        <a:lnTo>
                          <a:pt x="9269" y="4515"/>
                        </a:lnTo>
                        <a:lnTo>
                          <a:pt x="9269" y="4515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3" name="Freeform 430"/>
                  <p:cNvSpPr>
                    <a:spLocks/>
                  </p:cNvSpPr>
                  <p:nvPr/>
                </p:nvSpPr>
                <p:spPr bwMode="auto">
                  <a:xfrm>
                    <a:off x="20554950" y="21813838"/>
                    <a:ext cx="415925" cy="452438"/>
                  </a:xfrm>
                  <a:custGeom>
                    <a:avLst/>
                    <a:gdLst/>
                    <a:ahLst/>
                    <a:cxnLst>
                      <a:cxn ang="0">
                        <a:pos x="131" y="24"/>
                      </a:cxn>
                      <a:cxn ang="0">
                        <a:pos x="191" y="0"/>
                      </a:cxn>
                      <a:cxn ang="0">
                        <a:pos x="214" y="12"/>
                      </a:cxn>
                      <a:cxn ang="0">
                        <a:pos x="250" y="60"/>
                      </a:cxn>
                      <a:cxn ang="0">
                        <a:pos x="250" y="131"/>
                      </a:cxn>
                      <a:cxn ang="0">
                        <a:pos x="226" y="167"/>
                      </a:cxn>
                      <a:cxn ang="0">
                        <a:pos x="262" y="226"/>
                      </a:cxn>
                      <a:cxn ang="0">
                        <a:pos x="262" y="250"/>
                      </a:cxn>
                      <a:cxn ang="0">
                        <a:pos x="250" y="274"/>
                      </a:cxn>
                      <a:cxn ang="0">
                        <a:pos x="226" y="285"/>
                      </a:cxn>
                      <a:cxn ang="0">
                        <a:pos x="202" y="262"/>
                      </a:cxn>
                      <a:cxn ang="0">
                        <a:pos x="179" y="250"/>
                      </a:cxn>
                      <a:cxn ang="0">
                        <a:pos x="36" y="250"/>
                      </a:cxn>
                      <a:cxn ang="0">
                        <a:pos x="12" y="226"/>
                      </a:cxn>
                      <a:cxn ang="0">
                        <a:pos x="0" y="202"/>
                      </a:cxn>
                      <a:cxn ang="0">
                        <a:pos x="24" y="179"/>
                      </a:cxn>
                      <a:cxn ang="0">
                        <a:pos x="72" y="143"/>
                      </a:cxn>
                      <a:cxn ang="0">
                        <a:pos x="131" y="24"/>
                      </a:cxn>
                    </a:cxnLst>
                    <a:rect l="0" t="0" r="r" b="b"/>
                    <a:pathLst>
                      <a:path w="262" h="285">
                        <a:moveTo>
                          <a:pt x="131" y="24"/>
                        </a:moveTo>
                        <a:lnTo>
                          <a:pt x="191" y="0"/>
                        </a:lnTo>
                        <a:lnTo>
                          <a:pt x="214" y="12"/>
                        </a:lnTo>
                        <a:lnTo>
                          <a:pt x="250" y="60"/>
                        </a:lnTo>
                        <a:lnTo>
                          <a:pt x="250" y="131"/>
                        </a:lnTo>
                        <a:lnTo>
                          <a:pt x="226" y="167"/>
                        </a:lnTo>
                        <a:lnTo>
                          <a:pt x="262" y="226"/>
                        </a:lnTo>
                        <a:lnTo>
                          <a:pt x="262" y="250"/>
                        </a:lnTo>
                        <a:lnTo>
                          <a:pt x="250" y="274"/>
                        </a:lnTo>
                        <a:lnTo>
                          <a:pt x="226" y="285"/>
                        </a:lnTo>
                        <a:lnTo>
                          <a:pt x="202" y="262"/>
                        </a:lnTo>
                        <a:lnTo>
                          <a:pt x="179" y="250"/>
                        </a:lnTo>
                        <a:lnTo>
                          <a:pt x="36" y="250"/>
                        </a:lnTo>
                        <a:lnTo>
                          <a:pt x="12" y="226"/>
                        </a:lnTo>
                        <a:lnTo>
                          <a:pt x="0" y="202"/>
                        </a:lnTo>
                        <a:lnTo>
                          <a:pt x="24" y="179"/>
                        </a:lnTo>
                        <a:lnTo>
                          <a:pt x="72" y="143"/>
                        </a:lnTo>
                        <a:lnTo>
                          <a:pt x="131" y="2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4" name="Freeform 432"/>
                  <p:cNvSpPr>
                    <a:spLocks/>
                  </p:cNvSpPr>
                  <p:nvPr/>
                </p:nvSpPr>
                <p:spPr bwMode="auto">
                  <a:xfrm>
                    <a:off x="16235363" y="23550563"/>
                    <a:ext cx="773113" cy="584200"/>
                  </a:xfrm>
                  <a:custGeom>
                    <a:avLst/>
                    <a:gdLst/>
                    <a:ahLst/>
                    <a:cxnLst>
                      <a:cxn ang="0">
                        <a:pos x="487" y="0"/>
                      </a:cxn>
                      <a:cxn ang="0">
                        <a:pos x="475" y="11"/>
                      </a:cxn>
                      <a:cxn ang="0">
                        <a:pos x="345" y="95"/>
                      </a:cxn>
                      <a:cxn ang="0">
                        <a:pos x="273" y="142"/>
                      </a:cxn>
                      <a:cxn ang="0">
                        <a:pos x="155" y="225"/>
                      </a:cxn>
                      <a:cxn ang="0">
                        <a:pos x="24" y="368"/>
                      </a:cxn>
                      <a:cxn ang="0">
                        <a:pos x="12" y="368"/>
                      </a:cxn>
                      <a:cxn ang="0">
                        <a:pos x="0" y="368"/>
                      </a:cxn>
                      <a:cxn ang="0">
                        <a:pos x="0" y="332"/>
                      </a:cxn>
                      <a:cxn ang="0">
                        <a:pos x="59" y="237"/>
                      </a:cxn>
                      <a:cxn ang="0">
                        <a:pos x="83" y="225"/>
                      </a:cxn>
                      <a:cxn ang="0">
                        <a:pos x="143" y="202"/>
                      </a:cxn>
                      <a:cxn ang="0">
                        <a:pos x="166" y="166"/>
                      </a:cxn>
                      <a:cxn ang="0">
                        <a:pos x="202" y="154"/>
                      </a:cxn>
                      <a:cxn ang="0">
                        <a:pos x="238" y="107"/>
                      </a:cxn>
                      <a:cxn ang="0">
                        <a:pos x="285" y="95"/>
                      </a:cxn>
                      <a:cxn ang="0">
                        <a:pos x="333" y="47"/>
                      </a:cxn>
                      <a:cxn ang="0">
                        <a:pos x="380" y="23"/>
                      </a:cxn>
                      <a:cxn ang="0">
                        <a:pos x="487" y="0"/>
                      </a:cxn>
                    </a:cxnLst>
                    <a:rect l="0" t="0" r="r" b="b"/>
                    <a:pathLst>
                      <a:path w="487" h="368">
                        <a:moveTo>
                          <a:pt x="487" y="0"/>
                        </a:moveTo>
                        <a:lnTo>
                          <a:pt x="475" y="11"/>
                        </a:lnTo>
                        <a:lnTo>
                          <a:pt x="345" y="95"/>
                        </a:lnTo>
                        <a:lnTo>
                          <a:pt x="273" y="142"/>
                        </a:lnTo>
                        <a:lnTo>
                          <a:pt x="155" y="225"/>
                        </a:lnTo>
                        <a:lnTo>
                          <a:pt x="24" y="368"/>
                        </a:lnTo>
                        <a:lnTo>
                          <a:pt x="12" y="368"/>
                        </a:lnTo>
                        <a:lnTo>
                          <a:pt x="0" y="368"/>
                        </a:lnTo>
                        <a:lnTo>
                          <a:pt x="0" y="332"/>
                        </a:lnTo>
                        <a:lnTo>
                          <a:pt x="59" y="237"/>
                        </a:lnTo>
                        <a:lnTo>
                          <a:pt x="83" y="225"/>
                        </a:lnTo>
                        <a:lnTo>
                          <a:pt x="143" y="202"/>
                        </a:lnTo>
                        <a:lnTo>
                          <a:pt x="166" y="166"/>
                        </a:lnTo>
                        <a:lnTo>
                          <a:pt x="202" y="154"/>
                        </a:lnTo>
                        <a:lnTo>
                          <a:pt x="238" y="107"/>
                        </a:lnTo>
                        <a:lnTo>
                          <a:pt x="285" y="95"/>
                        </a:lnTo>
                        <a:lnTo>
                          <a:pt x="333" y="47"/>
                        </a:lnTo>
                        <a:lnTo>
                          <a:pt x="380" y="23"/>
                        </a:lnTo>
                        <a:lnTo>
                          <a:pt x="487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30" name="Freeform 434"/>
                <p:cNvSpPr>
                  <a:spLocks/>
                </p:cNvSpPr>
                <p:nvPr/>
              </p:nvSpPr>
              <p:spPr bwMode="auto">
                <a:xfrm>
                  <a:off x="10990256" y="3778251"/>
                  <a:ext cx="20583526" cy="16375069"/>
                </a:xfrm>
                <a:custGeom>
                  <a:avLst/>
                  <a:gdLst/>
                  <a:ahLst/>
                  <a:cxnLst>
                    <a:cxn ang="0">
                      <a:pos x="737" y="6477"/>
                    </a:cxn>
                    <a:cxn ang="0">
                      <a:pos x="1688" y="6584"/>
                    </a:cxn>
                    <a:cxn ang="0">
                      <a:pos x="2056" y="7107"/>
                    </a:cxn>
                    <a:cxn ang="0">
                      <a:pos x="2389" y="7214"/>
                    </a:cxn>
                    <a:cxn ang="0">
                      <a:pos x="2936" y="6893"/>
                    </a:cxn>
                    <a:cxn ang="0">
                      <a:pos x="3375" y="6905"/>
                    </a:cxn>
                    <a:cxn ang="0">
                      <a:pos x="3791" y="6822"/>
                    </a:cxn>
                    <a:cxn ang="0">
                      <a:pos x="4231" y="7012"/>
                    </a:cxn>
                    <a:cxn ang="0">
                      <a:pos x="4385" y="7654"/>
                    </a:cxn>
                    <a:cxn ang="0">
                      <a:pos x="4397" y="8271"/>
                    </a:cxn>
                    <a:cxn ang="0">
                      <a:pos x="4932" y="8580"/>
                    </a:cxn>
                    <a:cxn ang="0">
                      <a:pos x="4849" y="9293"/>
                    </a:cxn>
                    <a:cxn ang="0">
                      <a:pos x="4813" y="9602"/>
                    </a:cxn>
                    <a:cxn ang="0">
                      <a:pos x="5063" y="10102"/>
                    </a:cxn>
                    <a:cxn ang="0">
                      <a:pos x="5372" y="10315"/>
                    </a:cxn>
                    <a:cxn ang="0">
                      <a:pos x="5847" y="10185"/>
                    </a:cxn>
                    <a:cxn ang="0">
                      <a:pos x="6156" y="10007"/>
                    </a:cxn>
                    <a:cxn ang="0">
                      <a:pos x="6845" y="9793"/>
                    </a:cxn>
                    <a:cxn ang="0">
                      <a:pos x="7713" y="9543"/>
                    </a:cxn>
                    <a:cxn ang="0">
                      <a:pos x="8711" y="9507"/>
                    </a:cxn>
                    <a:cxn ang="0">
                      <a:pos x="9721" y="9151"/>
                    </a:cxn>
                    <a:cxn ang="0">
                      <a:pos x="9804" y="8699"/>
                    </a:cxn>
                    <a:cxn ang="0">
                      <a:pos x="10066" y="8260"/>
                    </a:cxn>
                    <a:cxn ang="0">
                      <a:pos x="10327" y="7630"/>
                    </a:cxn>
                    <a:cxn ang="0">
                      <a:pos x="10933" y="7249"/>
                    </a:cxn>
                    <a:cxn ang="0">
                      <a:pos x="11456" y="6192"/>
                    </a:cxn>
                    <a:cxn ang="0">
                      <a:pos x="11338" y="5764"/>
                    </a:cxn>
                    <a:cxn ang="0">
                      <a:pos x="11444" y="5301"/>
                    </a:cxn>
                    <a:cxn ang="0">
                      <a:pos x="11694" y="4932"/>
                    </a:cxn>
                    <a:cxn ang="0">
                      <a:pos x="11908" y="4730"/>
                    </a:cxn>
                    <a:cxn ang="0">
                      <a:pos x="12395" y="4718"/>
                    </a:cxn>
                    <a:cxn ang="0">
                      <a:pos x="12134" y="4267"/>
                    </a:cxn>
                    <a:cxn ang="0">
                      <a:pos x="11979" y="4041"/>
                    </a:cxn>
                    <a:cxn ang="0">
                      <a:pos x="12443" y="3470"/>
                    </a:cxn>
                    <a:cxn ang="0">
                      <a:pos x="12716" y="2900"/>
                    </a:cxn>
                    <a:cxn ang="0">
                      <a:pos x="12740" y="2294"/>
                    </a:cxn>
                    <a:cxn ang="0">
                      <a:pos x="12039" y="2009"/>
                    </a:cxn>
                    <a:cxn ang="0">
                      <a:pos x="11670" y="1937"/>
                    </a:cxn>
                    <a:cxn ang="0">
                      <a:pos x="10826" y="1189"/>
                    </a:cxn>
                    <a:cxn ang="0">
                      <a:pos x="9983" y="1010"/>
                    </a:cxn>
                    <a:cxn ang="0">
                      <a:pos x="9175" y="535"/>
                    </a:cxn>
                    <a:cxn ang="0">
                      <a:pos x="8580" y="547"/>
                    </a:cxn>
                    <a:cxn ang="0">
                      <a:pos x="7891" y="12"/>
                    </a:cxn>
                    <a:cxn ang="0">
                      <a:pos x="6810" y="618"/>
                    </a:cxn>
                    <a:cxn ang="0">
                      <a:pos x="5859" y="1070"/>
                    </a:cxn>
                    <a:cxn ang="0">
                      <a:pos x="5598" y="606"/>
                    </a:cxn>
                    <a:cxn ang="0">
                      <a:pos x="5289" y="927"/>
                    </a:cxn>
                    <a:cxn ang="0">
                      <a:pos x="4873" y="1129"/>
                    </a:cxn>
                    <a:cxn ang="0">
                      <a:pos x="4932" y="1878"/>
                    </a:cxn>
                    <a:cxn ang="0">
                      <a:pos x="4314" y="2341"/>
                    </a:cxn>
                    <a:cxn ang="0">
                      <a:pos x="4469" y="3054"/>
                    </a:cxn>
                    <a:cxn ang="0">
                      <a:pos x="4231" y="3470"/>
                    </a:cxn>
                    <a:cxn ang="0">
                      <a:pos x="4374" y="3922"/>
                    </a:cxn>
                    <a:cxn ang="0">
                      <a:pos x="4207" y="4504"/>
                    </a:cxn>
                    <a:cxn ang="0">
                      <a:pos x="3768" y="4813"/>
                    </a:cxn>
                    <a:cxn ang="0">
                      <a:pos x="3435" y="4873"/>
                    </a:cxn>
                    <a:cxn ang="0">
                      <a:pos x="2698" y="4742"/>
                    </a:cxn>
                    <a:cxn ang="0">
                      <a:pos x="2092" y="4896"/>
                    </a:cxn>
                    <a:cxn ang="0">
                      <a:pos x="1723" y="4908"/>
                    </a:cxn>
                    <a:cxn ang="0">
                      <a:pos x="1272" y="5039"/>
                    </a:cxn>
                    <a:cxn ang="0">
                      <a:pos x="642" y="5419"/>
                    </a:cxn>
                    <a:cxn ang="0">
                      <a:pos x="202" y="5942"/>
                    </a:cxn>
                    <a:cxn ang="0">
                      <a:pos x="24" y="6394"/>
                    </a:cxn>
                  </a:cxnLst>
                  <a:rect l="0" t="0" r="r" b="b"/>
                  <a:pathLst>
                    <a:path w="12966" h="10315">
                      <a:moveTo>
                        <a:pt x="12" y="6786"/>
                      </a:moveTo>
                      <a:lnTo>
                        <a:pt x="72" y="6750"/>
                      </a:lnTo>
                      <a:lnTo>
                        <a:pt x="107" y="6715"/>
                      </a:lnTo>
                      <a:lnTo>
                        <a:pt x="179" y="6679"/>
                      </a:lnTo>
                      <a:lnTo>
                        <a:pt x="226" y="6655"/>
                      </a:lnTo>
                      <a:lnTo>
                        <a:pt x="321" y="6608"/>
                      </a:lnTo>
                      <a:lnTo>
                        <a:pt x="464" y="6536"/>
                      </a:lnTo>
                      <a:lnTo>
                        <a:pt x="488" y="6501"/>
                      </a:lnTo>
                      <a:lnTo>
                        <a:pt x="559" y="6465"/>
                      </a:lnTo>
                      <a:lnTo>
                        <a:pt x="654" y="6418"/>
                      </a:lnTo>
                      <a:lnTo>
                        <a:pt x="678" y="6429"/>
                      </a:lnTo>
                      <a:lnTo>
                        <a:pt x="725" y="6453"/>
                      </a:lnTo>
                      <a:lnTo>
                        <a:pt x="737" y="6477"/>
                      </a:lnTo>
                      <a:lnTo>
                        <a:pt x="773" y="6513"/>
                      </a:lnTo>
                      <a:lnTo>
                        <a:pt x="856" y="6525"/>
                      </a:lnTo>
                      <a:lnTo>
                        <a:pt x="915" y="6525"/>
                      </a:lnTo>
                      <a:lnTo>
                        <a:pt x="1070" y="6536"/>
                      </a:lnTo>
                      <a:lnTo>
                        <a:pt x="1094" y="6536"/>
                      </a:lnTo>
                      <a:lnTo>
                        <a:pt x="1141" y="6584"/>
                      </a:lnTo>
                      <a:lnTo>
                        <a:pt x="1189" y="6596"/>
                      </a:lnTo>
                      <a:lnTo>
                        <a:pt x="1260" y="6608"/>
                      </a:lnTo>
                      <a:lnTo>
                        <a:pt x="1367" y="6608"/>
                      </a:lnTo>
                      <a:lnTo>
                        <a:pt x="1415" y="6596"/>
                      </a:lnTo>
                      <a:lnTo>
                        <a:pt x="1569" y="6596"/>
                      </a:lnTo>
                      <a:lnTo>
                        <a:pt x="1640" y="6584"/>
                      </a:lnTo>
                      <a:lnTo>
                        <a:pt x="1688" y="6584"/>
                      </a:lnTo>
                      <a:lnTo>
                        <a:pt x="1723" y="6608"/>
                      </a:lnTo>
                      <a:lnTo>
                        <a:pt x="1759" y="6655"/>
                      </a:lnTo>
                      <a:lnTo>
                        <a:pt x="1807" y="6679"/>
                      </a:lnTo>
                      <a:lnTo>
                        <a:pt x="1949" y="6655"/>
                      </a:lnTo>
                      <a:lnTo>
                        <a:pt x="1961" y="6667"/>
                      </a:lnTo>
                      <a:lnTo>
                        <a:pt x="2009" y="6738"/>
                      </a:lnTo>
                      <a:lnTo>
                        <a:pt x="1985" y="6738"/>
                      </a:lnTo>
                      <a:lnTo>
                        <a:pt x="1949" y="6750"/>
                      </a:lnTo>
                      <a:lnTo>
                        <a:pt x="1926" y="6798"/>
                      </a:lnTo>
                      <a:lnTo>
                        <a:pt x="1937" y="6929"/>
                      </a:lnTo>
                      <a:lnTo>
                        <a:pt x="1973" y="6988"/>
                      </a:lnTo>
                      <a:lnTo>
                        <a:pt x="1997" y="7071"/>
                      </a:lnTo>
                      <a:lnTo>
                        <a:pt x="2056" y="7107"/>
                      </a:lnTo>
                      <a:lnTo>
                        <a:pt x="2068" y="7119"/>
                      </a:lnTo>
                      <a:lnTo>
                        <a:pt x="2092" y="7083"/>
                      </a:lnTo>
                      <a:lnTo>
                        <a:pt x="2139" y="7047"/>
                      </a:lnTo>
                      <a:lnTo>
                        <a:pt x="2175" y="6940"/>
                      </a:lnTo>
                      <a:lnTo>
                        <a:pt x="2187" y="6929"/>
                      </a:lnTo>
                      <a:lnTo>
                        <a:pt x="2223" y="6929"/>
                      </a:lnTo>
                      <a:lnTo>
                        <a:pt x="2258" y="6917"/>
                      </a:lnTo>
                      <a:lnTo>
                        <a:pt x="2306" y="6988"/>
                      </a:lnTo>
                      <a:lnTo>
                        <a:pt x="2318" y="7083"/>
                      </a:lnTo>
                      <a:lnTo>
                        <a:pt x="2306" y="7178"/>
                      </a:lnTo>
                      <a:lnTo>
                        <a:pt x="2330" y="7226"/>
                      </a:lnTo>
                      <a:lnTo>
                        <a:pt x="2365" y="7238"/>
                      </a:lnTo>
                      <a:lnTo>
                        <a:pt x="2389" y="7214"/>
                      </a:lnTo>
                      <a:lnTo>
                        <a:pt x="2401" y="7166"/>
                      </a:lnTo>
                      <a:lnTo>
                        <a:pt x="2389" y="7071"/>
                      </a:lnTo>
                      <a:lnTo>
                        <a:pt x="2413" y="7036"/>
                      </a:lnTo>
                      <a:lnTo>
                        <a:pt x="2425" y="6976"/>
                      </a:lnTo>
                      <a:lnTo>
                        <a:pt x="2448" y="6952"/>
                      </a:lnTo>
                      <a:lnTo>
                        <a:pt x="2543" y="6929"/>
                      </a:lnTo>
                      <a:lnTo>
                        <a:pt x="2650" y="6952"/>
                      </a:lnTo>
                      <a:lnTo>
                        <a:pt x="2757" y="6905"/>
                      </a:lnTo>
                      <a:lnTo>
                        <a:pt x="2793" y="6917"/>
                      </a:lnTo>
                      <a:lnTo>
                        <a:pt x="2841" y="6917"/>
                      </a:lnTo>
                      <a:lnTo>
                        <a:pt x="2864" y="6905"/>
                      </a:lnTo>
                      <a:lnTo>
                        <a:pt x="2900" y="6893"/>
                      </a:lnTo>
                      <a:lnTo>
                        <a:pt x="2936" y="6893"/>
                      </a:lnTo>
                      <a:lnTo>
                        <a:pt x="3007" y="6893"/>
                      </a:lnTo>
                      <a:lnTo>
                        <a:pt x="3031" y="6893"/>
                      </a:lnTo>
                      <a:lnTo>
                        <a:pt x="3054" y="6917"/>
                      </a:lnTo>
                      <a:lnTo>
                        <a:pt x="3090" y="6929"/>
                      </a:lnTo>
                      <a:lnTo>
                        <a:pt x="3102" y="6917"/>
                      </a:lnTo>
                      <a:lnTo>
                        <a:pt x="3114" y="6893"/>
                      </a:lnTo>
                      <a:lnTo>
                        <a:pt x="3114" y="6845"/>
                      </a:lnTo>
                      <a:lnTo>
                        <a:pt x="3114" y="6822"/>
                      </a:lnTo>
                      <a:lnTo>
                        <a:pt x="3150" y="6822"/>
                      </a:lnTo>
                      <a:lnTo>
                        <a:pt x="3245" y="6917"/>
                      </a:lnTo>
                      <a:lnTo>
                        <a:pt x="3268" y="6929"/>
                      </a:lnTo>
                      <a:lnTo>
                        <a:pt x="3340" y="6917"/>
                      </a:lnTo>
                      <a:lnTo>
                        <a:pt x="3375" y="6905"/>
                      </a:lnTo>
                      <a:lnTo>
                        <a:pt x="3399" y="6834"/>
                      </a:lnTo>
                      <a:lnTo>
                        <a:pt x="3411" y="6822"/>
                      </a:lnTo>
                      <a:lnTo>
                        <a:pt x="3459" y="6834"/>
                      </a:lnTo>
                      <a:lnTo>
                        <a:pt x="3494" y="6893"/>
                      </a:lnTo>
                      <a:lnTo>
                        <a:pt x="3506" y="6893"/>
                      </a:lnTo>
                      <a:lnTo>
                        <a:pt x="3530" y="6893"/>
                      </a:lnTo>
                      <a:lnTo>
                        <a:pt x="3542" y="6881"/>
                      </a:lnTo>
                      <a:lnTo>
                        <a:pt x="3554" y="6798"/>
                      </a:lnTo>
                      <a:lnTo>
                        <a:pt x="3565" y="6774"/>
                      </a:lnTo>
                      <a:lnTo>
                        <a:pt x="3589" y="6738"/>
                      </a:lnTo>
                      <a:lnTo>
                        <a:pt x="3637" y="6727"/>
                      </a:lnTo>
                      <a:lnTo>
                        <a:pt x="3732" y="6750"/>
                      </a:lnTo>
                      <a:lnTo>
                        <a:pt x="3791" y="6822"/>
                      </a:lnTo>
                      <a:lnTo>
                        <a:pt x="3815" y="6822"/>
                      </a:lnTo>
                      <a:lnTo>
                        <a:pt x="3863" y="6786"/>
                      </a:lnTo>
                      <a:lnTo>
                        <a:pt x="3981" y="6750"/>
                      </a:lnTo>
                      <a:lnTo>
                        <a:pt x="4041" y="6762"/>
                      </a:lnTo>
                      <a:lnTo>
                        <a:pt x="4053" y="6786"/>
                      </a:lnTo>
                      <a:lnTo>
                        <a:pt x="4029" y="6857"/>
                      </a:lnTo>
                      <a:lnTo>
                        <a:pt x="4041" y="6881"/>
                      </a:lnTo>
                      <a:lnTo>
                        <a:pt x="4076" y="6893"/>
                      </a:lnTo>
                      <a:lnTo>
                        <a:pt x="4088" y="6929"/>
                      </a:lnTo>
                      <a:lnTo>
                        <a:pt x="4172" y="6940"/>
                      </a:lnTo>
                      <a:lnTo>
                        <a:pt x="4231" y="6952"/>
                      </a:lnTo>
                      <a:lnTo>
                        <a:pt x="4231" y="6964"/>
                      </a:lnTo>
                      <a:lnTo>
                        <a:pt x="4231" y="7012"/>
                      </a:lnTo>
                      <a:lnTo>
                        <a:pt x="4243" y="7059"/>
                      </a:lnTo>
                      <a:lnTo>
                        <a:pt x="4243" y="7143"/>
                      </a:lnTo>
                      <a:lnTo>
                        <a:pt x="4219" y="7190"/>
                      </a:lnTo>
                      <a:lnTo>
                        <a:pt x="4207" y="7285"/>
                      </a:lnTo>
                      <a:lnTo>
                        <a:pt x="4219" y="7333"/>
                      </a:lnTo>
                      <a:lnTo>
                        <a:pt x="4243" y="7368"/>
                      </a:lnTo>
                      <a:lnTo>
                        <a:pt x="4290" y="7416"/>
                      </a:lnTo>
                      <a:lnTo>
                        <a:pt x="4350" y="7451"/>
                      </a:lnTo>
                      <a:lnTo>
                        <a:pt x="4385" y="7499"/>
                      </a:lnTo>
                      <a:lnTo>
                        <a:pt x="4397" y="7582"/>
                      </a:lnTo>
                      <a:lnTo>
                        <a:pt x="4409" y="7582"/>
                      </a:lnTo>
                      <a:lnTo>
                        <a:pt x="4409" y="7642"/>
                      </a:lnTo>
                      <a:lnTo>
                        <a:pt x="4385" y="7654"/>
                      </a:lnTo>
                      <a:lnTo>
                        <a:pt x="4374" y="7642"/>
                      </a:lnTo>
                      <a:lnTo>
                        <a:pt x="4350" y="7630"/>
                      </a:lnTo>
                      <a:lnTo>
                        <a:pt x="4314" y="7677"/>
                      </a:lnTo>
                      <a:lnTo>
                        <a:pt x="4279" y="7784"/>
                      </a:lnTo>
                      <a:lnTo>
                        <a:pt x="4267" y="7820"/>
                      </a:lnTo>
                      <a:lnTo>
                        <a:pt x="4267" y="7879"/>
                      </a:lnTo>
                      <a:lnTo>
                        <a:pt x="4290" y="7927"/>
                      </a:lnTo>
                      <a:lnTo>
                        <a:pt x="4350" y="7951"/>
                      </a:lnTo>
                      <a:lnTo>
                        <a:pt x="4350" y="8069"/>
                      </a:lnTo>
                      <a:lnTo>
                        <a:pt x="4385" y="8117"/>
                      </a:lnTo>
                      <a:lnTo>
                        <a:pt x="4374" y="8141"/>
                      </a:lnTo>
                      <a:lnTo>
                        <a:pt x="4374" y="8212"/>
                      </a:lnTo>
                      <a:lnTo>
                        <a:pt x="4397" y="8271"/>
                      </a:lnTo>
                      <a:lnTo>
                        <a:pt x="4445" y="8307"/>
                      </a:lnTo>
                      <a:lnTo>
                        <a:pt x="4492" y="8521"/>
                      </a:lnTo>
                      <a:lnTo>
                        <a:pt x="4516" y="8557"/>
                      </a:lnTo>
                      <a:lnTo>
                        <a:pt x="4540" y="8557"/>
                      </a:lnTo>
                      <a:lnTo>
                        <a:pt x="4576" y="8545"/>
                      </a:lnTo>
                      <a:lnTo>
                        <a:pt x="4635" y="8474"/>
                      </a:lnTo>
                      <a:lnTo>
                        <a:pt x="4671" y="8462"/>
                      </a:lnTo>
                      <a:lnTo>
                        <a:pt x="4766" y="8474"/>
                      </a:lnTo>
                      <a:lnTo>
                        <a:pt x="4861" y="8474"/>
                      </a:lnTo>
                      <a:lnTo>
                        <a:pt x="4885" y="8485"/>
                      </a:lnTo>
                      <a:lnTo>
                        <a:pt x="4896" y="8497"/>
                      </a:lnTo>
                      <a:lnTo>
                        <a:pt x="4920" y="8557"/>
                      </a:lnTo>
                      <a:lnTo>
                        <a:pt x="4932" y="8580"/>
                      </a:lnTo>
                      <a:lnTo>
                        <a:pt x="5015" y="8580"/>
                      </a:lnTo>
                      <a:lnTo>
                        <a:pt x="5039" y="8592"/>
                      </a:lnTo>
                      <a:lnTo>
                        <a:pt x="5051" y="8640"/>
                      </a:lnTo>
                      <a:lnTo>
                        <a:pt x="5027" y="8735"/>
                      </a:lnTo>
                      <a:lnTo>
                        <a:pt x="4980" y="8818"/>
                      </a:lnTo>
                      <a:lnTo>
                        <a:pt x="4896" y="8889"/>
                      </a:lnTo>
                      <a:lnTo>
                        <a:pt x="4873" y="8949"/>
                      </a:lnTo>
                      <a:lnTo>
                        <a:pt x="4861" y="8985"/>
                      </a:lnTo>
                      <a:lnTo>
                        <a:pt x="4861" y="9080"/>
                      </a:lnTo>
                      <a:lnTo>
                        <a:pt x="4849" y="9115"/>
                      </a:lnTo>
                      <a:lnTo>
                        <a:pt x="4873" y="9198"/>
                      </a:lnTo>
                      <a:lnTo>
                        <a:pt x="4849" y="9234"/>
                      </a:lnTo>
                      <a:lnTo>
                        <a:pt x="4849" y="9293"/>
                      </a:lnTo>
                      <a:lnTo>
                        <a:pt x="4837" y="9293"/>
                      </a:lnTo>
                      <a:lnTo>
                        <a:pt x="4825" y="9305"/>
                      </a:lnTo>
                      <a:lnTo>
                        <a:pt x="4801" y="9305"/>
                      </a:lnTo>
                      <a:lnTo>
                        <a:pt x="4790" y="9305"/>
                      </a:lnTo>
                      <a:lnTo>
                        <a:pt x="4778" y="9329"/>
                      </a:lnTo>
                      <a:lnTo>
                        <a:pt x="4801" y="9341"/>
                      </a:lnTo>
                      <a:lnTo>
                        <a:pt x="4849" y="9365"/>
                      </a:lnTo>
                      <a:lnTo>
                        <a:pt x="4873" y="9389"/>
                      </a:lnTo>
                      <a:lnTo>
                        <a:pt x="4861" y="9412"/>
                      </a:lnTo>
                      <a:lnTo>
                        <a:pt x="4813" y="9460"/>
                      </a:lnTo>
                      <a:lnTo>
                        <a:pt x="4801" y="9484"/>
                      </a:lnTo>
                      <a:lnTo>
                        <a:pt x="4801" y="9543"/>
                      </a:lnTo>
                      <a:lnTo>
                        <a:pt x="4813" y="9602"/>
                      </a:lnTo>
                      <a:lnTo>
                        <a:pt x="4813" y="9614"/>
                      </a:lnTo>
                      <a:lnTo>
                        <a:pt x="4837" y="9650"/>
                      </a:lnTo>
                      <a:lnTo>
                        <a:pt x="4825" y="9721"/>
                      </a:lnTo>
                      <a:lnTo>
                        <a:pt x="4896" y="9781"/>
                      </a:lnTo>
                      <a:lnTo>
                        <a:pt x="5051" y="9852"/>
                      </a:lnTo>
                      <a:lnTo>
                        <a:pt x="5075" y="9852"/>
                      </a:lnTo>
                      <a:lnTo>
                        <a:pt x="5098" y="9911"/>
                      </a:lnTo>
                      <a:lnTo>
                        <a:pt x="5110" y="9983"/>
                      </a:lnTo>
                      <a:lnTo>
                        <a:pt x="5063" y="10018"/>
                      </a:lnTo>
                      <a:lnTo>
                        <a:pt x="5051" y="10018"/>
                      </a:lnTo>
                      <a:lnTo>
                        <a:pt x="5039" y="10042"/>
                      </a:lnTo>
                      <a:lnTo>
                        <a:pt x="5027" y="10066"/>
                      </a:lnTo>
                      <a:lnTo>
                        <a:pt x="5063" y="10102"/>
                      </a:lnTo>
                      <a:lnTo>
                        <a:pt x="5122" y="10125"/>
                      </a:lnTo>
                      <a:lnTo>
                        <a:pt x="5134" y="10137"/>
                      </a:lnTo>
                      <a:lnTo>
                        <a:pt x="5134" y="10173"/>
                      </a:lnTo>
                      <a:lnTo>
                        <a:pt x="5098" y="10232"/>
                      </a:lnTo>
                      <a:lnTo>
                        <a:pt x="5122" y="10292"/>
                      </a:lnTo>
                      <a:lnTo>
                        <a:pt x="5170" y="10315"/>
                      </a:lnTo>
                      <a:lnTo>
                        <a:pt x="5217" y="10315"/>
                      </a:lnTo>
                      <a:lnTo>
                        <a:pt x="5253" y="10315"/>
                      </a:lnTo>
                      <a:lnTo>
                        <a:pt x="5336" y="10256"/>
                      </a:lnTo>
                      <a:lnTo>
                        <a:pt x="5348" y="10256"/>
                      </a:lnTo>
                      <a:lnTo>
                        <a:pt x="5360" y="10268"/>
                      </a:lnTo>
                      <a:lnTo>
                        <a:pt x="5372" y="10304"/>
                      </a:lnTo>
                      <a:lnTo>
                        <a:pt x="5372" y="10315"/>
                      </a:lnTo>
                      <a:lnTo>
                        <a:pt x="5455" y="10315"/>
                      </a:lnTo>
                      <a:lnTo>
                        <a:pt x="5467" y="10315"/>
                      </a:lnTo>
                      <a:lnTo>
                        <a:pt x="5467" y="10304"/>
                      </a:lnTo>
                      <a:lnTo>
                        <a:pt x="5514" y="10292"/>
                      </a:lnTo>
                      <a:lnTo>
                        <a:pt x="5574" y="10220"/>
                      </a:lnTo>
                      <a:lnTo>
                        <a:pt x="5598" y="10220"/>
                      </a:lnTo>
                      <a:lnTo>
                        <a:pt x="5609" y="10280"/>
                      </a:lnTo>
                      <a:lnTo>
                        <a:pt x="5633" y="10292"/>
                      </a:lnTo>
                      <a:lnTo>
                        <a:pt x="5681" y="10304"/>
                      </a:lnTo>
                      <a:lnTo>
                        <a:pt x="5800" y="10232"/>
                      </a:lnTo>
                      <a:lnTo>
                        <a:pt x="5835" y="10220"/>
                      </a:lnTo>
                      <a:lnTo>
                        <a:pt x="5835" y="10197"/>
                      </a:lnTo>
                      <a:lnTo>
                        <a:pt x="5847" y="10185"/>
                      </a:lnTo>
                      <a:lnTo>
                        <a:pt x="5823" y="10161"/>
                      </a:lnTo>
                      <a:lnTo>
                        <a:pt x="5740" y="10137"/>
                      </a:lnTo>
                      <a:lnTo>
                        <a:pt x="5728" y="10113"/>
                      </a:lnTo>
                      <a:lnTo>
                        <a:pt x="5752" y="10078"/>
                      </a:lnTo>
                      <a:lnTo>
                        <a:pt x="5823" y="10066"/>
                      </a:lnTo>
                      <a:lnTo>
                        <a:pt x="5847" y="10042"/>
                      </a:lnTo>
                      <a:lnTo>
                        <a:pt x="5847" y="10030"/>
                      </a:lnTo>
                      <a:lnTo>
                        <a:pt x="5907" y="9983"/>
                      </a:lnTo>
                      <a:lnTo>
                        <a:pt x="5954" y="10007"/>
                      </a:lnTo>
                      <a:lnTo>
                        <a:pt x="6002" y="10007"/>
                      </a:lnTo>
                      <a:lnTo>
                        <a:pt x="6049" y="10054"/>
                      </a:lnTo>
                      <a:lnTo>
                        <a:pt x="6061" y="10054"/>
                      </a:lnTo>
                      <a:lnTo>
                        <a:pt x="6156" y="10007"/>
                      </a:lnTo>
                      <a:lnTo>
                        <a:pt x="6192" y="10030"/>
                      </a:lnTo>
                      <a:lnTo>
                        <a:pt x="6227" y="10030"/>
                      </a:lnTo>
                      <a:lnTo>
                        <a:pt x="6311" y="10007"/>
                      </a:lnTo>
                      <a:lnTo>
                        <a:pt x="6382" y="9971"/>
                      </a:lnTo>
                      <a:lnTo>
                        <a:pt x="6465" y="9911"/>
                      </a:lnTo>
                      <a:lnTo>
                        <a:pt x="6548" y="9888"/>
                      </a:lnTo>
                      <a:lnTo>
                        <a:pt x="6620" y="9876"/>
                      </a:lnTo>
                      <a:lnTo>
                        <a:pt x="6691" y="9840"/>
                      </a:lnTo>
                      <a:lnTo>
                        <a:pt x="6798" y="9804"/>
                      </a:lnTo>
                      <a:lnTo>
                        <a:pt x="6845" y="9793"/>
                      </a:lnTo>
                      <a:lnTo>
                        <a:pt x="6845" y="9793"/>
                      </a:lnTo>
                      <a:lnTo>
                        <a:pt x="6881" y="9816"/>
                      </a:lnTo>
                      <a:lnTo>
                        <a:pt x="6845" y="9793"/>
                      </a:lnTo>
                      <a:lnTo>
                        <a:pt x="6905" y="9757"/>
                      </a:lnTo>
                      <a:lnTo>
                        <a:pt x="7012" y="9733"/>
                      </a:lnTo>
                      <a:lnTo>
                        <a:pt x="7047" y="9733"/>
                      </a:lnTo>
                      <a:lnTo>
                        <a:pt x="7083" y="9721"/>
                      </a:lnTo>
                      <a:lnTo>
                        <a:pt x="7119" y="9698"/>
                      </a:lnTo>
                      <a:lnTo>
                        <a:pt x="7143" y="9709"/>
                      </a:lnTo>
                      <a:lnTo>
                        <a:pt x="7178" y="9709"/>
                      </a:lnTo>
                      <a:lnTo>
                        <a:pt x="7297" y="9638"/>
                      </a:lnTo>
                      <a:lnTo>
                        <a:pt x="7345" y="9650"/>
                      </a:lnTo>
                      <a:lnTo>
                        <a:pt x="7416" y="9650"/>
                      </a:lnTo>
                      <a:lnTo>
                        <a:pt x="7499" y="9650"/>
                      </a:lnTo>
                      <a:lnTo>
                        <a:pt x="7618" y="9602"/>
                      </a:lnTo>
                      <a:lnTo>
                        <a:pt x="7713" y="9543"/>
                      </a:lnTo>
                      <a:lnTo>
                        <a:pt x="7796" y="9543"/>
                      </a:lnTo>
                      <a:lnTo>
                        <a:pt x="8010" y="9460"/>
                      </a:lnTo>
                      <a:lnTo>
                        <a:pt x="8046" y="9472"/>
                      </a:lnTo>
                      <a:lnTo>
                        <a:pt x="8069" y="9484"/>
                      </a:lnTo>
                      <a:lnTo>
                        <a:pt x="8105" y="9484"/>
                      </a:lnTo>
                      <a:lnTo>
                        <a:pt x="8141" y="9496"/>
                      </a:lnTo>
                      <a:lnTo>
                        <a:pt x="8188" y="9472"/>
                      </a:lnTo>
                      <a:lnTo>
                        <a:pt x="8224" y="9496"/>
                      </a:lnTo>
                      <a:lnTo>
                        <a:pt x="8248" y="9507"/>
                      </a:lnTo>
                      <a:lnTo>
                        <a:pt x="8355" y="9484"/>
                      </a:lnTo>
                      <a:lnTo>
                        <a:pt x="8473" y="9436"/>
                      </a:lnTo>
                      <a:lnTo>
                        <a:pt x="8533" y="9448"/>
                      </a:lnTo>
                      <a:lnTo>
                        <a:pt x="8711" y="9507"/>
                      </a:lnTo>
                      <a:lnTo>
                        <a:pt x="8735" y="9531"/>
                      </a:lnTo>
                      <a:lnTo>
                        <a:pt x="8782" y="9543"/>
                      </a:lnTo>
                      <a:lnTo>
                        <a:pt x="8806" y="9531"/>
                      </a:lnTo>
                      <a:lnTo>
                        <a:pt x="8889" y="9472"/>
                      </a:lnTo>
                      <a:lnTo>
                        <a:pt x="8996" y="9412"/>
                      </a:lnTo>
                      <a:lnTo>
                        <a:pt x="9103" y="9377"/>
                      </a:lnTo>
                      <a:lnTo>
                        <a:pt x="9187" y="9329"/>
                      </a:lnTo>
                      <a:lnTo>
                        <a:pt x="9305" y="9305"/>
                      </a:lnTo>
                      <a:lnTo>
                        <a:pt x="9365" y="9270"/>
                      </a:lnTo>
                      <a:lnTo>
                        <a:pt x="9436" y="9258"/>
                      </a:lnTo>
                      <a:lnTo>
                        <a:pt x="9543" y="9198"/>
                      </a:lnTo>
                      <a:lnTo>
                        <a:pt x="9650" y="9175"/>
                      </a:lnTo>
                      <a:lnTo>
                        <a:pt x="9721" y="9151"/>
                      </a:lnTo>
                      <a:lnTo>
                        <a:pt x="9721" y="9127"/>
                      </a:lnTo>
                      <a:lnTo>
                        <a:pt x="9709" y="9091"/>
                      </a:lnTo>
                      <a:lnTo>
                        <a:pt x="9650" y="9080"/>
                      </a:lnTo>
                      <a:lnTo>
                        <a:pt x="9638" y="9044"/>
                      </a:lnTo>
                      <a:lnTo>
                        <a:pt x="9662" y="9008"/>
                      </a:lnTo>
                      <a:lnTo>
                        <a:pt x="9698" y="8985"/>
                      </a:lnTo>
                      <a:lnTo>
                        <a:pt x="9709" y="8961"/>
                      </a:lnTo>
                      <a:lnTo>
                        <a:pt x="9745" y="8925"/>
                      </a:lnTo>
                      <a:lnTo>
                        <a:pt x="9757" y="8842"/>
                      </a:lnTo>
                      <a:lnTo>
                        <a:pt x="9781" y="8818"/>
                      </a:lnTo>
                      <a:lnTo>
                        <a:pt x="9793" y="8794"/>
                      </a:lnTo>
                      <a:lnTo>
                        <a:pt x="9804" y="8771"/>
                      </a:lnTo>
                      <a:lnTo>
                        <a:pt x="9804" y="8699"/>
                      </a:lnTo>
                      <a:lnTo>
                        <a:pt x="9852" y="8604"/>
                      </a:lnTo>
                      <a:lnTo>
                        <a:pt x="9888" y="8533"/>
                      </a:lnTo>
                      <a:lnTo>
                        <a:pt x="9923" y="8474"/>
                      </a:lnTo>
                      <a:lnTo>
                        <a:pt x="9995" y="8414"/>
                      </a:lnTo>
                      <a:lnTo>
                        <a:pt x="9995" y="8390"/>
                      </a:lnTo>
                      <a:lnTo>
                        <a:pt x="9983" y="8355"/>
                      </a:lnTo>
                      <a:lnTo>
                        <a:pt x="9935" y="8331"/>
                      </a:lnTo>
                      <a:lnTo>
                        <a:pt x="9935" y="8307"/>
                      </a:lnTo>
                      <a:lnTo>
                        <a:pt x="9935" y="8283"/>
                      </a:lnTo>
                      <a:lnTo>
                        <a:pt x="9935" y="8260"/>
                      </a:lnTo>
                      <a:lnTo>
                        <a:pt x="9971" y="8248"/>
                      </a:lnTo>
                      <a:lnTo>
                        <a:pt x="10018" y="8236"/>
                      </a:lnTo>
                      <a:lnTo>
                        <a:pt x="10066" y="8260"/>
                      </a:lnTo>
                      <a:lnTo>
                        <a:pt x="10137" y="8260"/>
                      </a:lnTo>
                      <a:lnTo>
                        <a:pt x="10197" y="8117"/>
                      </a:lnTo>
                      <a:lnTo>
                        <a:pt x="10268" y="8058"/>
                      </a:lnTo>
                      <a:lnTo>
                        <a:pt x="10280" y="8093"/>
                      </a:lnTo>
                      <a:lnTo>
                        <a:pt x="10268" y="8058"/>
                      </a:lnTo>
                      <a:lnTo>
                        <a:pt x="10304" y="8034"/>
                      </a:lnTo>
                      <a:lnTo>
                        <a:pt x="10339" y="7986"/>
                      </a:lnTo>
                      <a:lnTo>
                        <a:pt x="10351" y="7951"/>
                      </a:lnTo>
                      <a:lnTo>
                        <a:pt x="10363" y="7867"/>
                      </a:lnTo>
                      <a:lnTo>
                        <a:pt x="10375" y="7808"/>
                      </a:lnTo>
                      <a:lnTo>
                        <a:pt x="10363" y="7737"/>
                      </a:lnTo>
                      <a:lnTo>
                        <a:pt x="10339" y="7677"/>
                      </a:lnTo>
                      <a:lnTo>
                        <a:pt x="10327" y="7630"/>
                      </a:lnTo>
                      <a:lnTo>
                        <a:pt x="10363" y="7570"/>
                      </a:lnTo>
                      <a:lnTo>
                        <a:pt x="10422" y="7463"/>
                      </a:lnTo>
                      <a:lnTo>
                        <a:pt x="10482" y="7416"/>
                      </a:lnTo>
                      <a:lnTo>
                        <a:pt x="10541" y="7416"/>
                      </a:lnTo>
                      <a:lnTo>
                        <a:pt x="10541" y="7404"/>
                      </a:lnTo>
                      <a:lnTo>
                        <a:pt x="10601" y="7404"/>
                      </a:lnTo>
                      <a:lnTo>
                        <a:pt x="10601" y="7416"/>
                      </a:lnTo>
                      <a:lnTo>
                        <a:pt x="10636" y="7428"/>
                      </a:lnTo>
                      <a:lnTo>
                        <a:pt x="10826" y="7440"/>
                      </a:lnTo>
                      <a:lnTo>
                        <a:pt x="10862" y="7428"/>
                      </a:lnTo>
                      <a:lnTo>
                        <a:pt x="10898" y="7392"/>
                      </a:lnTo>
                      <a:lnTo>
                        <a:pt x="10922" y="7356"/>
                      </a:lnTo>
                      <a:lnTo>
                        <a:pt x="10933" y="7249"/>
                      </a:lnTo>
                      <a:lnTo>
                        <a:pt x="10969" y="7190"/>
                      </a:lnTo>
                      <a:lnTo>
                        <a:pt x="11040" y="7119"/>
                      </a:lnTo>
                      <a:lnTo>
                        <a:pt x="11147" y="7024"/>
                      </a:lnTo>
                      <a:lnTo>
                        <a:pt x="11183" y="6964"/>
                      </a:lnTo>
                      <a:lnTo>
                        <a:pt x="11147" y="6917"/>
                      </a:lnTo>
                      <a:lnTo>
                        <a:pt x="11147" y="6834"/>
                      </a:lnTo>
                      <a:lnTo>
                        <a:pt x="11183" y="6786"/>
                      </a:lnTo>
                      <a:lnTo>
                        <a:pt x="11266" y="6727"/>
                      </a:lnTo>
                      <a:lnTo>
                        <a:pt x="11326" y="6643"/>
                      </a:lnTo>
                      <a:lnTo>
                        <a:pt x="11409" y="6525"/>
                      </a:lnTo>
                      <a:lnTo>
                        <a:pt x="11409" y="6429"/>
                      </a:lnTo>
                      <a:lnTo>
                        <a:pt x="11456" y="6299"/>
                      </a:lnTo>
                      <a:lnTo>
                        <a:pt x="11456" y="6192"/>
                      </a:lnTo>
                      <a:lnTo>
                        <a:pt x="11444" y="6144"/>
                      </a:lnTo>
                      <a:lnTo>
                        <a:pt x="11361" y="6073"/>
                      </a:lnTo>
                      <a:lnTo>
                        <a:pt x="11349" y="6049"/>
                      </a:lnTo>
                      <a:lnTo>
                        <a:pt x="11326" y="5918"/>
                      </a:lnTo>
                      <a:lnTo>
                        <a:pt x="11314" y="5883"/>
                      </a:lnTo>
                      <a:lnTo>
                        <a:pt x="11290" y="5871"/>
                      </a:lnTo>
                      <a:lnTo>
                        <a:pt x="11195" y="5859"/>
                      </a:lnTo>
                      <a:lnTo>
                        <a:pt x="11159" y="5847"/>
                      </a:lnTo>
                      <a:lnTo>
                        <a:pt x="11147" y="5776"/>
                      </a:lnTo>
                      <a:lnTo>
                        <a:pt x="11183" y="5740"/>
                      </a:lnTo>
                      <a:lnTo>
                        <a:pt x="11207" y="5728"/>
                      </a:lnTo>
                      <a:lnTo>
                        <a:pt x="11242" y="5728"/>
                      </a:lnTo>
                      <a:lnTo>
                        <a:pt x="11338" y="5764"/>
                      </a:lnTo>
                      <a:lnTo>
                        <a:pt x="11373" y="5776"/>
                      </a:lnTo>
                      <a:lnTo>
                        <a:pt x="11409" y="5776"/>
                      </a:lnTo>
                      <a:lnTo>
                        <a:pt x="11468" y="5740"/>
                      </a:lnTo>
                      <a:lnTo>
                        <a:pt x="11504" y="5716"/>
                      </a:lnTo>
                      <a:lnTo>
                        <a:pt x="11516" y="5681"/>
                      </a:lnTo>
                      <a:lnTo>
                        <a:pt x="11528" y="5621"/>
                      </a:lnTo>
                      <a:lnTo>
                        <a:pt x="11504" y="5586"/>
                      </a:lnTo>
                      <a:lnTo>
                        <a:pt x="11492" y="5574"/>
                      </a:lnTo>
                      <a:lnTo>
                        <a:pt x="11433" y="5562"/>
                      </a:lnTo>
                      <a:lnTo>
                        <a:pt x="11409" y="5526"/>
                      </a:lnTo>
                      <a:lnTo>
                        <a:pt x="11409" y="5479"/>
                      </a:lnTo>
                      <a:lnTo>
                        <a:pt x="11444" y="5348"/>
                      </a:lnTo>
                      <a:lnTo>
                        <a:pt x="11444" y="5301"/>
                      </a:lnTo>
                      <a:lnTo>
                        <a:pt x="11421" y="5229"/>
                      </a:lnTo>
                      <a:lnTo>
                        <a:pt x="11397" y="5205"/>
                      </a:lnTo>
                      <a:lnTo>
                        <a:pt x="11314" y="5217"/>
                      </a:lnTo>
                      <a:lnTo>
                        <a:pt x="11314" y="5146"/>
                      </a:lnTo>
                      <a:lnTo>
                        <a:pt x="11326" y="5099"/>
                      </a:lnTo>
                      <a:lnTo>
                        <a:pt x="11361" y="5027"/>
                      </a:lnTo>
                      <a:lnTo>
                        <a:pt x="11385" y="4992"/>
                      </a:lnTo>
                      <a:lnTo>
                        <a:pt x="11409" y="4956"/>
                      </a:lnTo>
                      <a:lnTo>
                        <a:pt x="11444" y="4932"/>
                      </a:lnTo>
                      <a:lnTo>
                        <a:pt x="11516" y="4896"/>
                      </a:lnTo>
                      <a:lnTo>
                        <a:pt x="11587" y="4896"/>
                      </a:lnTo>
                      <a:lnTo>
                        <a:pt x="11646" y="4920"/>
                      </a:lnTo>
                      <a:lnTo>
                        <a:pt x="11694" y="4932"/>
                      </a:lnTo>
                      <a:lnTo>
                        <a:pt x="11730" y="4920"/>
                      </a:lnTo>
                      <a:lnTo>
                        <a:pt x="11730" y="4896"/>
                      </a:lnTo>
                      <a:lnTo>
                        <a:pt x="11694" y="4861"/>
                      </a:lnTo>
                      <a:lnTo>
                        <a:pt x="11635" y="4825"/>
                      </a:lnTo>
                      <a:lnTo>
                        <a:pt x="11587" y="4778"/>
                      </a:lnTo>
                      <a:lnTo>
                        <a:pt x="11587" y="4742"/>
                      </a:lnTo>
                      <a:lnTo>
                        <a:pt x="11599" y="4730"/>
                      </a:lnTo>
                      <a:lnTo>
                        <a:pt x="11623" y="4742"/>
                      </a:lnTo>
                      <a:lnTo>
                        <a:pt x="11658" y="4754"/>
                      </a:lnTo>
                      <a:lnTo>
                        <a:pt x="11694" y="4766"/>
                      </a:lnTo>
                      <a:lnTo>
                        <a:pt x="11789" y="4742"/>
                      </a:lnTo>
                      <a:lnTo>
                        <a:pt x="11849" y="4754"/>
                      </a:lnTo>
                      <a:lnTo>
                        <a:pt x="11908" y="4730"/>
                      </a:lnTo>
                      <a:lnTo>
                        <a:pt x="11908" y="4706"/>
                      </a:lnTo>
                      <a:lnTo>
                        <a:pt x="11944" y="4659"/>
                      </a:lnTo>
                      <a:lnTo>
                        <a:pt x="11979" y="4659"/>
                      </a:lnTo>
                      <a:lnTo>
                        <a:pt x="12086" y="4730"/>
                      </a:lnTo>
                      <a:lnTo>
                        <a:pt x="12205" y="4730"/>
                      </a:lnTo>
                      <a:lnTo>
                        <a:pt x="12264" y="4754"/>
                      </a:lnTo>
                      <a:lnTo>
                        <a:pt x="12288" y="4778"/>
                      </a:lnTo>
                      <a:lnTo>
                        <a:pt x="12336" y="4778"/>
                      </a:lnTo>
                      <a:lnTo>
                        <a:pt x="12360" y="4778"/>
                      </a:lnTo>
                      <a:lnTo>
                        <a:pt x="12395" y="4754"/>
                      </a:lnTo>
                      <a:lnTo>
                        <a:pt x="12395" y="4754"/>
                      </a:lnTo>
                      <a:lnTo>
                        <a:pt x="12383" y="4754"/>
                      </a:lnTo>
                      <a:lnTo>
                        <a:pt x="12395" y="4718"/>
                      </a:lnTo>
                      <a:lnTo>
                        <a:pt x="12443" y="4659"/>
                      </a:lnTo>
                      <a:lnTo>
                        <a:pt x="12443" y="4611"/>
                      </a:lnTo>
                      <a:lnTo>
                        <a:pt x="12431" y="4587"/>
                      </a:lnTo>
                      <a:lnTo>
                        <a:pt x="12419" y="4564"/>
                      </a:lnTo>
                      <a:lnTo>
                        <a:pt x="12371" y="4516"/>
                      </a:lnTo>
                      <a:lnTo>
                        <a:pt x="12360" y="4504"/>
                      </a:lnTo>
                      <a:lnTo>
                        <a:pt x="12336" y="4481"/>
                      </a:lnTo>
                      <a:lnTo>
                        <a:pt x="12324" y="4457"/>
                      </a:lnTo>
                      <a:lnTo>
                        <a:pt x="12276" y="4397"/>
                      </a:lnTo>
                      <a:lnTo>
                        <a:pt x="12253" y="4314"/>
                      </a:lnTo>
                      <a:lnTo>
                        <a:pt x="12205" y="4302"/>
                      </a:lnTo>
                      <a:lnTo>
                        <a:pt x="12169" y="4290"/>
                      </a:lnTo>
                      <a:lnTo>
                        <a:pt x="12134" y="4267"/>
                      </a:lnTo>
                      <a:lnTo>
                        <a:pt x="12134" y="4207"/>
                      </a:lnTo>
                      <a:lnTo>
                        <a:pt x="12157" y="4112"/>
                      </a:lnTo>
                      <a:lnTo>
                        <a:pt x="12146" y="4112"/>
                      </a:lnTo>
                      <a:lnTo>
                        <a:pt x="12122" y="4124"/>
                      </a:lnTo>
                      <a:lnTo>
                        <a:pt x="12086" y="4112"/>
                      </a:lnTo>
                      <a:lnTo>
                        <a:pt x="12074" y="4076"/>
                      </a:lnTo>
                      <a:lnTo>
                        <a:pt x="12098" y="4029"/>
                      </a:lnTo>
                      <a:lnTo>
                        <a:pt x="12086" y="4017"/>
                      </a:lnTo>
                      <a:lnTo>
                        <a:pt x="12074" y="4029"/>
                      </a:lnTo>
                      <a:lnTo>
                        <a:pt x="12039" y="4065"/>
                      </a:lnTo>
                      <a:lnTo>
                        <a:pt x="12015" y="4088"/>
                      </a:lnTo>
                      <a:lnTo>
                        <a:pt x="11991" y="4065"/>
                      </a:lnTo>
                      <a:lnTo>
                        <a:pt x="11979" y="4041"/>
                      </a:lnTo>
                      <a:lnTo>
                        <a:pt x="12003" y="4005"/>
                      </a:lnTo>
                      <a:lnTo>
                        <a:pt x="12039" y="3981"/>
                      </a:lnTo>
                      <a:lnTo>
                        <a:pt x="12051" y="3958"/>
                      </a:lnTo>
                      <a:lnTo>
                        <a:pt x="12039" y="3910"/>
                      </a:lnTo>
                      <a:lnTo>
                        <a:pt x="12062" y="3874"/>
                      </a:lnTo>
                      <a:lnTo>
                        <a:pt x="12062" y="3791"/>
                      </a:lnTo>
                      <a:lnTo>
                        <a:pt x="12074" y="3661"/>
                      </a:lnTo>
                      <a:lnTo>
                        <a:pt x="12122" y="3542"/>
                      </a:lnTo>
                      <a:lnTo>
                        <a:pt x="12157" y="3494"/>
                      </a:lnTo>
                      <a:lnTo>
                        <a:pt x="12181" y="3482"/>
                      </a:lnTo>
                      <a:lnTo>
                        <a:pt x="12264" y="3482"/>
                      </a:lnTo>
                      <a:lnTo>
                        <a:pt x="12371" y="3482"/>
                      </a:lnTo>
                      <a:lnTo>
                        <a:pt x="12443" y="3470"/>
                      </a:lnTo>
                      <a:lnTo>
                        <a:pt x="12478" y="3435"/>
                      </a:lnTo>
                      <a:lnTo>
                        <a:pt x="12478" y="3399"/>
                      </a:lnTo>
                      <a:lnTo>
                        <a:pt x="12443" y="3316"/>
                      </a:lnTo>
                      <a:lnTo>
                        <a:pt x="12443" y="3233"/>
                      </a:lnTo>
                      <a:lnTo>
                        <a:pt x="12455" y="3173"/>
                      </a:lnTo>
                      <a:lnTo>
                        <a:pt x="12490" y="3102"/>
                      </a:lnTo>
                      <a:lnTo>
                        <a:pt x="12526" y="3054"/>
                      </a:lnTo>
                      <a:lnTo>
                        <a:pt x="12562" y="3054"/>
                      </a:lnTo>
                      <a:lnTo>
                        <a:pt x="12633" y="3078"/>
                      </a:lnTo>
                      <a:lnTo>
                        <a:pt x="12645" y="3054"/>
                      </a:lnTo>
                      <a:lnTo>
                        <a:pt x="12657" y="2971"/>
                      </a:lnTo>
                      <a:lnTo>
                        <a:pt x="12680" y="2948"/>
                      </a:lnTo>
                      <a:lnTo>
                        <a:pt x="12716" y="2900"/>
                      </a:lnTo>
                      <a:lnTo>
                        <a:pt x="12787" y="2864"/>
                      </a:lnTo>
                      <a:lnTo>
                        <a:pt x="12823" y="2852"/>
                      </a:lnTo>
                      <a:lnTo>
                        <a:pt x="12847" y="2829"/>
                      </a:lnTo>
                      <a:lnTo>
                        <a:pt x="12966" y="2650"/>
                      </a:lnTo>
                      <a:lnTo>
                        <a:pt x="12966" y="2567"/>
                      </a:lnTo>
                      <a:lnTo>
                        <a:pt x="12930" y="2508"/>
                      </a:lnTo>
                      <a:lnTo>
                        <a:pt x="12918" y="2460"/>
                      </a:lnTo>
                      <a:lnTo>
                        <a:pt x="12859" y="2425"/>
                      </a:lnTo>
                      <a:lnTo>
                        <a:pt x="12859" y="2401"/>
                      </a:lnTo>
                      <a:lnTo>
                        <a:pt x="12787" y="2377"/>
                      </a:lnTo>
                      <a:lnTo>
                        <a:pt x="12752" y="2318"/>
                      </a:lnTo>
                      <a:lnTo>
                        <a:pt x="12740" y="2306"/>
                      </a:lnTo>
                      <a:lnTo>
                        <a:pt x="12740" y="2294"/>
                      </a:lnTo>
                      <a:lnTo>
                        <a:pt x="12633" y="2235"/>
                      </a:lnTo>
                      <a:lnTo>
                        <a:pt x="12562" y="2163"/>
                      </a:lnTo>
                      <a:lnTo>
                        <a:pt x="12443" y="2151"/>
                      </a:lnTo>
                      <a:lnTo>
                        <a:pt x="12371" y="2128"/>
                      </a:lnTo>
                      <a:lnTo>
                        <a:pt x="12348" y="2116"/>
                      </a:lnTo>
                      <a:lnTo>
                        <a:pt x="12324" y="2104"/>
                      </a:lnTo>
                      <a:lnTo>
                        <a:pt x="12300" y="2068"/>
                      </a:lnTo>
                      <a:lnTo>
                        <a:pt x="12264" y="2080"/>
                      </a:lnTo>
                      <a:lnTo>
                        <a:pt x="12205" y="2104"/>
                      </a:lnTo>
                      <a:lnTo>
                        <a:pt x="12157" y="2104"/>
                      </a:lnTo>
                      <a:lnTo>
                        <a:pt x="12122" y="2021"/>
                      </a:lnTo>
                      <a:lnTo>
                        <a:pt x="12086" y="2009"/>
                      </a:lnTo>
                      <a:lnTo>
                        <a:pt x="12039" y="2009"/>
                      </a:lnTo>
                      <a:lnTo>
                        <a:pt x="11991" y="2032"/>
                      </a:lnTo>
                      <a:lnTo>
                        <a:pt x="11979" y="2032"/>
                      </a:lnTo>
                      <a:lnTo>
                        <a:pt x="11944" y="2032"/>
                      </a:lnTo>
                      <a:lnTo>
                        <a:pt x="11920" y="2009"/>
                      </a:lnTo>
                      <a:lnTo>
                        <a:pt x="11896" y="1949"/>
                      </a:lnTo>
                      <a:lnTo>
                        <a:pt x="11872" y="1949"/>
                      </a:lnTo>
                      <a:lnTo>
                        <a:pt x="11849" y="1961"/>
                      </a:lnTo>
                      <a:lnTo>
                        <a:pt x="11825" y="1985"/>
                      </a:lnTo>
                      <a:lnTo>
                        <a:pt x="11801" y="1985"/>
                      </a:lnTo>
                      <a:lnTo>
                        <a:pt x="11765" y="1961"/>
                      </a:lnTo>
                      <a:lnTo>
                        <a:pt x="11730" y="1914"/>
                      </a:lnTo>
                      <a:lnTo>
                        <a:pt x="11706" y="1914"/>
                      </a:lnTo>
                      <a:lnTo>
                        <a:pt x="11670" y="1937"/>
                      </a:lnTo>
                      <a:lnTo>
                        <a:pt x="11635" y="1997"/>
                      </a:lnTo>
                      <a:lnTo>
                        <a:pt x="11528" y="2021"/>
                      </a:lnTo>
                      <a:lnTo>
                        <a:pt x="11468" y="2044"/>
                      </a:lnTo>
                      <a:lnTo>
                        <a:pt x="11456" y="2044"/>
                      </a:lnTo>
                      <a:lnTo>
                        <a:pt x="11373" y="1997"/>
                      </a:lnTo>
                      <a:lnTo>
                        <a:pt x="11314" y="1985"/>
                      </a:lnTo>
                      <a:lnTo>
                        <a:pt x="11278" y="1949"/>
                      </a:lnTo>
                      <a:lnTo>
                        <a:pt x="11290" y="1795"/>
                      </a:lnTo>
                      <a:lnTo>
                        <a:pt x="11290" y="1735"/>
                      </a:lnTo>
                      <a:lnTo>
                        <a:pt x="11266" y="1688"/>
                      </a:lnTo>
                      <a:lnTo>
                        <a:pt x="11231" y="1640"/>
                      </a:lnTo>
                      <a:lnTo>
                        <a:pt x="11219" y="1628"/>
                      </a:lnTo>
                      <a:lnTo>
                        <a:pt x="10826" y="1189"/>
                      </a:lnTo>
                      <a:lnTo>
                        <a:pt x="10743" y="1189"/>
                      </a:lnTo>
                      <a:lnTo>
                        <a:pt x="10696" y="1248"/>
                      </a:lnTo>
                      <a:lnTo>
                        <a:pt x="10613" y="1260"/>
                      </a:lnTo>
                      <a:lnTo>
                        <a:pt x="10565" y="1236"/>
                      </a:lnTo>
                      <a:lnTo>
                        <a:pt x="10446" y="1224"/>
                      </a:lnTo>
                      <a:lnTo>
                        <a:pt x="10387" y="1201"/>
                      </a:lnTo>
                      <a:lnTo>
                        <a:pt x="10339" y="1153"/>
                      </a:lnTo>
                      <a:lnTo>
                        <a:pt x="10304" y="1141"/>
                      </a:lnTo>
                      <a:lnTo>
                        <a:pt x="10268" y="1165"/>
                      </a:lnTo>
                      <a:lnTo>
                        <a:pt x="10232" y="1165"/>
                      </a:lnTo>
                      <a:lnTo>
                        <a:pt x="10066" y="1058"/>
                      </a:lnTo>
                      <a:lnTo>
                        <a:pt x="10018" y="1034"/>
                      </a:lnTo>
                      <a:lnTo>
                        <a:pt x="9983" y="1010"/>
                      </a:lnTo>
                      <a:lnTo>
                        <a:pt x="9971" y="1010"/>
                      </a:lnTo>
                      <a:lnTo>
                        <a:pt x="9947" y="975"/>
                      </a:lnTo>
                      <a:lnTo>
                        <a:pt x="9816" y="915"/>
                      </a:lnTo>
                      <a:lnTo>
                        <a:pt x="9686" y="832"/>
                      </a:lnTo>
                      <a:lnTo>
                        <a:pt x="9674" y="761"/>
                      </a:lnTo>
                      <a:lnTo>
                        <a:pt x="9638" y="725"/>
                      </a:lnTo>
                      <a:lnTo>
                        <a:pt x="9507" y="630"/>
                      </a:lnTo>
                      <a:lnTo>
                        <a:pt x="9484" y="630"/>
                      </a:lnTo>
                      <a:lnTo>
                        <a:pt x="9448" y="606"/>
                      </a:lnTo>
                      <a:lnTo>
                        <a:pt x="9317" y="583"/>
                      </a:lnTo>
                      <a:lnTo>
                        <a:pt x="9293" y="571"/>
                      </a:lnTo>
                      <a:lnTo>
                        <a:pt x="9234" y="535"/>
                      </a:lnTo>
                      <a:lnTo>
                        <a:pt x="9175" y="535"/>
                      </a:lnTo>
                      <a:lnTo>
                        <a:pt x="9115" y="547"/>
                      </a:lnTo>
                      <a:lnTo>
                        <a:pt x="9080" y="583"/>
                      </a:lnTo>
                      <a:lnTo>
                        <a:pt x="9044" y="583"/>
                      </a:lnTo>
                      <a:lnTo>
                        <a:pt x="9008" y="595"/>
                      </a:lnTo>
                      <a:lnTo>
                        <a:pt x="8973" y="606"/>
                      </a:lnTo>
                      <a:lnTo>
                        <a:pt x="8949" y="630"/>
                      </a:lnTo>
                      <a:lnTo>
                        <a:pt x="8925" y="642"/>
                      </a:lnTo>
                      <a:lnTo>
                        <a:pt x="8889" y="701"/>
                      </a:lnTo>
                      <a:lnTo>
                        <a:pt x="8854" y="713"/>
                      </a:lnTo>
                      <a:lnTo>
                        <a:pt x="8818" y="713"/>
                      </a:lnTo>
                      <a:lnTo>
                        <a:pt x="8782" y="654"/>
                      </a:lnTo>
                      <a:lnTo>
                        <a:pt x="8676" y="618"/>
                      </a:lnTo>
                      <a:lnTo>
                        <a:pt x="8580" y="547"/>
                      </a:lnTo>
                      <a:lnTo>
                        <a:pt x="8485" y="523"/>
                      </a:lnTo>
                      <a:lnTo>
                        <a:pt x="8462" y="499"/>
                      </a:lnTo>
                      <a:lnTo>
                        <a:pt x="8438" y="404"/>
                      </a:lnTo>
                      <a:lnTo>
                        <a:pt x="8450" y="321"/>
                      </a:lnTo>
                      <a:lnTo>
                        <a:pt x="8533" y="107"/>
                      </a:lnTo>
                      <a:lnTo>
                        <a:pt x="8497" y="119"/>
                      </a:lnTo>
                      <a:lnTo>
                        <a:pt x="8450" y="107"/>
                      </a:lnTo>
                      <a:lnTo>
                        <a:pt x="8343" y="60"/>
                      </a:lnTo>
                      <a:lnTo>
                        <a:pt x="8200" y="48"/>
                      </a:lnTo>
                      <a:lnTo>
                        <a:pt x="8046" y="0"/>
                      </a:lnTo>
                      <a:lnTo>
                        <a:pt x="7986" y="12"/>
                      </a:lnTo>
                      <a:lnTo>
                        <a:pt x="7951" y="12"/>
                      </a:lnTo>
                      <a:lnTo>
                        <a:pt x="7891" y="12"/>
                      </a:lnTo>
                      <a:lnTo>
                        <a:pt x="7832" y="36"/>
                      </a:lnTo>
                      <a:lnTo>
                        <a:pt x="7749" y="72"/>
                      </a:lnTo>
                      <a:lnTo>
                        <a:pt x="7618" y="131"/>
                      </a:lnTo>
                      <a:lnTo>
                        <a:pt x="7547" y="190"/>
                      </a:lnTo>
                      <a:lnTo>
                        <a:pt x="7487" y="202"/>
                      </a:lnTo>
                      <a:lnTo>
                        <a:pt x="7428" y="262"/>
                      </a:lnTo>
                      <a:lnTo>
                        <a:pt x="7380" y="274"/>
                      </a:lnTo>
                      <a:lnTo>
                        <a:pt x="7333" y="333"/>
                      </a:lnTo>
                      <a:lnTo>
                        <a:pt x="7285" y="381"/>
                      </a:lnTo>
                      <a:lnTo>
                        <a:pt x="7107" y="476"/>
                      </a:lnTo>
                      <a:lnTo>
                        <a:pt x="7036" y="559"/>
                      </a:lnTo>
                      <a:lnTo>
                        <a:pt x="6917" y="571"/>
                      </a:lnTo>
                      <a:lnTo>
                        <a:pt x="6810" y="618"/>
                      </a:lnTo>
                      <a:lnTo>
                        <a:pt x="6762" y="654"/>
                      </a:lnTo>
                      <a:lnTo>
                        <a:pt x="6691" y="749"/>
                      </a:lnTo>
                      <a:lnTo>
                        <a:pt x="6655" y="773"/>
                      </a:lnTo>
                      <a:lnTo>
                        <a:pt x="6572" y="820"/>
                      </a:lnTo>
                      <a:lnTo>
                        <a:pt x="6429" y="832"/>
                      </a:lnTo>
                      <a:lnTo>
                        <a:pt x="6323" y="939"/>
                      </a:lnTo>
                      <a:lnTo>
                        <a:pt x="6251" y="987"/>
                      </a:lnTo>
                      <a:lnTo>
                        <a:pt x="6132" y="1010"/>
                      </a:lnTo>
                      <a:lnTo>
                        <a:pt x="6073" y="1034"/>
                      </a:lnTo>
                      <a:lnTo>
                        <a:pt x="5990" y="1022"/>
                      </a:lnTo>
                      <a:lnTo>
                        <a:pt x="5930" y="1082"/>
                      </a:lnTo>
                      <a:lnTo>
                        <a:pt x="5907" y="1094"/>
                      </a:lnTo>
                      <a:lnTo>
                        <a:pt x="5859" y="1070"/>
                      </a:lnTo>
                      <a:lnTo>
                        <a:pt x="5907" y="999"/>
                      </a:lnTo>
                      <a:lnTo>
                        <a:pt x="5930" y="951"/>
                      </a:lnTo>
                      <a:lnTo>
                        <a:pt x="5978" y="904"/>
                      </a:lnTo>
                      <a:lnTo>
                        <a:pt x="5978" y="832"/>
                      </a:lnTo>
                      <a:lnTo>
                        <a:pt x="5978" y="749"/>
                      </a:lnTo>
                      <a:lnTo>
                        <a:pt x="5942" y="690"/>
                      </a:lnTo>
                      <a:lnTo>
                        <a:pt x="5942" y="690"/>
                      </a:lnTo>
                      <a:lnTo>
                        <a:pt x="5883" y="737"/>
                      </a:lnTo>
                      <a:lnTo>
                        <a:pt x="5859" y="749"/>
                      </a:lnTo>
                      <a:lnTo>
                        <a:pt x="5693" y="761"/>
                      </a:lnTo>
                      <a:lnTo>
                        <a:pt x="5609" y="713"/>
                      </a:lnTo>
                      <a:lnTo>
                        <a:pt x="5598" y="690"/>
                      </a:lnTo>
                      <a:lnTo>
                        <a:pt x="5598" y="606"/>
                      </a:lnTo>
                      <a:lnTo>
                        <a:pt x="5574" y="606"/>
                      </a:lnTo>
                      <a:lnTo>
                        <a:pt x="5455" y="499"/>
                      </a:lnTo>
                      <a:lnTo>
                        <a:pt x="5431" y="476"/>
                      </a:lnTo>
                      <a:lnTo>
                        <a:pt x="5396" y="464"/>
                      </a:lnTo>
                      <a:lnTo>
                        <a:pt x="5384" y="476"/>
                      </a:lnTo>
                      <a:lnTo>
                        <a:pt x="5301" y="583"/>
                      </a:lnTo>
                      <a:lnTo>
                        <a:pt x="5336" y="642"/>
                      </a:lnTo>
                      <a:lnTo>
                        <a:pt x="5336" y="725"/>
                      </a:lnTo>
                      <a:lnTo>
                        <a:pt x="5324" y="797"/>
                      </a:lnTo>
                      <a:lnTo>
                        <a:pt x="5348" y="844"/>
                      </a:lnTo>
                      <a:lnTo>
                        <a:pt x="5336" y="880"/>
                      </a:lnTo>
                      <a:lnTo>
                        <a:pt x="5324" y="904"/>
                      </a:lnTo>
                      <a:lnTo>
                        <a:pt x="5289" y="927"/>
                      </a:lnTo>
                      <a:lnTo>
                        <a:pt x="5229" y="927"/>
                      </a:lnTo>
                      <a:lnTo>
                        <a:pt x="5205" y="915"/>
                      </a:lnTo>
                      <a:lnTo>
                        <a:pt x="5158" y="892"/>
                      </a:lnTo>
                      <a:lnTo>
                        <a:pt x="5075" y="844"/>
                      </a:lnTo>
                      <a:lnTo>
                        <a:pt x="5003" y="832"/>
                      </a:lnTo>
                      <a:lnTo>
                        <a:pt x="4908" y="844"/>
                      </a:lnTo>
                      <a:lnTo>
                        <a:pt x="4885" y="868"/>
                      </a:lnTo>
                      <a:lnTo>
                        <a:pt x="4885" y="880"/>
                      </a:lnTo>
                      <a:lnTo>
                        <a:pt x="4908" y="975"/>
                      </a:lnTo>
                      <a:lnTo>
                        <a:pt x="4908" y="987"/>
                      </a:lnTo>
                      <a:lnTo>
                        <a:pt x="4849" y="1034"/>
                      </a:lnTo>
                      <a:lnTo>
                        <a:pt x="4837" y="1070"/>
                      </a:lnTo>
                      <a:lnTo>
                        <a:pt x="4873" y="1129"/>
                      </a:lnTo>
                      <a:lnTo>
                        <a:pt x="4908" y="1177"/>
                      </a:lnTo>
                      <a:lnTo>
                        <a:pt x="4932" y="1177"/>
                      </a:lnTo>
                      <a:lnTo>
                        <a:pt x="4932" y="1236"/>
                      </a:lnTo>
                      <a:lnTo>
                        <a:pt x="4920" y="1272"/>
                      </a:lnTo>
                      <a:lnTo>
                        <a:pt x="4861" y="1319"/>
                      </a:lnTo>
                      <a:lnTo>
                        <a:pt x="4849" y="1391"/>
                      </a:lnTo>
                      <a:lnTo>
                        <a:pt x="4849" y="1462"/>
                      </a:lnTo>
                      <a:lnTo>
                        <a:pt x="4885" y="1545"/>
                      </a:lnTo>
                      <a:lnTo>
                        <a:pt x="4885" y="1640"/>
                      </a:lnTo>
                      <a:lnTo>
                        <a:pt x="4920" y="1724"/>
                      </a:lnTo>
                      <a:lnTo>
                        <a:pt x="4944" y="1830"/>
                      </a:lnTo>
                      <a:lnTo>
                        <a:pt x="4956" y="1854"/>
                      </a:lnTo>
                      <a:lnTo>
                        <a:pt x="4932" y="1878"/>
                      </a:lnTo>
                      <a:lnTo>
                        <a:pt x="4861" y="1902"/>
                      </a:lnTo>
                      <a:lnTo>
                        <a:pt x="4730" y="1914"/>
                      </a:lnTo>
                      <a:lnTo>
                        <a:pt x="4730" y="1926"/>
                      </a:lnTo>
                      <a:lnTo>
                        <a:pt x="4587" y="1949"/>
                      </a:lnTo>
                      <a:lnTo>
                        <a:pt x="4540" y="1973"/>
                      </a:lnTo>
                      <a:lnTo>
                        <a:pt x="4492" y="2021"/>
                      </a:lnTo>
                      <a:lnTo>
                        <a:pt x="4445" y="2021"/>
                      </a:lnTo>
                      <a:lnTo>
                        <a:pt x="4421" y="2021"/>
                      </a:lnTo>
                      <a:lnTo>
                        <a:pt x="4350" y="2104"/>
                      </a:lnTo>
                      <a:lnTo>
                        <a:pt x="4326" y="2199"/>
                      </a:lnTo>
                      <a:lnTo>
                        <a:pt x="4338" y="2246"/>
                      </a:lnTo>
                      <a:lnTo>
                        <a:pt x="4302" y="2306"/>
                      </a:lnTo>
                      <a:lnTo>
                        <a:pt x="4314" y="2341"/>
                      </a:lnTo>
                      <a:lnTo>
                        <a:pt x="4302" y="2353"/>
                      </a:lnTo>
                      <a:lnTo>
                        <a:pt x="4207" y="2448"/>
                      </a:lnTo>
                      <a:lnTo>
                        <a:pt x="4183" y="2520"/>
                      </a:lnTo>
                      <a:lnTo>
                        <a:pt x="4183" y="2579"/>
                      </a:lnTo>
                      <a:lnTo>
                        <a:pt x="4195" y="2615"/>
                      </a:lnTo>
                      <a:lnTo>
                        <a:pt x="4219" y="2662"/>
                      </a:lnTo>
                      <a:lnTo>
                        <a:pt x="4279" y="2710"/>
                      </a:lnTo>
                      <a:lnTo>
                        <a:pt x="4350" y="2757"/>
                      </a:lnTo>
                      <a:lnTo>
                        <a:pt x="4397" y="2817"/>
                      </a:lnTo>
                      <a:lnTo>
                        <a:pt x="4421" y="2864"/>
                      </a:lnTo>
                      <a:lnTo>
                        <a:pt x="4421" y="2948"/>
                      </a:lnTo>
                      <a:lnTo>
                        <a:pt x="4457" y="2995"/>
                      </a:lnTo>
                      <a:lnTo>
                        <a:pt x="4469" y="3054"/>
                      </a:lnTo>
                      <a:lnTo>
                        <a:pt x="4516" y="3126"/>
                      </a:lnTo>
                      <a:lnTo>
                        <a:pt x="4528" y="3185"/>
                      </a:lnTo>
                      <a:lnTo>
                        <a:pt x="4516" y="3209"/>
                      </a:lnTo>
                      <a:lnTo>
                        <a:pt x="4492" y="3245"/>
                      </a:lnTo>
                      <a:lnTo>
                        <a:pt x="4445" y="3257"/>
                      </a:lnTo>
                      <a:lnTo>
                        <a:pt x="4421" y="3292"/>
                      </a:lnTo>
                      <a:lnTo>
                        <a:pt x="4362" y="3316"/>
                      </a:lnTo>
                      <a:lnTo>
                        <a:pt x="4350" y="3363"/>
                      </a:lnTo>
                      <a:lnTo>
                        <a:pt x="4326" y="3387"/>
                      </a:lnTo>
                      <a:lnTo>
                        <a:pt x="4302" y="3387"/>
                      </a:lnTo>
                      <a:lnTo>
                        <a:pt x="4279" y="3387"/>
                      </a:lnTo>
                      <a:lnTo>
                        <a:pt x="4267" y="3387"/>
                      </a:lnTo>
                      <a:lnTo>
                        <a:pt x="4231" y="3470"/>
                      </a:lnTo>
                      <a:lnTo>
                        <a:pt x="4195" y="3482"/>
                      </a:lnTo>
                      <a:lnTo>
                        <a:pt x="4183" y="3506"/>
                      </a:lnTo>
                      <a:lnTo>
                        <a:pt x="4160" y="3530"/>
                      </a:lnTo>
                      <a:lnTo>
                        <a:pt x="4148" y="3589"/>
                      </a:lnTo>
                      <a:lnTo>
                        <a:pt x="4136" y="3649"/>
                      </a:lnTo>
                      <a:lnTo>
                        <a:pt x="4124" y="3684"/>
                      </a:lnTo>
                      <a:lnTo>
                        <a:pt x="4112" y="3744"/>
                      </a:lnTo>
                      <a:lnTo>
                        <a:pt x="4148" y="3791"/>
                      </a:lnTo>
                      <a:lnTo>
                        <a:pt x="4172" y="3803"/>
                      </a:lnTo>
                      <a:lnTo>
                        <a:pt x="4255" y="3791"/>
                      </a:lnTo>
                      <a:lnTo>
                        <a:pt x="4326" y="3839"/>
                      </a:lnTo>
                      <a:lnTo>
                        <a:pt x="4374" y="3886"/>
                      </a:lnTo>
                      <a:lnTo>
                        <a:pt x="4374" y="3922"/>
                      </a:lnTo>
                      <a:lnTo>
                        <a:pt x="4362" y="3970"/>
                      </a:lnTo>
                      <a:lnTo>
                        <a:pt x="4338" y="3993"/>
                      </a:lnTo>
                      <a:lnTo>
                        <a:pt x="4290" y="4017"/>
                      </a:lnTo>
                      <a:lnTo>
                        <a:pt x="4255" y="4065"/>
                      </a:lnTo>
                      <a:lnTo>
                        <a:pt x="4255" y="4088"/>
                      </a:lnTo>
                      <a:lnTo>
                        <a:pt x="4267" y="4136"/>
                      </a:lnTo>
                      <a:lnTo>
                        <a:pt x="4219" y="4183"/>
                      </a:lnTo>
                      <a:lnTo>
                        <a:pt x="4231" y="4243"/>
                      </a:lnTo>
                      <a:lnTo>
                        <a:pt x="4290" y="4397"/>
                      </a:lnTo>
                      <a:lnTo>
                        <a:pt x="4290" y="4421"/>
                      </a:lnTo>
                      <a:lnTo>
                        <a:pt x="4279" y="4445"/>
                      </a:lnTo>
                      <a:lnTo>
                        <a:pt x="4231" y="4457"/>
                      </a:lnTo>
                      <a:lnTo>
                        <a:pt x="4207" y="4504"/>
                      </a:lnTo>
                      <a:lnTo>
                        <a:pt x="4183" y="4528"/>
                      </a:lnTo>
                      <a:lnTo>
                        <a:pt x="4088" y="4576"/>
                      </a:lnTo>
                      <a:lnTo>
                        <a:pt x="4065" y="4576"/>
                      </a:lnTo>
                      <a:lnTo>
                        <a:pt x="4029" y="4635"/>
                      </a:lnTo>
                      <a:lnTo>
                        <a:pt x="4005" y="4623"/>
                      </a:lnTo>
                      <a:lnTo>
                        <a:pt x="3958" y="4635"/>
                      </a:lnTo>
                      <a:lnTo>
                        <a:pt x="3946" y="4647"/>
                      </a:lnTo>
                      <a:lnTo>
                        <a:pt x="3922" y="4671"/>
                      </a:lnTo>
                      <a:lnTo>
                        <a:pt x="3910" y="4694"/>
                      </a:lnTo>
                      <a:lnTo>
                        <a:pt x="3910" y="4718"/>
                      </a:lnTo>
                      <a:lnTo>
                        <a:pt x="3922" y="4754"/>
                      </a:lnTo>
                      <a:lnTo>
                        <a:pt x="3827" y="4801"/>
                      </a:lnTo>
                      <a:lnTo>
                        <a:pt x="3768" y="4813"/>
                      </a:lnTo>
                      <a:lnTo>
                        <a:pt x="3744" y="4849"/>
                      </a:lnTo>
                      <a:lnTo>
                        <a:pt x="3732" y="4849"/>
                      </a:lnTo>
                      <a:lnTo>
                        <a:pt x="3708" y="4849"/>
                      </a:lnTo>
                      <a:lnTo>
                        <a:pt x="3672" y="4861"/>
                      </a:lnTo>
                      <a:lnTo>
                        <a:pt x="3672" y="4885"/>
                      </a:lnTo>
                      <a:lnTo>
                        <a:pt x="3637" y="4885"/>
                      </a:lnTo>
                      <a:lnTo>
                        <a:pt x="3613" y="4920"/>
                      </a:lnTo>
                      <a:lnTo>
                        <a:pt x="3577" y="4908"/>
                      </a:lnTo>
                      <a:lnTo>
                        <a:pt x="3565" y="4932"/>
                      </a:lnTo>
                      <a:lnTo>
                        <a:pt x="3542" y="4944"/>
                      </a:lnTo>
                      <a:lnTo>
                        <a:pt x="3506" y="4932"/>
                      </a:lnTo>
                      <a:lnTo>
                        <a:pt x="3470" y="4896"/>
                      </a:lnTo>
                      <a:lnTo>
                        <a:pt x="3435" y="4873"/>
                      </a:lnTo>
                      <a:lnTo>
                        <a:pt x="3411" y="4873"/>
                      </a:lnTo>
                      <a:lnTo>
                        <a:pt x="3387" y="4837"/>
                      </a:lnTo>
                      <a:lnTo>
                        <a:pt x="3352" y="4825"/>
                      </a:lnTo>
                      <a:lnTo>
                        <a:pt x="3221" y="4766"/>
                      </a:lnTo>
                      <a:lnTo>
                        <a:pt x="3173" y="4766"/>
                      </a:lnTo>
                      <a:lnTo>
                        <a:pt x="3138" y="4790"/>
                      </a:lnTo>
                      <a:lnTo>
                        <a:pt x="3054" y="4790"/>
                      </a:lnTo>
                      <a:lnTo>
                        <a:pt x="3031" y="4778"/>
                      </a:lnTo>
                      <a:lnTo>
                        <a:pt x="2971" y="4778"/>
                      </a:lnTo>
                      <a:lnTo>
                        <a:pt x="2876" y="4754"/>
                      </a:lnTo>
                      <a:lnTo>
                        <a:pt x="2841" y="4730"/>
                      </a:lnTo>
                      <a:lnTo>
                        <a:pt x="2793" y="4730"/>
                      </a:lnTo>
                      <a:lnTo>
                        <a:pt x="2698" y="4742"/>
                      </a:lnTo>
                      <a:lnTo>
                        <a:pt x="2650" y="4742"/>
                      </a:lnTo>
                      <a:lnTo>
                        <a:pt x="2591" y="4742"/>
                      </a:lnTo>
                      <a:lnTo>
                        <a:pt x="2555" y="4742"/>
                      </a:lnTo>
                      <a:lnTo>
                        <a:pt x="2508" y="4730"/>
                      </a:lnTo>
                      <a:lnTo>
                        <a:pt x="2460" y="4706"/>
                      </a:lnTo>
                      <a:lnTo>
                        <a:pt x="2425" y="4718"/>
                      </a:lnTo>
                      <a:lnTo>
                        <a:pt x="2377" y="4730"/>
                      </a:lnTo>
                      <a:lnTo>
                        <a:pt x="2318" y="4742"/>
                      </a:lnTo>
                      <a:lnTo>
                        <a:pt x="2306" y="4790"/>
                      </a:lnTo>
                      <a:lnTo>
                        <a:pt x="2175" y="4790"/>
                      </a:lnTo>
                      <a:lnTo>
                        <a:pt x="2151" y="4813"/>
                      </a:lnTo>
                      <a:lnTo>
                        <a:pt x="2116" y="4837"/>
                      </a:lnTo>
                      <a:lnTo>
                        <a:pt x="2092" y="4896"/>
                      </a:lnTo>
                      <a:lnTo>
                        <a:pt x="2056" y="4956"/>
                      </a:lnTo>
                      <a:lnTo>
                        <a:pt x="2021" y="4980"/>
                      </a:lnTo>
                      <a:lnTo>
                        <a:pt x="1973" y="4992"/>
                      </a:lnTo>
                      <a:lnTo>
                        <a:pt x="1949" y="5039"/>
                      </a:lnTo>
                      <a:lnTo>
                        <a:pt x="1937" y="5051"/>
                      </a:lnTo>
                      <a:lnTo>
                        <a:pt x="1902" y="5051"/>
                      </a:lnTo>
                      <a:lnTo>
                        <a:pt x="1878" y="5039"/>
                      </a:lnTo>
                      <a:lnTo>
                        <a:pt x="1842" y="4980"/>
                      </a:lnTo>
                      <a:lnTo>
                        <a:pt x="1819" y="4968"/>
                      </a:lnTo>
                      <a:lnTo>
                        <a:pt x="1795" y="4932"/>
                      </a:lnTo>
                      <a:lnTo>
                        <a:pt x="1771" y="4896"/>
                      </a:lnTo>
                      <a:lnTo>
                        <a:pt x="1747" y="4896"/>
                      </a:lnTo>
                      <a:lnTo>
                        <a:pt x="1723" y="4908"/>
                      </a:lnTo>
                      <a:lnTo>
                        <a:pt x="1712" y="4944"/>
                      </a:lnTo>
                      <a:lnTo>
                        <a:pt x="1652" y="4944"/>
                      </a:lnTo>
                      <a:lnTo>
                        <a:pt x="1628" y="4968"/>
                      </a:lnTo>
                      <a:lnTo>
                        <a:pt x="1640" y="4992"/>
                      </a:lnTo>
                      <a:lnTo>
                        <a:pt x="1628" y="5003"/>
                      </a:lnTo>
                      <a:lnTo>
                        <a:pt x="1605" y="5015"/>
                      </a:lnTo>
                      <a:lnTo>
                        <a:pt x="1581" y="5015"/>
                      </a:lnTo>
                      <a:lnTo>
                        <a:pt x="1545" y="5015"/>
                      </a:lnTo>
                      <a:lnTo>
                        <a:pt x="1521" y="5027"/>
                      </a:lnTo>
                      <a:lnTo>
                        <a:pt x="1498" y="5039"/>
                      </a:lnTo>
                      <a:lnTo>
                        <a:pt x="1391" y="5039"/>
                      </a:lnTo>
                      <a:lnTo>
                        <a:pt x="1319" y="5027"/>
                      </a:lnTo>
                      <a:lnTo>
                        <a:pt x="1272" y="5039"/>
                      </a:lnTo>
                      <a:lnTo>
                        <a:pt x="1189" y="5027"/>
                      </a:lnTo>
                      <a:lnTo>
                        <a:pt x="1165" y="5039"/>
                      </a:lnTo>
                      <a:lnTo>
                        <a:pt x="1141" y="5075"/>
                      </a:lnTo>
                      <a:lnTo>
                        <a:pt x="1094" y="5099"/>
                      </a:lnTo>
                      <a:lnTo>
                        <a:pt x="939" y="5087"/>
                      </a:lnTo>
                      <a:lnTo>
                        <a:pt x="903" y="5110"/>
                      </a:lnTo>
                      <a:lnTo>
                        <a:pt x="880" y="5110"/>
                      </a:lnTo>
                      <a:lnTo>
                        <a:pt x="832" y="5134"/>
                      </a:lnTo>
                      <a:lnTo>
                        <a:pt x="797" y="5229"/>
                      </a:lnTo>
                      <a:lnTo>
                        <a:pt x="761" y="5265"/>
                      </a:lnTo>
                      <a:lnTo>
                        <a:pt x="713" y="5289"/>
                      </a:lnTo>
                      <a:lnTo>
                        <a:pt x="701" y="5324"/>
                      </a:lnTo>
                      <a:lnTo>
                        <a:pt x="642" y="5419"/>
                      </a:lnTo>
                      <a:lnTo>
                        <a:pt x="642" y="5491"/>
                      </a:lnTo>
                      <a:lnTo>
                        <a:pt x="618" y="5550"/>
                      </a:lnTo>
                      <a:lnTo>
                        <a:pt x="559" y="5621"/>
                      </a:lnTo>
                      <a:lnTo>
                        <a:pt x="523" y="5633"/>
                      </a:lnTo>
                      <a:lnTo>
                        <a:pt x="464" y="5633"/>
                      </a:lnTo>
                      <a:lnTo>
                        <a:pt x="440" y="5645"/>
                      </a:lnTo>
                      <a:lnTo>
                        <a:pt x="416" y="5681"/>
                      </a:lnTo>
                      <a:lnTo>
                        <a:pt x="381" y="5693"/>
                      </a:lnTo>
                      <a:lnTo>
                        <a:pt x="357" y="5716"/>
                      </a:lnTo>
                      <a:lnTo>
                        <a:pt x="333" y="5764"/>
                      </a:lnTo>
                      <a:lnTo>
                        <a:pt x="262" y="5835"/>
                      </a:lnTo>
                      <a:lnTo>
                        <a:pt x="238" y="5907"/>
                      </a:lnTo>
                      <a:lnTo>
                        <a:pt x="202" y="5942"/>
                      </a:lnTo>
                      <a:lnTo>
                        <a:pt x="202" y="6014"/>
                      </a:lnTo>
                      <a:lnTo>
                        <a:pt x="131" y="6037"/>
                      </a:lnTo>
                      <a:lnTo>
                        <a:pt x="131" y="6037"/>
                      </a:lnTo>
                      <a:lnTo>
                        <a:pt x="131" y="6037"/>
                      </a:lnTo>
                      <a:lnTo>
                        <a:pt x="119" y="6073"/>
                      </a:lnTo>
                      <a:lnTo>
                        <a:pt x="131" y="6109"/>
                      </a:lnTo>
                      <a:lnTo>
                        <a:pt x="131" y="6144"/>
                      </a:lnTo>
                      <a:lnTo>
                        <a:pt x="131" y="6156"/>
                      </a:lnTo>
                      <a:lnTo>
                        <a:pt x="84" y="6180"/>
                      </a:lnTo>
                      <a:lnTo>
                        <a:pt x="36" y="6251"/>
                      </a:lnTo>
                      <a:lnTo>
                        <a:pt x="12" y="6299"/>
                      </a:lnTo>
                      <a:lnTo>
                        <a:pt x="0" y="6358"/>
                      </a:lnTo>
                      <a:lnTo>
                        <a:pt x="24" y="6394"/>
                      </a:lnTo>
                      <a:lnTo>
                        <a:pt x="36" y="6465"/>
                      </a:lnTo>
                      <a:lnTo>
                        <a:pt x="36" y="6489"/>
                      </a:lnTo>
                      <a:lnTo>
                        <a:pt x="36" y="6632"/>
                      </a:lnTo>
                      <a:lnTo>
                        <a:pt x="12" y="6774"/>
                      </a:lnTo>
                      <a:lnTo>
                        <a:pt x="12" y="6786"/>
                      </a:lnTo>
                      <a:lnTo>
                        <a:pt x="12" y="678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grpSp>
              <p:nvGrpSpPr>
                <p:cNvPr id="131" name="Group 684"/>
                <p:cNvGrpSpPr/>
                <p:nvPr/>
              </p:nvGrpSpPr>
              <p:grpSpPr>
                <a:xfrm>
                  <a:off x="4689466" y="19173837"/>
                  <a:ext cx="11244269" cy="7959721"/>
                  <a:chOff x="4689475" y="19173825"/>
                  <a:chExt cx="11244263" cy="7959725"/>
                </a:xfrm>
                <a:grpFill/>
              </p:grpSpPr>
              <p:sp>
                <p:nvSpPr>
                  <p:cNvPr id="219" name="Freeform 436"/>
                  <p:cNvSpPr>
                    <a:spLocks/>
                  </p:cNvSpPr>
                  <p:nvPr/>
                </p:nvSpPr>
                <p:spPr bwMode="auto">
                  <a:xfrm>
                    <a:off x="4689475" y="19173825"/>
                    <a:ext cx="11244263" cy="7959725"/>
                  </a:xfrm>
                  <a:custGeom>
                    <a:avLst/>
                    <a:gdLst/>
                    <a:ahLst/>
                    <a:cxnLst>
                      <a:cxn ang="0">
                        <a:pos x="6857" y="3565"/>
                      </a:cxn>
                      <a:cxn ang="0">
                        <a:pos x="6869" y="3446"/>
                      </a:cxn>
                      <a:cxn ang="0">
                        <a:pos x="6738" y="3386"/>
                      </a:cxn>
                      <a:cxn ang="0">
                        <a:pos x="6667" y="3434"/>
                      </a:cxn>
                      <a:cxn ang="0">
                        <a:pos x="6619" y="3612"/>
                      </a:cxn>
                      <a:cxn ang="0">
                        <a:pos x="6394" y="3660"/>
                      </a:cxn>
                      <a:cxn ang="0">
                        <a:pos x="6714" y="3767"/>
                      </a:cxn>
                      <a:cxn ang="0">
                        <a:pos x="6477" y="4064"/>
                      </a:cxn>
                      <a:cxn ang="0">
                        <a:pos x="6465" y="4099"/>
                      </a:cxn>
                      <a:cxn ang="0">
                        <a:pos x="6168" y="4183"/>
                      </a:cxn>
                      <a:cxn ang="0">
                        <a:pos x="5692" y="4325"/>
                      </a:cxn>
                      <a:cxn ang="0">
                        <a:pos x="5372" y="4480"/>
                      </a:cxn>
                      <a:cxn ang="0">
                        <a:pos x="4920" y="4218"/>
                      </a:cxn>
                      <a:cxn ang="0">
                        <a:pos x="4706" y="4254"/>
                      </a:cxn>
                      <a:cxn ang="0">
                        <a:pos x="4516" y="4242"/>
                      </a:cxn>
                      <a:cxn ang="0">
                        <a:pos x="4314" y="4183"/>
                      </a:cxn>
                      <a:cxn ang="0">
                        <a:pos x="4064" y="4444"/>
                      </a:cxn>
                      <a:cxn ang="0">
                        <a:pos x="3910" y="4492"/>
                      </a:cxn>
                      <a:cxn ang="0">
                        <a:pos x="3732" y="4515"/>
                      </a:cxn>
                      <a:cxn ang="0">
                        <a:pos x="3530" y="4789"/>
                      </a:cxn>
                      <a:cxn ang="0">
                        <a:pos x="3423" y="5014"/>
                      </a:cxn>
                      <a:cxn ang="0">
                        <a:pos x="2971" y="4896"/>
                      </a:cxn>
                      <a:cxn ang="0">
                        <a:pos x="2365" y="4646"/>
                      </a:cxn>
                      <a:cxn ang="0">
                        <a:pos x="1628" y="4563"/>
                      </a:cxn>
                      <a:cxn ang="0">
                        <a:pos x="1189" y="4456"/>
                      </a:cxn>
                      <a:cxn ang="0">
                        <a:pos x="868" y="4099"/>
                      </a:cxn>
                      <a:cxn ang="0">
                        <a:pos x="796" y="3826"/>
                      </a:cxn>
                      <a:cxn ang="0">
                        <a:pos x="630" y="3600"/>
                      </a:cxn>
                      <a:cxn ang="0">
                        <a:pos x="511" y="3517"/>
                      </a:cxn>
                      <a:cxn ang="0">
                        <a:pos x="416" y="3624"/>
                      </a:cxn>
                      <a:cxn ang="0">
                        <a:pos x="190" y="3648"/>
                      </a:cxn>
                      <a:cxn ang="0">
                        <a:pos x="0" y="3624"/>
                      </a:cxn>
                      <a:cxn ang="0">
                        <a:pos x="190" y="3113"/>
                      </a:cxn>
                      <a:cxn ang="0">
                        <a:pos x="309" y="2448"/>
                      </a:cxn>
                      <a:cxn ang="0">
                        <a:pos x="333" y="2186"/>
                      </a:cxn>
                      <a:cxn ang="0">
                        <a:pos x="273" y="1806"/>
                      </a:cxn>
                      <a:cxn ang="0">
                        <a:pos x="499" y="1461"/>
                      </a:cxn>
                      <a:cxn ang="0">
                        <a:pos x="737" y="950"/>
                      </a:cxn>
                      <a:cxn ang="0">
                        <a:pos x="1022" y="534"/>
                      </a:cxn>
                      <a:cxn ang="0">
                        <a:pos x="1402" y="225"/>
                      </a:cxn>
                      <a:cxn ang="0">
                        <a:pos x="1664" y="83"/>
                      </a:cxn>
                      <a:cxn ang="0">
                        <a:pos x="2175" y="47"/>
                      </a:cxn>
                      <a:cxn ang="0">
                        <a:pos x="2460" y="130"/>
                      </a:cxn>
                      <a:cxn ang="0">
                        <a:pos x="2638" y="118"/>
                      </a:cxn>
                      <a:cxn ang="0">
                        <a:pos x="2995" y="106"/>
                      </a:cxn>
                      <a:cxn ang="0">
                        <a:pos x="3435" y="142"/>
                      </a:cxn>
                      <a:cxn ang="0">
                        <a:pos x="3744" y="261"/>
                      </a:cxn>
                      <a:cxn ang="0">
                        <a:pos x="4064" y="344"/>
                      </a:cxn>
                      <a:cxn ang="0">
                        <a:pos x="4302" y="451"/>
                      </a:cxn>
                      <a:cxn ang="0">
                        <a:pos x="4825" y="522"/>
                      </a:cxn>
                      <a:cxn ang="0">
                        <a:pos x="5158" y="653"/>
                      </a:cxn>
                      <a:cxn ang="0">
                        <a:pos x="5443" y="1033"/>
                      </a:cxn>
                      <a:cxn ang="0">
                        <a:pos x="5467" y="1331"/>
                      </a:cxn>
                      <a:cxn ang="0">
                        <a:pos x="5467" y="1592"/>
                      </a:cxn>
                      <a:cxn ang="0">
                        <a:pos x="5716" y="1996"/>
                      </a:cxn>
                      <a:cxn ang="0">
                        <a:pos x="5859" y="2269"/>
                      </a:cxn>
                      <a:cxn ang="0">
                        <a:pos x="5776" y="2662"/>
                      </a:cxn>
                      <a:cxn ang="0">
                        <a:pos x="6382" y="2662"/>
                      </a:cxn>
                      <a:cxn ang="0">
                        <a:pos x="6524" y="2864"/>
                      </a:cxn>
                      <a:cxn ang="0">
                        <a:pos x="6584" y="3173"/>
                      </a:cxn>
                      <a:cxn ang="0">
                        <a:pos x="6821" y="3137"/>
                      </a:cxn>
                      <a:cxn ang="0">
                        <a:pos x="6976" y="3339"/>
                      </a:cxn>
                    </a:cxnLst>
                    <a:rect l="0" t="0" r="r" b="b"/>
                    <a:pathLst>
                      <a:path w="7083" h="5014">
                        <a:moveTo>
                          <a:pt x="7047" y="3422"/>
                        </a:moveTo>
                        <a:lnTo>
                          <a:pt x="7000" y="3481"/>
                        </a:lnTo>
                        <a:lnTo>
                          <a:pt x="6952" y="3517"/>
                        </a:lnTo>
                        <a:lnTo>
                          <a:pt x="6881" y="3612"/>
                        </a:lnTo>
                        <a:lnTo>
                          <a:pt x="6869" y="3624"/>
                        </a:lnTo>
                        <a:lnTo>
                          <a:pt x="6857" y="3612"/>
                        </a:lnTo>
                        <a:lnTo>
                          <a:pt x="6857" y="3565"/>
                        </a:lnTo>
                        <a:lnTo>
                          <a:pt x="6881" y="3505"/>
                        </a:lnTo>
                        <a:lnTo>
                          <a:pt x="6893" y="3470"/>
                        </a:lnTo>
                        <a:lnTo>
                          <a:pt x="6940" y="3446"/>
                        </a:lnTo>
                        <a:lnTo>
                          <a:pt x="6952" y="3422"/>
                        </a:lnTo>
                        <a:lnTo>
                          <a:pt x="6952" y="3398"/>
                        </a:lnTo>
                        <a:lnTo>
                          <a:pt x="6928" y="3398"/>
                        </a:lnTo>
                        <a:lnTo>
                          <a:pt x="6869" y="3446"/>
                        </a:lnTo>
                        <a:lnTo>
                          <a:pt x="6821" y="3446"/>
                        </a:lnTo>
                        <a:lnTo>
                          <a:pt x="6798" y="3458"/>
                        </a:lnTo>
                        <a:lnTo>
                          <a:pt x="6786" y="3458"/>
                        </a:lnTo>
                        <a:lnTo>
                          <a:pt x="6774" y="3434"/>
                        </a:lnTo>
                        <a:lnTo>
                          <a:pt x="6774" y="3351"/>
                        </a:lnTo>
                        <a:lnTo>
                          <a:pt x="6762" y="3351"/>
                        </a:lnTo>
                        <a:lnTo>
                          <a:pt x="6738" y="3386"/>
                        </a:lnTo>
                        <a:lnTo>
                          <a:pt x="6726" y="3398"/>
                        </a:lnTo>
                        <a:lnTo>
                          <a:pt x="6714" y="3398"/>
                        </a:lnTo>
                        <a:lnTo>
                          <a:pt x="6691" y="3363"/>
                        </a:lnTo>
                        <a:lnTo>
                          <a:pt x="6667" y="3351"/>
                        </a:lnTo>
                        <a:lnTo>
                          <a:pt x="6655" y="3363"/>
                        </a:lnTo>
                        <a:lnTo>
                          <a:pt x="6655" y="3386"/>
                        </a:lnTo>
                        <a:lnTo>
                          <a:pt x="6667" y="3434"/>
                        </a:lnTo>
                        <a:lnTo>
                          <a:pt x="6643" y="3434"/>
                        </a:lnTo>
                        <a:lnTo>
                          <a:pt x="6631" y="3458"/>
                        </a:lnTo>
                        <a:lnTo>
                          <a:pt x="6679" y="3541"/>
                        </a:lnTo>
                        <a:lnTo>
                          <a:pt x="6679" y="3565"/>
                        </a:lnTo>
                        <a:lnTo>
                          <a:pt x="6667" y="3577"/>
                        </a:lnTo>
                        <a:lnTo>
                          <a:pt x="6643" y="3588"/>
                        </a:lnTo>
                        <a:lnTo>
                          <a:pt x="6619" y="3612"/>
                        </a:lnTo>
                        <a:lnTo>
                          <a:pt x="6584" y="3612"/>
                        </a:lnTo>
                        <a:lnTo>
                          <a:pt x="6417" y="3577"/>
                        </a:lnTo>
                        <a:lnTo>
                          <a:pt x="6370" y="3541"/>
                        </a:lnTo>
                        <a:lnTo>
                          <a:pt x="6346" y="3529"/>
                        </a:lnTo>
                        <a:lnTo>
                          <a:pt x="6346" y="3553"/>
                        </a:lnTo>
                        <a:lnTo>
                          <a:pt x="6370" y="3588"/>
                        </a:lnTo>
                        <a:lnTo>
                          <a:pt x="6394" y="3660"/>
                        </a:lnTo>
                        <a:lnTo>
                          <a:pt x="6441" y="3684"/>
                        </a:lnTo>
                        <a:lnTo>
                          <a:pt x="6489" y="3672"/>
                        </a:lnTo>
                        <a:lnTo>
                          <a:pt x="6524" y="3672"/>
                        </a:lnTo>
                        <a:lnTo>
                          <a:pt x="6608" y="3707"/>
                        </a:lnTo>
                        <a:lnTo>
                          <a:pt x="6679" y="3719"/>
                        </a:lnTo>
                        <a:lnTo>
                          <a:pt x="6703" y="3743"/>
                        </a:lnTo>
                        <a:lnTo>
                          <a:pt x="6714" y="3767"/>
                        </a:lnTo>
                        <a:lnTo>
                          <a:pt x="6691" y="3790"/>
                        </a:lnTo>
                        <a:lnTo>
                          <a:pt x="6631" y="3814"/>
                        </a:lnTo>
                        <a:lnTo>
                          <a:pt x="6572" y="3886"/>
                        </a:lnTo>
                        <a:lnTo>
                          <a:pt x="6536" y="3969"/>
                        </a:lnTo>
                        <a:lnTo>
                          <a:pt x="6512" y="4052"/>
                        </a:lnTo>
                        <a:lnTo>
                          <a:pt x="6501" y="4064"/>
                        </a:lnTo>
                        <a:lnTo>
                          <a:pt x="6477" y="4064"/>
                        </a:lnTo>
                        <a:lnTo>
                          <a:pt x="6417" y="4052"/>
                        </a:lnTo>
                        <a:lnTo>
                          <a:pt x="6358" y="4064"/>
                        </a:lnTo>
                        <a:lnTo>
                          <a:pt x="6334" y="4076"/>
                        </a:lnTo>
                        <a:lnTo>
                          <a:pt x="6322" y="4088"/>
                        </a:lnTo>
                        <a:lnTo>
                          <a:pt x="6322" y="4099"/>
                        </a:lnTo>
                        <a:lnTo>
                          <a:pt x="6406" y="4123"/>
                        </a:lnTo>
                        <a:lnTo>
                          <a:pt x="6465" y="4099"/>
                        </a:lnTo>
                        <a:lnTo>
                          <a:pt x="6477" y="4099"/>
                        </a:lnTo>
                        <a:lnTo>
                          <a:pt x="6477" y="4135"/>
                        </a:lnTo>
                        <a:lnTo>
                          <a:pt x="6441" y="4218"/>
                        </a:lnTo>
                        <a:lnTo>
                          <a:pt x="6394" y="4206"/>
                        </a:lnTo>
                        <a:lnTo>
                          <a:pt x="6358" y="4206"/>
                        </a:lnTo>
                        <a:lnTo>
                          <a:pt x="6275" y="4195"/>
                        </a:lnTo>
                        <a:lnTo>
                          <a:pt x="6168" y="4183"/>
                        </a:lnTo>
                        <a:lnTo>
                          <a:pt x="6037" y="4195"/>
                        </a:lnTo>
                        <a:lnTo>
                          <a:pt x="6013" y="4242"/>
                        </a:lnTo>
                        <a:lnTo>
                          <a:pt x="5930" y="4242"/>
                        </a:lnTo>
                        <a:lnTo>
                          <a:pt x="5835" y="4230"/>
                        </a:lnTo>
                        <a:lnTo>
                          <a:pt x="5776" y="4242"/>
                        </a:lnTo>
                        <a:lnTo>
                          <a:pt x="5728" y="4278"/>
                        </a:lnTo>
                        <a:lnTo>
                          <a:pt x="5692" y="4325"/>
                        </a:lnTo>
                        <a:lnTo>
                          <a:pt x="5681" y="4349"/>
                        </a:lnTo>
                        <a:lnTo>
                          <a:pt x="5633" y="4361"/>
                        </a:lnTo>
                        <a:lnTo>
                          <a:pt x="5586" y="4397"/>
                        </a:lnTo>
                        <a:lnTo>
                          <a:pt x="5514" y="4408"/>
                        </a:lnTo>
                        <a:lnTo>
                          <a:pt x="5467" y="4456"/>
                        </a:lnTo>
                        <a:lnTo>
                          <a:pt x="5443" y="4468"/>
                        </a:lnTo>
                        <a:lnTo>
                          <a:pt x="5372" y="4480"/>
                        </a:lnTo>
                        <a:lnTo>
                          <a:pt x="5336" y="4468"/>
                        </a:lnTo>
                        <a:lnTo>
                          <a:pt x="5098" y="4266"/>
                        </a:lnTo>
                        <a:lnTo>
                          <a:pt x="5027" y="4218"/>
                        </a:lnTo>
                        <a:lnTo>
                          <a:pt x="5015" y="4218"/>
                        </a:lnTo>
                        <a:lnTo>
                          <a:pt x="4979" y="4230"/>
                        </a:lnTo>
                        <a:lnTo>
                          <a:pt x="4944" y="4206"/>
                        </a:lnTo>
                        <a:lnTo>
                          <a:pt x="4920" y="4218"/>
                        </a:lnTo>
                        <a:lnTo>
                          <a:pt x="4884" y="4206"/>
                        </a:lnTo>
                        <a:lnTo>
                          <a:pt x="4849" y="4230"/>
                        </a:lnTo>
                        <a:lnTo>
                          <a:pt x="4813" y="4242"/>
                        </a:lnTo>
                        <a:lnTo>
                          <a:pt x="4766" y="4218"/>
                        </a:lnTo>
                        <a:lnTo>
                          <a:pt x="4754" y="4218"/>
                        </a:lnTo>
                        <a:lnTo>
                          <a:pt x="4718" y="4266"/>
                        </a:lnTo>
                        <a:lnTo>
                          <a:pt x="4706" y="4254"/>
                        </a:lnTo>
                        <a:lnTo>
                          <a:pt x="4694" y="4218"/>
                        </a:lnTo>
                        <a:lnTo>
                          <a:pt x="4682" y="4218"/>
                        </a:lnTo>
                        <a:lnTo>
                          <a:pt x="4670" y="4230"/>
                        </a:lnTo>
                        <a:lnTo>
                          <a:pt x="4635" y="4218"/>
                        </a:lnTo>
                        <a:lnTo>
                          <a:pt x="4587" y="4290"/>
                        </a:lnTo>
                        <a:lnTo>
                          <a:pt x="4540" y="4290"/>
                        </a:lnTo>
                        <a:lnTo>
                          <a:pt x="4516" y="4242"/>
                        </a:lnTo>
                        <a:lnTo>
                          <a:pt x="4480" y="4218"/>
                        </a:lnTo>
                        <a:lnTo>
                          <a:pt x="4457" y="4218"/>
                        </a:lnTo>
                        <a:lnTo>
                          <a:pt x="4421" y="4195"/>
                        </a:lnTo>
                        <a:lnTo>
                          <a:pt x="4385" y="4195"/>
                        </a:lnTo>
                        <a:lnTo>
                          <a:pt x="4361" y="4206"/>
                        </a:lnTo>
                        <a:lnTo>
                          <a:pt x="4350" y="4195"/>
                        </a:lnTo>
                        <a:lnTo>
                          <a:pt x="4314" y="4183"/>
                        </a:lnTo>
                        <a:lnTo>
                          <a:pt x="4290" y="4195"/>
                        </a:lnTo>
                        <a:lnTo>
                          <a:pt x="4290" y="4230"/>
                        </a:lnTo>
                        <a:lnTo>
                          <a:pt x="4255" y="4242"/>
                        </a:lnTo>
                        <a:lnTo>
                          <a:pt x="4219" y="4290"/>
                        </a:lnTo>
                        <a:lnTo>
                          <a:pt x="4159" y="4385"/>
                        </a:lnTo>
                        <a:lnTo>
                          <a:pt x="4136" y="4444"/>
                        </a:lnTo>
                        <a:lnTo>
                          <a:pt x="4064" y="4444"/>
                        </a:lnTo>
                        <a:lnTo>
                          <a:pt x="4041" y="4468"/>
                        </a:lnTo>
                        <a:lnTo>
                          <a:pt x="4017" y="4456"/>
                        </a:lnTo>
                        <a:lnTo>
                          <a:pt x="3969" y="4492"/>
                        </a:lnTo>
                        <a:lnTo>
                          <a:pt x="3957" y="4480"/>
                        </a:lnTo>
                        <a:lnTo>
                          <a:pt x="3946" y="4456"/>
                        </a:lnTo>
                        <a:lnTo>
                          <a:pt x="3934" y="4456"/>
                        </a:lnTo>
                        <a:lnTo>
                          <a:pt x="3910" y="4492"/>
                        </a:lnTo>
                        <a:lnTo>
                          <a:pt x="3898" y="4492"/>
                        </a:lnTo>
                        <a:lnTo>
                          <a:pt x="3839" y="4432"/>
                        </a:lnTo>
                        <a:lnTo>
                          <a:pt x="3779" y="4432"/>
                        </a:lnTo>
                        <a:lnTo>
                          <a:pt x="3755" y="4503"/>
                        </a:lnTo>
                        <a:lnTo>
                          <a:pt x="3755" y="4515"/>
                        </a:lnTo>
                        <a:lnTo>
                          <a:pt x="3744" y="4515"/>
                        </a:lnTo>
                        <a:lnTo>
                          <a:pt x="3732" y="4515"/>
                        </a:lnTo>
                        <a:lnTo>
                          <a:pt x="3660" y="4503"/>
                        </a:lnTo>
                        <a:lnTo>
                          <a:pt x="3625" y="4492"/>
                        </a:lnTo>
                        <a:lnTo>
                          <a:pt x="3601" y="4515"/>
                        </a:lnTo>
                        <a:lnTo>
                          <a:pt x="3553" y="4575"/>
                        </a:lnTo>
                        <a:lnTo>
                          <a:pt x="3530" y="4717"/>
                        </a:lnTo>
                        <a:lnTo>
                          <a:pt x="3542" y="4753"/>
                        </a:lnTo>
                        <a:lnTo>
                          <a:pt x="3530" y="4789"/>
                        </a:lnTo>
                        <a:lnTo>
                          <a:pt x="3542" y="4812"/>
                        </a:lnTo>
                        <a:lnTo>
                          <a:pt x="3601" y="4812"/>
                        </a:lnTo>
                        <a:lnTo>
                          <a:pt x="3637" y="4860"/>
                        </a:lnTo>
                        <a:lnTo>
                          <a:pt x="3589" y="4931"/>
                        </a:lnTo>
                        <a:lnTo>
                          <a:pt x="3553" y="4943"/>
                        </a:lnTo>
                        <a:lnTo>
                          <a:pt x="3470" y="4955"/>
                        </a:lnTo>
                        <a:lnTo>
                          <a:pt x="3423" y="5014"/>
                        </a:lnTo>
                        <a:lnTo>
                          <a:pt x="3387" y="4991"/>
                        </a:lnTo>
                        <a:lnTo>
                          <a:pt x="3316" y="4908"/>
                        </a:lnTo>
                        <a:lnTo>
                          <a:pt x="3304" y="4908"/>
                        </a:lnTo>
                        <a:lnTo>
                          <a:pt x="3268" y="4884"/>
                        </a:lnTo>
                        <a:lnTo>
                          <a:pt x="3149" y="4860"/>
                        </a:lnTo>
                        <a:lnTo>
                          <a:pt x="3090" y="4860"/>
                        </a:lnTo>
                        <a:lnTo>
                          <a:pt x="2971" y="4896"/>
                        </a:lnTo>
                        <a:lnTo>
                          <a:pt x="2876" y="4872"/>
                        </a:lnTo>
                        <a:lnTo>
                          <a:pt x="2840" y="4812"/>
                        </a:lnTo>
                        <a:lnTo>
                          <a:pt x="2805" y="4789"/>
                        </a:lnTo>
                        <a:lnTo>
                          <a:pt x="2722" y="4789"/>
                        </a:lnTo>
                        <a:lnTo>
                          <a:pt x="2579" y="4717"/>
                        </a:lnTo>
                        <a:lnTo>
                          <a:pt x="2531" y="4706"/>
                        </a:lnTo>
                        <a:lnTo>
                          <a:pt x="2365" y="4646"/>
                        </a:lnTo>
                        <a:lnTo>
                          <a:pt x="2199" y="4622"/>
                        </a:lnTo>
                        <a:lnTo>
                          <a:pt x="2104" y="4599"/>
                        </a:lnTo>
                        <a:lnTo>
                          <a:pt x="2044" y="4551"/>
                        </a:lnTo>
                        <a:lnTo>
                          <a:pt x="2008" y="4539"/>
                        </a:lnTo>
                        <a:lnTo>
                          <a:pt x="1913" y="4563"/>
                        </a:lnTo>
                        <a:lnTo>
                          <a:pt x="1771" y="4539"/>
                        </a:lnTo>
                        <a:lnTo>
                          <a:pt x="1628" y="4563"/>
                        </a:lnTo>
                        <a:lnTo>
                          <a:pt x="1569" y="4551"/>
                        </a:lnTo>
                        <a:lnTo>
                          <a:pt x="1521" y="4527"/>
                        </a:lnTo>
                        <a:lnTo>
                          <a:pt x="1450" y="4492"/>
                        </a:lnTo>
                        <a:lnTo>
                          <a:pt x="1402" y="4397"/>
                        </a:lnTo>
                        <a:lnTo>
                          <a:pt x="1331" y="4397"/>
                        </a:lnTo>
                        <a:lnTo>
                          <a:pt x="1236" y="4444"/>
                        </a:lnTo>
                        <a:lnTo>
                          <a:pt x="1189" y="4456"/>
                        </a:lnTo>
                        <a:lnTo>
                          <a:pt x="1093" y="4444"/>
                        </a:lnTo>
                        <a:lnTo>
                          <a:pt x="975" y="4397"/>
                        </a:lnTo>
                        <a:lnTo>
                          <a:pt x="939" y="4290"/>
                        </a:lnTo>
                        <a:lnTo>
                          <a:pt x="915" y="4278"/>
                        </a:lnTo>
                        <a:lnTo>
                          <a:pt x="891" y="4230"/>
                        </a:lnTo>
                        <a:lnTo>
                          <a:pt x="891" y="4135"/>
                        </a:lnTo>
                        <a:lnTo>
                          <a:pt x="868" y="4099"/>
                        </a:lnTo>
                        <a:lnTo>
                          <a:pt x="820" y="4076"/>
                        </a:lnTo>
                        <a:lnTo>
                          <a:pt x="808" y="4052"/>
                        </a:lnTo>
                        <a:lnTo>
                          <a:pt x="808" y="4016"/>
                        </a:lnTo>
                        <a:lnTo>
                          <a:pt x="820" y="3969"/>
                        </a:lnTo>
                        <a:lnTo>
                          <a:pt x="796" y="3921"/>
                        </a:lnTo>
                        <a:lnTo>
                          <a:pt x="808" y="3838"/>
                        </a:lnTo>
                        <a:lnTo>
                          <a:pt x="796" y="3826"/>
                        </a:lnTo>
                        <a:lnTo>
                          <a:pt x="773" y="3802"/>
                        </a:lnTo>
                        <a:lnTo>
                          <a:pt x="761" y="3790"/>
                        </a:lnTo>
                        <a:lnTo>
                          <a:pt x="773" y="3743"/>
                        </a:lnTo>
                        <a:lnTo>
                          <a:pt x="761" y="3684"/>
                        </a:lnTo>
                        <a:lnTo>
                          <a:pt x="749" y="3672"/>
                        </a:lnTo>
                        <a:lnTo>
                          <a:pt x="701" y="3684"/>
                        </a:lnTo>
                        <a:lnTo>
                          <a:pt x="630" y="3600"/>
                        </a:lnTo>
                        <a:lnTo>
                          <a:pt x="571" y="3600"/>
                        </a:lnTo>
                        <a:lnTo>
                          <a:pt x="523" y="3612"/>
                        </a:lnTo>
                        <a:lnTo>
                          <a:pt x="499" y="3612"/>
                        </a:lnTo>
                        <a:lnTo>
                          <a:pt x="475" y="3588"/>
                        </a:lnTo>
                        <a:lnTo>
                          <a:pt x="475" y="3577"/>
                        </a:lnTo>
                        <a:lnTo>
                          <a:pt x="511" y="3529"/>
                        </a:lnTo>
                        <a:lnTo>
                          <a:pt x="511" y="3517"/>
                        </a:lnTo>
                        <a:lnTo>
                          <a:pt x="487" y="3517"/>
                        </a:lnTo>
                        <a:lnTo>
                          <a:pt x="440" y="3553"/>
                        </a:lnTo>
                        <a:lnTo>
                          <a:pt x="404" y="3553"/>
                        </a:lnTo>
                        <a:lnTo>
                          <a:pt x="404" y="3577"/>
                        </a:lnTo>
                        <a:lnTo>
                          <a:pt x="452" y="3600"/>
                        </a:lnTo>
                        <a:lnTo>
                          <a:pt x="440" y="3624"/>
                        </a:lnTo>
                        <a:lnTo>
                          <a:pt x="416" y="3624"/>
                        </a:lnTo>
                        <a:lnTo>
                          <a:pt x="380" y="3600"/>
                        </a:lnTo>
                        <a:lnTo>
                          <a:pt x="333" y="3612"/>
                        </a:lnTo>
                        <a:lnTo>
                          <a:pt x="321" y="3588"/>
                        </a:lnTo>
                        <a:lnTo>
                          <a:pt x="297" y="3588"/>
                        </a:lnTo>
                        <a:lnTo>
                          <a:pt x="262" y="3600"/>
                        </a:lnTo>
                        <a:lnTo>
                          <a:pt x="226" y="3648"/>
                        </a:lnTo>
                        <a:lnTo>
                          <a:pt x="190" y="3648"/>
                        </a:lnTo>
                        <a:lnTo>
                          <a:pt x="155" y="3672"/>
                        </a:lnTo>
                        <a:lnTo>
                          <a:pt x="143" y="3684"/>
                        </a:lnTo>
                        <a:lnTo>
                          <a:pt x="95" y="3695"/>
                        </a:lnTo>
                        <a:lnTo>
                          <a:pt x="83" y="3672"/>
                        </a:lnTo>
                        <a:lnTo>
                          <a:pt x="60" y="3636"/>
                        </a:lnTo>
                        <a:lnTo>
                          <a:pt x="24" y="3624"/>
                        </a:lnTo>
                        <a:lnTo>
                          <a:pt x="0" y="3624"/>
                        </a:lnTo>
                        <a:lnTo>
                          <a:pt x="12" y="3600"/>
                        </a:lnTo>
                        <a:lnTo>
                          <a:pt x="12" y="3505"/>
                        </a:lnTo>
                        <a:lnTo>
                          <a:pt x="36" y="3446"/>
                        </a:lnTo>
                        <a:lnTo>
                          <a:pt x="143" y="3279"/>
                        </a:lnTo>
                        <a:lnTo>
                          <a:pt x="167" y="3196"/>
                        </a:lnTo>
                        <a:lnTo>
                          <a:pt x="190" y="3173"/>
                        </a:lnTo>
                        <a:lnTo>
                          <a:pt x="190" y="3113"/>
                        </a:lnTo>
                        <a:lnTo>
                          <a:pt x="167" y="3030"/>
                        </a:lnTo>
                        <a:lnTo>
                          <a:pt x="178" y="2959"/>
                        </a:lnTo>
                        <a:lnTo>
                          <a:pt x="178" y="2840"/>
                        </a:lnTo>
                        <a:lnTo>
                          <a:pt x="226" y="2733"/>
                        </a:lnTo>
                        <a:lnTo>
                          <a:pt x="297" y="2519"/>
                        </a:lnTo>
                        <a:lnTo>
                          <a:pt x="285" y="2483"/>
                        </a:lnTo>
                        <a:lnTo>
                          <a:pt x="309" y="2448"/>
                        </a:lnTo>
                        <a:lnTo>
                          <a:pt x="309" y="2412"/>
                        </a:lnTo>
                        <a:lnTo>
                          <a:pt x="273" y="2353"/>
                        </a:lnTo>
                        <a:lnTo>
                          <a:pt x="273" y="2341"/>
                        </a:lnTo>
                        <a:lnTo>
                          <a:pt x="285" y="2317"/>
                        </a:lnTo>
                        <a:lnTo>
                          <a:pt x="297" y="2281"/>
                        </a:lnTo>
                        <a:lnTo>
                          <a:pt x="297" y="2281"/>
                        </a:lnTo>
                        <a:lnTo>
                          <a:pt x="333" y="2186"/>
                        </a:lnTo>
                        <a:lnTo>
                          <a:pt x="345" y="2127"/>
                        </a:lnTo>
                        <a:lnTo>
                          <a:pt x="297" y="2032"/>
                        </a:lnTo>
                        <a:lnTo>
                          <a:pt x="273" y="1925"/>
                        </a:lnTo>
                        <a:lnTo>
                          <a:pt x="273" y="1901"/>
                        </a:lnTo>
                        <a:lnTo>
                          <a:pt x="285" y="1877"/>
                        </a:lnTo>
                        <a:lnTo>
                          <a:pt x="297" y="1842"/>
                        </a:lnTo>
                        <a:lnTo>
                          <a:pt x="273" y="1806"/>
                        </a:lnTo>
                        <a:lnTo>
                          <a:pt x="297" y="1782"/>
                        </a:lnTo>
                        <a:lnTo>
                          <a:pt x="297" y="1782"/>
                        </a:lnTo>
                        <a:lnTo>
                          <a:pt x="345" y="1770"/>
                        </a:lnTo>
                        <a:lnTo>
                          <a:pt x="404" y="1687"/>
                        </a:lnTo>
                        <a:lnTo>
                          <a:pt x="475" y="1604"/>
                        </a:lnTo>
                        <a:lnTo>
                          <a:pt x="487" y="1556"/>
                        </a:lnTo>
                        <a:lnTo>
                          <a:pt x="499" y="1461"/>
                        </a:lnTo>
                        <a:lnTo>
                          <a:pt x="535" y="1390"/>
                        </a:lnTo>
                        <a:lnTo>
                          <a:pt x="535" y="1295"/>
                        </a:lnTo>
                        <a:lnTo>
                          <a:pt x="571" y="1224"/>
                        </a:lnTo>
                        <a:lnTo>
                          <a:pt x="594" y="1152"/>
                        </a:lnTo>
                        <a:lnTo>
                          <a:pt x="630" y="1093"/>
                        </a:lnTo>
                        <a:lnTo>
                          <a:pt x="654" y="1057"/>
                        </a:lnTo>
                        <a:lnTo>
                          <a:pt x="737" y="950"/>
                        </a:lnTo>
                        <a:lnTo>
                          <a:pt x="773" y="926"/>
                        </a:lnTo>
                        <a:lnTo>
                          <a:pt x="796" y="915"/>
                        </a:lnTo>
                        <a:lnTo>
                          <a:pt x="832" y="903"/>
                        </a:lnTo>
                        <a:lnTo>
                          <a:pt x="880" y="867"/>
                        </a:lnTo>
                        <a:lnTo>
                          <a:pt x="927" y="820"/>
                        </a:lnTo>
                        <a:lnTo>
                          <a:pt x="986" y="713"/>
                        </a:lnTo>
                        <a:lnTo>
                          <a:pt x="1022" y="534"/>
                        </a:lnTo>
                        <a:lnTo>
                          <a:pt x="1046" y="499"/>
                        </a:lnTo>
                        <a:lnTo>
                          <a:pt x="1058" y="427"/>
                        </a:lnTo>
                        <a:lnTo>
                          <a:pt x="1082" y="404"/>
                        </a:lnTo>
                        <a:lnTo>
                          <a:pt x="1117" y="380"/>
                        </a:lnTo>
                        <a:lnTo>
                          <a:pt x="1165" y="332"/>
                        </a:lnTo>
                        <a:lnTo>
                          <a:pt x="1331" y="249"/>
                        </a:lnTo>
                        <a:lnTo>
                          <a:pt x="1402" y="225"/>
                        </a:lnTo>
                        <a:lnTo>
                          <a:pt x="1414" y="213"/>
                        </a:lnTo>
                        <a:lnTo>
                          <a:pt x="1509" y="178"/>
                        </a:lnTo>
                        <a:lnTo>
                          <a:pt x="1545" y="154"/>
                        </a:lnTo>
                        <a:lnTo>
                          <a:pt x="1581" y="95"/>
                        </a:lnTo>
                        <a:lnTo>
                          <a:pt x="1581" y="95"/>
                        </a:lnTo>
                        <a:lnTo>
                          <a:pt x="1628" y="95"/>
                        </a:lnTo>
                        <a:lnTo>
                          <a:pt x="1664" y="83"/>
                        </a:lnTo>
                        <a:lnTo>
                          <a:pt x="1806" y="23"/>
                        </a:lnTo>
                        <a:lnTo>
                          <a:pt x="1830" y="35"/>
                        </a:lnTo>
                        <a:lnTo>
                          <a:pt x="1866" y="59"/>
                        </a:lnTo>
                        <a:lnTo>
                          <a:pt x="1890" y="71"/>
                        </a:lnTo>
                        <a:lnTo>
                          <a:pt x="2020" y="83"/>
                        </a:lnTo>
                        <a:lnTo>
                          <a:pt x="2115" y="83"/>
                        </a:lnTo>
                        <a:lnTo>
                          <a:pt x="2175" y="47"/>
                        </a:lnTo>
                        <a:lnTo>
                          <a:pt x="2199" y="47"/>
                        </a:lnTo>
                        <a:lnTo>
                          <a:pt x="2234" y="71"/>
                        </a:lnTo>
                        <a:lnTo>
                          <a:pt x="2270" y="106"/>
                        </a:lnTo>
                        <a:lnTo>
                          <a:pt x="2282" y="118"/>
                        </a:lnTo>
                        <a:lnTo>
                          <a:pt x="2365" y="106"/>
                        </a:lnTo>
                        <a:lnTo>
                          <a:pt x="2424" y="130"/>
                        </a:lnTo>
                        <a:lnTo>
                          <a:pt x="2460" y="130"/>
                        </a:lnTo>
                        <a:lnTo>
                          <a:pt x="2519" y="95"/>
                        </a:lnTo>
                        <a:lnTo>
                          <a:pt x="2543" y="95"/>
                        </a:lnTo>
                        <a:lnTo>
                          <a:pt x="2567" y="118"/>
                        </a:lnTo>
                        <a:lnTo>
                          <a:pt x="2579" y="142"/>
                        </a:lnTo>
                        <a:lnTo>
                          <a:pt x="2603" y="142"/>
                        </a:lnTo>
                        <a:lnTo>
                          <a:pt x="2615" y="142"/>
                        </a:lnTo>
                        <a:lnTo>
                          <a:pt x="2638" y="118"/>
                        </a:lnTo>
                        <a:lnTo>
                          <a:pt x="2650" y="47"/>
                        </a:lnTo>
                        <a:lnTo>
                          <a:pt x="2674" y="11"/>
                        </a:lnTo>
                        <a:lnTo>
                          <a:pt x="2710" y="0"/>
                        </a:lnTo>
                        <a:lnTo>
                          <a:pt x="2805" y="11"/>
                        </a:lnTo>
                        <a:lnTo>
                          <a:pt x="2828" y="0"/>
                        </a:lnTo>
                        <a:lnTo>
                          <a:pt x="2876" y="23"/>
                        </a:lnTo>
                        <a:lnTo>
                          <a:pt x="2995" y="106"/>
                        </a:lnTo>
                        <a:lnTo>
                          <a:pt x="3102" y="106"/>
                        </a:lnTo>
                        <a:lnTo>
                          <a:pt x="3149" y="154"/>
                        </a:lnTo>
                        <a:lnTo>
                          <a:pt x="3256" y="154"/>
                        </a:lnTo>
                        <a:lnTo>
                          <a:pt x="3328" y="178"/>
                        </a:lnTo>
                        <a:lnTo>
                          <a:pt x="3363" y="166"/>
                        </a:lnTo>
                        <a:lnTo>
                          <a:pt x="3399" y="154"/>
                        </a:lnTo>
                        <a:lnTo>
                          <a:pt x="3435" y="142"/>
                        </a:lnTo>
                        <a:lnTo>
                          <a:pt x="3494" y="142"/>
                        </a:lnTo>
                        <a:lnTo>
                          <a:pt x="3542" y="166"/>
                        </a:lnTo>
                        <a:lnTo>
                          <a:pt x="3601" y="178"/>
                        </a:lnTo>
                        <a:lnTo>
                          <a:pt x="3613" y="166"/>
                        </a:lnTo>
                        <a:lnTo>
                          <a:pt x="3660" y="178"/>
                        </a:lnTo>
                        <a:lnTo>
                          <a:pt x="3684" y="213"/>
                        </a:lnTo>
                        <a:lnTo>
                          <a:pt x="3744" y="261"/>
                        </a:lnTo>
                        <a:lnTo>
                          <a:pt x="3779" y="273"/>
                        </a:lnTo>
                        <a:lnTo>
                          <a:pt x="3803" y="261"/>
                        </a:lnTo>
                        <a:lnTo>
                          <a:pt x="3839" y="261"/>
                        </a:lnTo>
                        <a:lnTo>
                          <a:pt x="3874" y="297"/>
                        </a:lnTo>
                        <a:lnTo>
                          <a:pt x="3934" y="309"/>
                        </a:lnTo>
                        <a:lnTo>
                          <a:pt x="4005" y="332"/>
                        </a:lnTo>
                        <a:lnTo>
                          <a:pt x="4064" y="344"/>
                        </a:lnTo>
                        <a:lnTo>
                          <a:pt x="4088" y="356"/>
                        </a:lnTo>
                        <a:lnTo>
                          <a:pt x="4100" y="380"/>
                        </a:lnTo>
                        <a:lnTo>
                          <a:pt x="4124" y="427"/>
                        </a:lnTo>
                        <a:lnTo>
                          <a:pt x="4171" y="463"/>
                        </a:lnTo>
                        <a:lnTo>
                          <a:pt x="4219" y="487"/>
                        </a:lnTo>
                        <a:lnTo>
                          <a:pt x="4266" y="451"/>
                        </a:lnTo>
                        <a:lnTo>
                          <a:pt x="4302" y="451"/>
                        </a:lnTo>
                        <a:lnTo>
                          <a:pt x="4338" y="463"/>
                        </a:lnTo>
                        <a:lnTo>
                          <a:pt x="4421" y="463"/>
                        </a:lnTo>
                        <a:lnTo>
                          <a:pt x="4504" y="499"/>
                        </a:lnTo>
                        <a:lnTo>
                          <a:pt x="4587" y="499"/>
                        </a:lnTo>
                        <a:lnTo>
                          <a:pt x="4659" y="511"/>
                        </a:lnTo>
                        <a:lnTo>
                          <a:pt x="4718" y="511"/>
                        </a:lnTo>
                        <a:lnTo>
                          <a:pt x="4825" y="522"/>
                        </a:lnTo>
                        <a:lnTo>
                          <a:pt x="4908" y="499"/>
                        </a:lnTo>
                        <a:lnTo>
                          <a:pt x="4944" y="487"/>
                        </a:lnTo>
                        <a:lnTo>
                          <a:pt x="4979" y="487"/>
                        </a:lnTo>
                        <a:lnTo>
                          <a:pt x="5003" y="487"/>
                        </a:lnTo>
                        <a:lnTo>
                          <a:pt x="5063" y="546"/>
                        </a:lnTo>
                        <a:lnTo>
                          <a:pt x="5086" y="582"/>
                        </a:lnTo>
                        <a:lnTo>
                          <a:pt x="5158" y="653"/>
                        </a:lnTo>
                        <a:lnTo>
                          <a:pt x="5241" y="689"/>
                        </a:lnTo>
                        <a:lnTo>
                          <a:pt x="5277" y="713"/>
                        </a:lnTo>
                        <a:lnTo>
                          <a:pt x="5324" y="713"/>
                        </a:lnTo>
                        <a:lnTo>
                          <a:pt x="5348" y="736"/>
                        </a:lnTo>
                        <a:lnTo>
                          <a:pt x="5419" y="831"/>
                        </a:lnTo>
                        <a:lnTo>
                          <a:pt x="5443" y="926"/>
                        </a:lnTo>
                        <a:lnTo>
                          <a:pt x="5443" y="1033"/>
                        </a:lnTo>
                        <a:lnTo>
                          <a:pt x="5467" y="1081"/>
                        </a:lnTo>
                        <a:lnTo>
                          <a:pt x="5479" y="1117"/>
                        </a:lnTo>
                        <a:lnTo>
                          <a:pt x="5455" y="1176"/>
                        </a:lnTo>
                        <a:lnTo>
                          <a:pt x="5443" y="1224"/>
                        </a:lnTo>
                        <a:lnTo>
                          <a:pt x="5455" y="1259"/>
                        </a:lnTo>
                        <a:lnTo>
                          <a:pt x="5455" y="1271"/>
                        </a:lnTo>
                        <a:lnTo>
                          <a:pt x="5467" y="1331"/>
                        </a:lnTo>
                        <a:lnTo>
                          <a:pt x="5502" y="1402"/>
                        </a:lnTo>
                        <a:lnTo>
                          <a:pt x="5514" y="1414"/>
                        </a:lnTo>
                        <a:lnTo>
                          <a:pt x="5514" y="1449"/>
                        </a:lnTo>
                        <a:lnTo>
                          <a:pt x="5502" y="1497"/>
                        </a:lnTo>
                        <a:lnTo>
                          <a:pt x="5502" y="1556"/>
                        </a:lnTo>
                        <a:lnTo>
                          <a:pt x="5490" y="1580"/>
                        </a:lnTo>
                        <a:lnTo>
                          <a:pt x="5467" y="1592"/>
                        </a:lnTo>
                        <a:lnTo>
                          <a:pt x="5467" y="1628"/>
                        </a:lnTo>
                        <a:lnTo>
                          <a:pt x="5550" y="1723"/>
                        </a:lnTo>
                        <a:lnTo>
                          <a:pt x="5538" y="1782"/>
                        </a:lnTo>
                        <a:lnTo>
                          <a:pt x="5562" y="1830"/>
                        </a:lnTo>
                        <a:lnTo>
                          <a:pt x="5657" y="1937"/>
                        </a:lnTo>
                        <a:lnTo>
                          <a:pt x="5704" y="1984"/>
                        </a:lnTo>
                        <a:lnTo>
                          <a:pt x="5716" y="1996"/>
                        </a:lnTo>
                        <a:lnTo>
                          <a:pt x="5716" y="2067"/>
                        </a:lnTo>
                        <a:lnTo>
                          <a:pt x="5740" y="2103"/>
                        </a:lnTo>
                        <a:lnTo>
                          <a:pt x="5752" y="2139"/>
                        </a:lnTo>
                        <a:lnTo>
                          <a:pt x="5776" y="2174"/>
                        </a:lnTo>
                        <a:lnTo>
                          <a:pt x="5835" y="2222"/>
                        </a:lnTo>
                        <a:lnTo>
                          <a:pt x="5859" y="2246"/>
                        </a:lnTo>
                        <a:lnTo>
                          <a:pt x="5859" y="2269"/>
                        </a:lnTo>
                        <a:lnTo>
                          <a:pt x="5788" y="2353"/>
                        </a:lnTo>
                        <a:lnTo>
                          <a:pt x="5740" y="2412"/>
                        </a:lnTo>
                        <a:lnTo>
                          <a:pt x="5728" y="2436"/>
                        </a:lnTo>
                        <a:lnTo>
                          <a:pt x="5716" y="2495"/>
                        </a:lnTo>
                        <a:lnTo>
                          <a:pt x="5728" y="2590"/>
                        </a:lnTo>
                        <a:lnTo>
                          <a:pt x="5740" y="2626"/>
                        </a:lnTo>
                        <a:lnTo>
                          <a:pt x="5776" y="2662"/>
                        </a:lnTo>
                        <a:lnTo>
                          <a:pt x="6001" y="2662"/>
                        </a:lnTo>
                        <a:lnTo>
                          <a:pt x="6085" y="2614"/>
                        </a:lnTo>
                        <a:lnTo>
                          <a:pt x="6120" y="2626"/>
                        </a:lnTo>
                        <a:lnTo>
                          <a:pt x="6168" y="2650"/>
                        </a:lnTo>
                        <a:lnTo>
                          <a:pt x="6239" y="2650"/>
                        </a:lnTo>
                        <a:lnTo>
                          <a:pt x="6334" y="2662"/>
                        </a:lnTo>
                        <a:lnTo>
                          <a:pt x="6382" y="2662"/>
                        </a:lnTo>
                        <a:lnTo>
                          <a:pt x="6465" y="2638"/>
                        </a:lnTo>
                        <a:lnTo>
                          <a:pt x="6465" y="2662"/>
                        </a:lnTo>
                        <a:lnTo>
                          <a:pt x="6477" y="2673"/>
                        </a:lnTo>
                        <a:lnTo>
                          <a:pt x="6572" y="2697"/>
                        </a:lnTo>
                        <a:lnTo>
                          <a:pt x="6596" y="2721"/>
                        </a:lnTo>
                        <a:lnTo>
                          <a:pt x="6584" y="2757"/>
                        </a:lnTo>
                        <a:lnTo>
                          <a:pt x="6524" y="2864"/>
                        </a:lnTo>
                        <a:lnTo>
                          <a:pt x="6512" y="2899"/>
                        </a:lnTo>
                        <a:lnTo>
                          <a:pt x="6524" y="2959"/>
                        </a:lnTo>
                        <a:lnTo>
                          <a:pt x="6501" y="2994"/>
                        </a:lnTo>
                        <a:lnTo>
                          <a:pt x="6489" y="3042"/>
                        </a:lnTo>
                        <a:lnTo>
                          <a:pt x="6465" y="3077"/>
                        </a:lnTo>
                        <a:lnTo>
                          <a:pt x="6489" y="3113"/>
                        </a:lnTo>
                        <a:lnTo>
                          <a:pt x="6584" y="3173"/>
                        </a:lnTo>
                        <a:lnTo>
                          <a:pt x="6619" y="3161"/>
                        </a:lnTo>
                        <a:lnTo>
                          <a:pt x="6643" y="3149"/>
                        </a:lnTo>
                        <a:lnTo>
                          <a:pt x="6691" y="3101"/>
                        </a:lnTo>
                        <a:lnTo>
                          <a:pt x="6703" y="3089"/>
                        </a:lnTo>
                        <a:lnTo>
                          <a:pt x="6774" y="3113"/>
                        </a:lnTo>
                        <a:lnTo>
                          <a:pt x="6798" y="3137"/>
                        </a:lnTo>
                        <a:lnTo>
                          <a:pt x="6821" y="3137"/>
                        </a:lnTo>
                        <a:lnTo>
                          <a:pt x="6917" y="3077"/>
                        </a:lnTo>
                        <a:lnTo>
                          <a:pt x="6940" y="3089"/>
                        </a:lnTo>
                        <a:lnTo>
                          <a:pt x="6952" y="3089"/>
                        </a:lnTo>
                        <a:lnTo>
                          <a:pt x="6952" y="3113"/>
                        </a:lnTo>
                        <a:lnTo>
                          <a:pt x="6952" y="3161"/>
                        </a:lnTo>
                        <a:lnTo>
                          <a:pt x="6988" y="3268"/>
                        </a:lnTo>
                        <a:lnTo>
                          <a:pt x="6976" y="3339"/>
                        </a:lnTo>
                        <a:lnTo>
                          <a:pt x="6976" y="3363"/>
                        </a:lnTo>
                        <a:lnTo>
                          <a:pt x="7012" y="3363"/>
                        </a:lnTo>
                        <a:lnTo>
                          <a:pt x="7047" y="3351"/>
                        </a:lnTo>
                        <a:lnTo>
                          <a:pt x="7083" y="3363"/>
                        </a:lnTo>
                        <a:lnTo>
                          <a:pt x="7083" y="3375"/>
                        </a:lnTo>
                        <a:lnTo>
                          <a:pt x="7047" y="3422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0" name="Freeform 439"/>
                  <p:cNvSpPr>
                    <a:spLocks/>
                  </p:cNvSpPr>
                  <p:nvPr/>
                </p:nvSpPr>
                <p:spPr bwMode="auto">
                  <a:xfrm>
                    <a:off x="15424150" y="24738012"/>
                    <a:ext cx="112713" cy="227013"/>
                  </a:xfrm>
                  <a:custGeom>
                    <a:avLst/>
                    <a:gdLst/>
                    <a:ahLst/>
                    <a:cxnLst>
                      <a:cxn ang="0">
                        <a:pos x="59" y="0"/>
                      </a:cxn>
                      <a:cxn ang="0">
                        <a:pos x="71" y="72"/>
                      </a:cxn>
                      <a:cxn ang="0">
                        <a:pos x="59" y="131"/>
                      </a:cxn>
                      <a:cxn ang="0">
                        <a:pos x="24" y="143"/>
                      </a:cxn>
                      <a:cxn ang="0">
                        <a:pos x="0" y="119"/>
                      </a:cxn>
                      <a:cxn ang="0">
                        <a:pos x="0" y="60"/>
                      </a:cxn>
                      <a:cxn ang="0">
                        <a:pos x="0" y="36"/>
                      </a:cxn>
                      <a:cxn ang="0">
                        <a:pos x="36" y="0"/>
                      </a:cxn>
                      <a:cxn ang="0">
                        <a:pos x="59" y="0"/>
                      </a:cxn>
                    </a:cxnLst>
                    <a:rect l="0" t="0" r="r" b="b"/>
                    <a:pathLst>
                      <a:path w="71" h="143">
                        <a:moveTo>
                          <a:pt x="59" y="0"/>
                        </a:moveTo>
                        <a:lnTo>
                          <a:pt x="71" y="72"/>
                        </a:lnTo>
                        <a:lnTo>
                          <a:pt x="59" y="131"/>
                        </a:lnTo>
                        <a:lnTo>
                          <a:pt x="24" y="143"/>
                        </a:lnTo>
                        <a:lnTo>
                          <a:pt x="0" y="119"/>
                        </a:lnTo>
                        <a:lnTo>
                          <a:pt x="0" y="60"/>
                        </a:lnTo>
                        <a:lnTo>
                          <a:pt x="0" y="36"/>
                        </a:lnTo>
                        <a:lnTo>
                          <a:pt x="36" y="0"/>
                        </a:lnTo>
                        <a:lnTo>
                          <a:pt x="59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1" name="Freeform 441"/>
                  <p:cNvSpPr>
                    <a:spLocks/>
                  </p:cNvSpPr>
                  <p:nvPr/>
                </p:nvSpPr>
                <p:spPr bwMode="auto">
                  <a:xfrm>
                    <a:off x="15330487" y="24984075"/>
                    <a:ext cx="150813" cy="131763"/>
                  </a:xfrm>
                  <a:custGeom>
                    <a:avLst/>
                    <a:gdLst/>
                    <a:ahLst/>
                    <a:cxnLst>
                      <a:cxn ang="0">
                        <a:pos x="71" y="0"/>
                      </a:cxn>
                      <a:cxn ang="0">
                        <a:pos x="95" y="35"/>
                      </a:cxn>
                      <a:cxn ang="0">
                        <a:pos x="83" y="83"/>
                      </a:cxn>
                      <a:cxn ang="0">
                        <a:pos x="59" y="83"/>
                      </a:cxn>
                      <a:cxn ang="0">
                        <a:pos x="47" y="35"/>
                      </a:cxn>
                      <a:cxn ang="0">
                        <a:pos x="11" y="24"/>
                      </a:cxn>
                      <a:cxn ang="0">
                        <a:pos x="0" y="0"/>
                      </a:cxn>
                      <a:cxn ang="0">
                        <a:pos x="11" y="0"/>
                      </a:cxn>
                      <a:cxn ang="0">
                        <a:pos x="47" y="0"/>
                      </a:cxn>
                      <a:cxn ang="0">
                        <a:pos x="71" y="0"/>
                      </a:cxn>
                    </a:cxnLst>
                    <a:rect l="0" t="0" r="r" b="b"/>
                    <a:pathLst>
                      <a:path w="95" h="83">
                        <a:moveTo>
                          <a:pt x="71" y="0"/>
                        </a:moveTo>
                        <a:lnTo>
                          <a:pt x="95" y="35"/>
                        </a:lnTo>
                        <a:lnTo>
                          <a:pt x="83" y="83"/>
                        </a:lnTo>
                        <a:lnTo>
                          <a:pt x="59" y="83"/>
                        </a:lnTo>
                        <a:lnTo>
                          <a:pt x="47" y="35"/>
                        </a:lnTo>
                        <a:lnTo>
                          <a:pt x="11" y="24"/>
                        </a:lnTo>
                        <a:lnTo>
                          <a:pt x="0" y="0"/>
                        </a:lnTo>
                        <a:lnTo>
                          <a:pt x="11" y="0"/>
                        </a:lnTo>
                        <a:lnTo>
                          <a:pt x="47" y="0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132" name="Group 685"/>
                <p:cNvGrpSpPr/>
                <p:nvPr/>
              </p:nvGrpSpPr>
              <p:grpSpPr>
                <a:xfrm>
                  <a:off x="5897556" y="25814351"/>
                  <a:ext cx="9282114" cy="6375406"/>
                  <a:chOff x="5897562" y="25814337"/>
                  <a:chExt cx="9282113" cy="6375400"/>
                </a:xfrm>
                <a:grpFill/>
              </p:grpSpPr>
              <p:sp>
                <p:nvSpPr>
                  <p:cNvPr id="216" name="Freeform 443"/>
                  <p:cNvSpPr>
                    <a:spLocks/>
                  </p:cNvSpPr>
                  <p:nvPr/>
                </p:nvSpPr>
                <p:spPr bwMode="auto">
                  <a:xfrm>
                    <a:off x="5897562" y="25814337"/>
                    <a:ext cx="9129713" cy="6375400"/>
                  </a:xfrm>
                  <a:custGeom>
                    <a:avLst/>
                    <a:gdLst/>
                    <a:ahLst/>
                    <a:cxnLst>
                      <a:cxn ang="0">
                        <a:pos x="5573" y="344"/>
                      </a:cxn>
                      <a:cxn ang="0">
                        <a:pos x="5442" y="166"/>
                      </a:cxn>
                      <a:cxn ang="0">
                        <a:pos x="5633" y="677"/>
                      </a:cxn>
                      <a:cxn ang="0">
                        <a:pos x="5633" y="998"/>
                      </a:cxn>
                      <a:cxn ang="0">
                        <a:pos x="5609" y="1283"/>
                      </a:cxn>
                      <a:cxn ang="0">
                        <a:pos x="5751" y="1438"/>
                      </a:cxn>
                      <a:cxn ang="0">
                        <a:pos x="5597" y="1580"/>
                      </a:cxn>
                      <a:cxn ang="0">
                        <a:pos x="5645" y="1770"/>
                      </a:cxn>
                      <a:cxn ang="0">
                        <a:pos x="5561" y="1984"/>
                      </a:cxn>
                      <a:cxn ang="0">
                        <a:pos x="5549" y="2174"/>
                      </a:cxn>
                      <a:cxn ang="0">
                        <a:pos x="5538" y="2555"/>
                      </a:cxn>
                      <a:cxn ang="0">
                        <a:pos x="5466" y="2602"/>
                      </a:cxn>
                      <a:cxn ang="0">
                        <a:pos x="5383" y="3030"/>
                      </a:cxn>
                      <a:cxn ang="0">
                        <a:pos x="4979" y="3327"/>
                      </a:cxn>
                      <a:cxn ang="0">
                        <a:pos x="4278" y="3933"/>
                      </a:cxn>
                      <a:cxn ang="0">
                        <a:pos x="4064" y="3862"/>
                      </a:cxn>
                      <a:cxn ang="0">
                        <a:pos x="3957" y="3945"/>
                      </a:cxn>
                      <a:cxn ang="0">
                        <a:pos x="4040" y="3695"/>
                      </a:cxn>
                      <a:cxn ang="0">
                        <a:pos x="4135" y="3351"/>
                      </a:cxn>
                      <a:cxn ang="0">
                        <a:pos x="4325" y="3244"/>
                      </a:cxn>
                      <a:cxn ang="0">
                        <a:pos x="4444" y="3137"/>
                      </a:cxn>
                      <a:cxn ang="0">
                        <a:pos x="4230" y="2982"/>
                      </a:cxn>
                      <a:cxn ang="0">
                        <a:pos x="4005" y="2947"/>
                      </a:cxn>
                      <a:cxn ang="0">
                        <a:pos x="3660" y="2864"/>
                      </a:cxn>
                      <a:cxn ang="0">
                        <a:pos x="3149" y="2460"/>
                      </a:cxn>
                      <a:cxn ang="0">
                        <a:pos x="2852" y="2103"/>
                      </a:cxn>
                      <a:cxn ang="0">
                        <a:pos x="2626" y="1913"/>
                      </a:cxn>
                      <a:cxn ang="0">
                        <a:pos x="2388" y="1782"/>
                      </a:cxn>
                      <a:cxn ang="0">
                        <a:pos x="2329" y="1770"/>
                      </a:cxn>
                      <a:cxn ang="0">
                        <a:pos x="2174" y="1758"/>
                      </a:cxn>
                      <a:cxn ang="0">
                        <a:pos x="1984" y="1628"/>
                      </a:cxn>
                      <a:cxn ang="0">
                        <a:pos x="1865" y="1497"/>
                      </a:cxn>
                      <a:cxn ang="0">
                        <a:pos x="1747" y="1533"/>
                      </a:cxn>
                      <a:cxn ang="0">
                        <a:pos x="1652" y="1461"/>
                      </a:cxn>
                      <a:cxn ang="0">
                        <a:pos x="1568" y="1438"/>
                      </a:cxn>
                      <a:cxn ang="0">
                        <a:pos x="1509" y="1402"/>
                      </a:cxn>
                      <a:cxn ang="0">
                        <a:pos x="1354" y="1438"/>
                      </a:cxn>
                      <a:cxn ang="0">
                        <a:pos x="1212" y="1426"/>
                      </a:cxn>
                      <a:cxn ang="0">
                        <a:pos x="1010" y="1366"/>
                      </a:cxn>
                      <a:cxn ang="0">
                        <a:pos x="950" y="1343"/>
                      </a:cxn>
                      <a:cxn ang="0">
                        <a:pos x="843" y="1307"/>
                      </a:cxn>
                      <a:cxn ang="0">
                        <a:pos x="713" y="1354"/>
                      </a:cxn>
                      <a:cxn ang="0">
                        <a:pos x="582" y="1283"/>
                      </a:cxn>
                      <a:cxn ang="0">
                        <a:pos x="380" y="1331"/>
                      </a:cxn>
                      <a:cxn ang="0">
                        <a:pos x="0" y="1295"/>
                      </a:cxn>
                      <a:cxn ang="0">
                        <a:pos x="202" y="986"/>
                      </a:cxn>
                      <a:cxn ang="0">
                        <a:pos x="142" y="606"/>
                      </a:cxn>
                      <a:cxn ang="0">
                        <a:pos x="214" y="214"/>
                      </a:cxn>
                      <a:cxn ang="0">
                        <a:pos x="760" y="344"/>
                      </a:cxn>
                      <a:cxn ang="0">
                        <a:pos x="1343" y="416"/>
                      </a:cxn>
                      <a:cxn ang="0">
                        <a:pos x="2079" y="629"/>
                      </a:cxn>
                      <a:cxn ang="0">
                        <a:pos x="2555" y="725"/>
                      </a:cxn>
                      <a:cxn ang="0">
                        <a:pos x="2840" y="629"/>
                      </a:cxn>
                      <a:cxn ang="0">
                        <a:pos x="2864" y="309"/>
                      </a:cxn>
                      <a:cxn ang="0">
                        <a:pos x="3078" y="249"/>
                      </a:cxn>
                      <a:cxn ang="0">
                        <a:pos x="3256" y="273"/>
                      </a:cxn>
                      <a:cxn ang="0">
                        <a:pos x="3529" y="47"/>
                      </a:cxn>
                      <a:cxn ang="0">
                        <a:pos x="3696" y="35"/>
                      </a:cxn>
                      <a:cxn ang="0">
                        <a:pos x="3921" y="35"/>
                      </a:cxn>
                      <a:cxn ang="0">
                        <a:pos x="4088" y="47"/>
                      </a:cxn>
                      <a:cxn ang="0">
                        <a:pos x="4337" y="83"/>
                      </a:cxn>
                      <a:cxn ang="0">
                        <a:pos x="4872" y="178"/>
                      </a:cxn>
                      <a:cxn ang="0">
                        <a:pos x="5252" y="59"/>
                      </a:cxn>
                    </a:cxnLst>
                    <a:rect l="0" t="0" r="r" b="b"/>
                    <a:pathLst>
                      <a:path w="5751" h="4016">
                        <a:moveTo>
                          <a:pt x="5680" y="35"/>
                        </a:moveTo>
                        <a:lnTo>
                          <a:pt x="5668" y="166"/>
                        </a:lnTo>
                        <a:lnTo>
                          <a:pt x="5692" y="225"/>
                        </a:lnTo>
                        <a:lnTo>
                          <a:pt x="5692" y="249"/>
                        </a:lnTo>
                        <a:lnTo>
                          <a:pt x="5668" y="309"/>
                        </a:lnTo>
                        <a:lnTo>
                          <a:pt x="5621" y="309"/>
                        </a:lnTo>
                        <a:lnTo>
                          <a:pt x="5573" y="344"/>
                        </a:lnTo>
                        <a:lnTo>
                          <a:pt x="5549" y="344"/>
                        </a:lnTo>
                        <a:lnTo>
                          <a:pt x="5526" y="320"/>
                        </a:lnTo>
                        <a:lnTo>
                          <a:pt x="5514" y="285"/>
                        </a:lnTo>
                        <a:lnTo>
                          <a:pt x="5502" y="214"/>
                        </a:lnTo>
                        <a:lnTo>
                          <a:pt x="5454" y="142"/>
                        </a:lnTo>
                        <a:lnTo>
                          <a:pt x="5442" y="142"/>
                        </a:lnTo>
                        <a:lnTo>
                          <a:pt x="5442" y="166"/>
                        </a:lnTo>
                        <a:lnTo>
                          <a:pt x="5490" y="273"/>
                        </a:lnTo>
                        <a:lnTo>
                          <a:pt x="5478" y="427"/>
                        </a:lnTo>
                        <a:lnTo>
                          <a:pt x="5502" y="451"/>
                        </a:lnTo>
                        <a:lnTo>
                          <a:pt x="5514" y="499"/>
                        </a:lnTo>
                        <a:lnTo>
                          <a:pt x="5561" y="523"/>
                        </a:lnTo>
                        <a:lnTo>
                          <a:pt x="5645" y="641"/>
                        </a:lnTo>
                        <a:lnTo>
                          <a:pt x="5633" y="677"/>
                        </a:lnTo>
                        <a:lnTo>
                          <a:pt x="5621" y="701"/>
                        </a:lnTo>
                        <a:lnTo>
                          <a:pt x="5585" y="748"/>
                        </a:lnTo>
                        <a:lnTo>
                          <a:pt x="5561" y="879"/>
                        </a:lnTo>
                        <a:lnTo>
                          <a:pt x="5549" y="927"/>
                        </a:lnTo>
                        <a:lnTo>
                          <a:pt x="5561" y="986"/>
                        </a:lnTo>
                        <a:lnTo>
                          <a:pt x="5573" y="998"/>
                        </a:lnTo>
                        <a:lnTo>
                          <a:pt x="5633" y="998"/>
                        </a:lnTo>
                        <a:lnTo>
                          <a:pt x="5645" y="1010"/>
                        </a:lnTo>
                        <a:lnTo>
                          <a:pt x="5645" y="1022"/>
                        </a:lnTo>
                        <a:lnTo>
                          <a:pt x="5597" y="1093"/>
                        </a:lnTo>
                        <a:lnTo>
                          <a:pt x="5585" y="1140"/>
                        </a:lnTo>
                        <a:lnTo>
                          <a:pt x="5573" y="1152"/>
                        </a:lnTo>
                        <a:lnTo>
                          <a:pt x="5597" y="1200"/>
                        </a:lnTo>
                        <a:lnTo>
                          <a:pt x="5609" y="1283"/>
                        </a:lnTo>
                        <a:lnTo>
                          <a:pt x="5609" y="1343"/>
                        </a:lnTo>
                        <a:lnTo>
                          <a:pt x="5621" y="1402"/>
                        </a:lnTo>
                        <a:lnTo>
                          <a:pt x="5645" y="1426"/>
                        </a:lnTo>
                        <a:lnTo>
                          <a:pt x="5656" y="1426"/>
                        </a:lnTo>
                        <a:lnTo>
                          <a:pt x="5692" y="1402"/>
                        </a:lnTo>
                        <a:lnTo>
                          <a:pt x="5704" y="1402"/>
                        </a:lnTo>
                        <a:lnTo>
                          <a:pt x="5751" y="1438"/>
                        </a:lnTo>
                        <a:lnTo>
                          <a:pt x="5728" y="1509"/>
                        </a:lnTo>
                        <a:lnTo>
                          <a:pt x="5704" y="1521"/>
                        </a:lnTo>
                        <a:lnTo>
                          <a:pt x="5692" y="1533"/>
                        </a:lnTo>
                        <a:lnTo>
                          <a:pt x="5668" y="1497"/>
                        </a:lnTo>
                        <a:lnTo>
                          <a:pt x="5645" y="1497"/>
                        </a:lnTo>
                        <a:lnTo>
                          <a:pt x="5609" y="1509"/>
                        </a:lnTo>
                        <a:lnTo>
                          <a:pt x="5597" y="1580"/>
                        </a:lnTo>
                        <a:lnTo>
                          <a:pt x="5609" y="1604"/>
                        </a:lnTo>
                        <a:lnTo>
                          <a:pt x="5609" y="1628"/>
                        </a:lnTo>
                        <a:lnTo>
                          <a:pt x="5645" y="1604"/>
                        </a:lnTo>
                        <a:lnTo>
                          <a:pt x="5668" y="1604"/>
                        </a:lnTo>
                        <a:lnTo>
                          <a:pt x="5680" y="1687"/>
                        </a:lnTo>
                        <a:lnTo>
                          <a:pt x="5656" y="1723"/>
                        </a:lnTo>
                        <a:lnTo>
                          <a:pt x="5645" y="1770"/>
                        </a:lnTo>
                        <a:lnTo>
                          <a:pt x="5585" y="1770"/>
                        </a:lnTo>
                        <a:lnTo>
                          <a:pt x="5561" y="1794"/>
                        </a:lnTo>
                        <a:lnTo>
                          <a:pt x="5561" y="1806"/>
                        </a:lnTo>
                        <a:lnTo>
                          <a:pt x="5561" y="1854"/>
                        </a:lnTo>
                        <a:lnTo>
                          <a:pt x="5597" y="1972"/>
                        </a:lnTo>
                        <a:lnTo>
                          <a:pt x="5585" y="1996"/>
                        </a:lnTo>
                        <a:lnTo>
                          <a:pt x="5561" y="1984"/>
                        </a:lnTo>
                        <a:lnTo>
                          <a:pt x="5549" y="2008"/>
                        </a:lnTo>
                        <a:lnTo>
                          <a:pt x="5526" y="2020"/>
                        </a:lnTo>
                        <a:lnTo>
                          <a:pt x="5526" y="2032"/>
                        </a:lnTo>
                        <a:lnTo>
                          <a:pt x="5549" y="2091"/>
                        </a:lnTo>
                        <a:lnTo>
                          <a:pt x="5526" y="2127"/>
                        </a:lnTo>
                        <a:lnTo>
                          <a:pt x="5526" y="2151"/>
                        </a:lnTo>
                        <a:lnTo>
                          <a:pt x="5549" y="2174"/>
                        </a:lnTo>
                        <a:lnTo>
                          <a:pt x="5561" y="2222"/>
                        </a:lnTo>
                        <a:lnTo>
                          <a:pt x="5573" y="2234"/>
                        </a:lnTo>
                        <a:lnTo>
                          <a:pt x="5585" y="2258"/>
                        </a:lnTo>
                        <a:lnTo>
                          <a:pt x="5585" y="2317"/>
                        </a:lnTo>
                        <a:lnTo>
                          <a:pt x="5573" y="2388"/>
                        </a:lnTo>
                        <a:lnTo>
                          <a:pt x="5561" y="2483"/>
                        </a:lnTo>
                        <a:lnTo>
                          <a:pt x="5538" y="2555"/>
                        </a:lnTo>
                        <a:lnTo>
                          <a:pt x="5538" y="2602"/>
                        </a:lnTo>
                        <a:lnTo>
                          <a:pt x="5526" y="2602"/>
                        </a:lnTo>
                        <a:lnTo>
                          <a:pt x="5514" y="2602"/>
                        </a:lnTo>
                        <a:lnTo>
                          <a:pt x="5502" y="2567"/>
                        </a:lnTo>
                        <a:lnTo>
                          <a:pt x="5478" y="2567"/>
                        </a:lnTo>
                        <a:lnTo>
                          <a:pt x="5478" y="2578"/>
                        </a:lnTo>
                        <a:lnTo>
                          <a:pt x="5466" y="2602"/>
                        </a:lnTo>
                        <a:lnTo>
                          <a:pt x="5502" y="2685"/>
                        </a:lnTo>
                        <a:lnTo>
                          <a:pt x="5478" y="2721"/>
                        </a:lnTo>
                        <a:lnTo>
                          <a:pt x="5466" y="2792"/>
                        </a:lnTo>
                        <a:lnTo>
                          <a:pt x="5431" y="2840"/>
                        </a:lnTo>
                        <a:lnTo>
                          <a:pt x="5419" y="2911"/>
                        </a:lnTo>
                        <a:lnTo>
                          <a:pt x="5395" y="2959"/>
                        </a:lnTo>
                        <a:lnTo>
                          <a:pt x="5383" y="3030"/>
                        </a:lnTo>
                        <a:lnTo>
                          <a:pt x="5359" y="3089"/>
                        </a:lnTo>
                        <a:lnTo>
                          <a:pt x="5336" y="3101"/>
                        </a:lnTo>
                        <a:lnTo>
                          <a:pt x="5312" y="3149"/>
                        </a:lnTo>
                        <a:lnTo>
                          <a:pt x="5300" y="3161"/>
                        </a:lnTo>
                        <a:lnTo>
                          <a:pt x="5205" y="3184"/>
                        </a:lnTo>
                        <a:lnTo>
                          <a:pt x="5110" y="3232"/>
                        </a:lnTo>
                        <a:lnTo>
                          <a:pt x="4979" y="3327"/>
                        </a:lnTo>
                        <a:lnTo>
                          <a:pt x="4872" y="3410"/>
                        </a:lnTo>
                        <a:lnTo>
                          <a:pt x="4801" y="3458"/>
                        </a:lnTo>
                        <a:lnTo>
                          <a:pt x="4670" y="3577"/>
                        </a:lnTo>
                        <a:lnTo>
                          <a:pt x="4551" y="3684"/>
                        </a:lnTo>
                        <a:lnTo>
                          <a:pt x="4468" y="3779"/>
                        </a:lnTo>
                        <a:lnTo>
                          <a:pt x="4361" y="3933"/>
                        </a:lnTo>
                        <a:lnTo>
                          <a:pt x="4278" y="3933"/>
                        </a:lnTo>
                        <a:lnTo>
                          <a:pt x="4254" y="3921"/>
                        </a:lnTo>
                        <a:lnTo>
                          <a:pt x="4230" y="3909"/>
                        </a:lnTo>
                        <a:lnTo>
                          <a:pt x="4207" y="3862"/>
                        </a:lnTo>
                        <a:lnTo>
                          <a:pt x="4159" y="3826"/>
                        </a:lnTo>
                        <a:lnTo>
                          <a:pt x="4159" y="3838"/>
                        </a:lnTo>
                        <a:lnTo>
                          <a:pt x="4076" y="3850"/>
                        </a:lnTo>
                        <a:lnTo>
                          <a:pt x="4064" y="3862"/>
                        </a:lnTo>
                        <a:lnTo>
                          <a:pt x="4005" y="3886"/>
                        </a:lnTo>
                        <a:lnTo>
                          <a:pt x="3993" y="3898"/>
                        </a:lnTo>
                        <a:lnTo>
                          <a:pt x="3993" y="3933"/>
                        </a:lnTo>
                        <a:lnTo>
                          <a:pt x="4028" y="4004"/>
                        </a:lnTo>
                        <a:lnTo>
                          <a:pt x="4005" y="4016"/>
                        </a:lnTo>
                        <a:lnTo>
                          <a:pt x="3981" y="4004"/>
                        </a:lnTo>
                        <a:lnTo>
                          <a:pt x="3957" y="3945"/>
                        </a:lnTo>
                        <a:lnTo>
                          <a:pt x="3909" y="3921"/>
                        </a:lnTo>
                        <a:lnTo>
                          <a:pt x="3933" y="3862"/>
                        </a:lnTo>
                        <a:lnTo>
                          <a:pt x="3921" y="3826"/>
                        </a:lnTo>
                        <a:lnTo>
                          <a:pt x="3945" y="3791"/>
                        </a:lnTo>
                        <a:lnTo>
                          <a:pt x="3969" y="3779"/>
                        </a:lnTo>
                        <a:lnTo>
                          <a:pt x="4005" y="3707"/>
                        </a:lnTo>
                        <a:lnTo>
                          <a:pt x="4040" y="3695"/>
                        </a:lnTo>
                        <a:lnTo>
                          <a:pt x="4040" y="3707"/>
                        </a:lnTo>
                        <a:lnTo>
                          <a:pt x="4088" y="3707"/>
                        </a:lnTo>
                        <a:lnTo>
                          <a:pt x="4123" y="3648"/>
                        </a:lnTo>
                        <a:lnTo>
                          <a:pt x="4135" y="3577"/>
                        </a:lnTo>
                        <a:lnTo>
                          <a:pt x="4123" y="3470"/>
                        </a:lnTo>
                        <a:lnTo>
                          <a:pt x="4147" y="3422"/>
                        </a:lnTo>
                        <a:lnTo>
                          <a:pt x="4135" y="3351"/>
                        </a:lnTo>
                        <a:lnTo>
                          <a:pt x="4195" y="3244"/>
                        </a:lnTo>
                        <a:lnTo>
                          <a:pt x="4218" y="3220"/>
                        </a:lnTo>
                        <a:lnTo>
                          <a:pt x="4242" y="3220"/>
                        </a:lnTo>
                        <a:lnTo>
                          <a:pt x="4278" y="3268"/>
                        </a:lnTo>
                        <a:lnTo>
                          <a:pt x="4302" y="3280"/>
                        </a:lnTo>
                        <a:lnTo>
                          <a:pt x="4314" y="3268"/>
                        </a:lnTo>
                        <a:lnTo>
                          <a:pt x="4325" y="3244"/>
                        </a:lnTo>
                        <a:lnTo>
                          <a:pt x="4278" y="3196"/>
                        </a:lnTo>
                        <a:lnTo>
                          <a:pt x="4278" y="3184"/>
                        </a:lnTo>
                        <a:lnTo>
                          <a:pt x="4290" y="3161"/>
                        </a:lnTo>
                        <a:lnTo>
                          <a:pt x="4325" y="3137"/>
                        </a:lnTo>
                        <a:lnTo>
                          <a:pt x="4409" y="3149"/>
                        </a:lnTo>
                        <a:lnTo>
                          <a:pt x="4432" y="3149"/>
                        </a:lnTo>
                        <a:lnTo>
                          <a:pt x="4444" y="3137"/>
                        </a:lnTo>
                        <a:lnTo>
                          <a:pt x="4444" y="3125"/>
                        </a:lnTo>
                        <a:lnTo>
                          <a:pt x="4420" y="3089"/>
                        </a:lnTo>
                        <a:lnTo>
                          <a:pt x="4361" y="3054"/>
                        </a:lnTo>
                        <a:lnTo>
                          <a:pt x="4325" y="3006"/>
                        </a:lnTo>
                        <a:lnTo>
                          <a:pt x="4325" y="2947"/>
                        </a:lnTo>
                        <a:lnTo>
                          <a:pt x="4266" y="2982"/>
                        </a:lnTo>
                        <a:lnTo>
                          <a:pt x="4230" y="2982"/>
                        </a:lnTo>
                        <a:lnTo>
                          <a:pt x="4218" y="2935"/>
                        </a:lnTo>
                        <a:lnTo>
                          <a:pt x="4195" y="2911"/>
                        </a:lnTo>
                        <a:lnTo>
                          <a:pt x="4171" y="2923"/>
                        </a:lnTo>
                        <a:lnTo>
                          <a:pt x="4123" y="2947"/>
                        </a:lnTo>
                        <a:lnTo>
                          <a:pt x="4111" y="2935"/>
                        </a:lnTo>
                        <a:lnTo>
                          <a:pt x="4088" y="2935"/>
                        </a:lnTo>
                        <a:lnTo>
                          <a:pt x="4005" y="2947"/>
                        </a:lnTo>
                        <a:lnTo>
                          <a:pt x="3921" y="2935"/>
                        </a:lnTo>
                        <a:lnTo>
                          <a:pt x="3921" y="2959"/>
                        </a:lnTo>
                        <a:lnTo>
                          <a:pt x="3909" y="2971"/>
                        </a:lnTo>
                        <a:lnTo>
                          <a:pt x="3838" y="2899"/>
                        </a:lnTo>
                        <a:lnTo>
                          <a:pt x="3791" y="2887"/>
                        </a:lnTo>
                        <a:lnTo>
                          <a:pt x="3719" y="2887"/>
                        </a:lnTo>
                        <a:lnTo>
                          <a:pt x="3660" y="2864"/>
                        </a:lnTo>
                        <a:lnTo>
                          <a:pt x="3636" y="2876"/>
                        </a:lnTo>
                        <a:lnTo>
                          <a:pt x="3589" y="2864"/>
                        </a:lnTo>
                        <a:lnTo>
                          <a:pt x="3541" y="2876"/>
                        </a:lnTo>
                        <a:lnTo>
                          <a:pt x="3422" y="2828"/>
                        </a:lnTo>
                        <a:lnTo>
                          <a:pt x="3303" y="2638"/>
                        </a:lnTo>
                        <a:lnTo>
                          <a:pt x="3256" y="2543"/>
                        </a:lnTo>
                        <a:lnTo>
                          <a:pt x="3149" y="2460"/>
                        </a:lnTo>
                        <a:lnTo>
                          <a:pt x="3137" y="2436"/>
                        </a:lnTo>
                        <a:lnTo>
                          <a:pt x="3137" y="2376"/>
                        </a:lnTo>
                        <a:lnTo>
                          <a:pt x="3113" y="2341"/>
                        </a:lnTo>
                        <a:lnTo>
                          <a:pt x="3078" y="2329"/>
                        </a:lnTo>
                        <a:lnTo>
                          <a:pt x="3018" y="2269"/>
                        </a:lnTo>
                        <a:lnTo>
                          <a:pt x="2899" y="2139"/>
                        </a:lnTo>
                        <a:lnTo>
                          <a:pt x="2852" y="2103"/>
                        </a:lnTo>
                        <a:lnTo>
                          <a:pt x="2769" y="2056"/>
                        </a:lnTo>
                        <a:lnTo>
                          <a:pt x="2733" y="2032"/>
                        </a:lnTo>
                        <a:lnTo>
                          <a:pt x="2697" y="1972"/>
                        </a:lnTo>
                        <a:lnTo>
                          <a:pt x="2650" y="1949"/>
                        </a:lnTo>
                        <a:lnTo>
                          <a:pt x="2650" y="1925"/>
                        </a:lnTo>
                        <a:lnTo>
                          <a:pt x="2638" y="1913"/>
                        </a:lnTo>
                        <a:lnTo>
                          <a:pt x="2626" y="1913"/>
                        </a:lnTo>
                        <a:lnTo>
                          <a:pt x="2614" y="1925"/>
                        </a:lnTo>
                        <a:lnTo>
                          <a:pt x="2578" y="1925"/>
                        </a:lnTo>
                        <a:lnTo>
                          <a:pt x="2507" y="1818"/>
                        </a:lnTo>
                        <a:lnTo>
                          <a:pt x="2495" y="1806"/>
                        </a:lnTo>
                        <a:lnTo>
                          <a:pt x="2436" y="1830"/>
                        </a:lnTo>
                        <a:lnTo>
                          <a:pt x="2400" y="1782"/>
                        </a:lnTo>
                        <a:lnTo>
                          <a:pt x="2388" y="1782"/>
                        </a:lnTo>
                        <a:lnTo>
                          <a:pt x="2376" y="1806"/>
                        </a:lnTo>
                        <a:lnTo>
                          <a:pt x="2365" y="1818"/>
                        </a:lnTo>
                        <a:lnTo>
                          <a:pt x="2353" y="1794"/>
                        </a:lnTo>
                        <a:lnTo>
                          <a:pt x="2365" y="1747"/>
                        </a:lnTo>
                        <a:lnTo>
                          <a:pt x="2353" y="1735"/>
                        </a:lnTo>
                        <a:lnTo>
                          <a:pt x="2341" y="1735"/>
                        </a:lnTo>
                        <a:lnTo>
                          <a:pt x="2329" y="1770"/>
                        </a:lnTo>
                        <a:lnTo>
                          <a:pt x="2317" y="1782"/>
                        </a:lnTo>
                        <a:lnTo>
                          <a:pt x="2305" y="1770"/>
                        </a:lnTo>
                        <a:lnTo>
                          <a:pt x="2293" y="1735"/>
                        </a:lnTo>
                        <a:lnTo>
                          <a:pt x="2258" y="1747"/>
                        </a:lnTo>
                        <a:lnTo>
                          <a:pt x="2210" y="1747"/>
                        </a:lnTo>
                        <a:lnTo>
                          <a:pt x="2186" y="1758"/>
                        </a:lnTo>
                        <a:lnTo>
                          <a:pt x="2174" y="1758"/>
                        </a:lnTo>
                        <a:lnTo>
                          <a:pt x="2151" y="1735"/>
                        </a:lnTo>
                        <a:lnTo>
                          <a:pt x="2103" y="1747"/>
                        </a:lnTo>
                        <a:lnTo>
                          <a:pt x="2067" y="1699"/>
                        </a:lnTo>
                        <a:lnTo>
                          <a:pt x="2044" y="1699"/>
                        </a:lnTo>
                        <a:lnTo>
                          <a:pt x="2032" y="1651"/>
                        </a:lnTo>
                        <a:lnTo>
                          <a:pt x="1996" y="1640"/>
                        </a:lnTo>
                        <a:lnTo>
                          <a:pt x="1984" y="1628"/>
                        </a:lnTo>
                        <a:lnTo>
                          <a:pt x="2008" y="1616"/>
                        </a:lnTo>
                        <a:lnTo>
                          <a:pt x="2020" y="1604"/>
                        </a:lnTo>
                        <a:lnTo>
                          <a:pt x="1972" y="1580"/>
                        </a:lnTo>
                        <a:lnTo>
                          <a:pt x="1961" y="1545"/>
                        </a:lnTo>
                        <a:lnTo>
                          <a:pt x="1889" y="1545"/>
                        </a:lnTo>
                        <a:lnTo>
                          <a:pt x="1865" y="1521"/>
                        </a:lnTo>
                        <a:lnTo>
                          <a:pt x="1865" y="1497"/>
                        </a:lnTo>
                        <a:lnTo>
                          <a:pt x="1842" y="1485"/>
                        </a:lnTo>
                        <a:lnTo>
                          <a:pt x="1830" y="1485"/>
                        </a:lnTo>
                        <a:lnTo>
                          <a:pt x="1818" y="1509"/>
                        </a:lnTo>
                        <a:lnTo>
                          <a:pt x="1782" y="1485"/>
                        </a:lnTo>
                        <a:lnTo>
                          <a:pt x="1770" y="1485"/>
                        </a:lnTo>
                        <a:lnTo>
                          <a:pt x="1758" y="1533"/>
                        </a:lnTo>
                        <a:lnTo>
                          <a:pt x="1747" y="1533"/>
                        </a:lnTo>
                        <a:lnTo>
                          <a:pt x="1723" y="1497"/>
                        </a:lnTo>
                        <a:lnTo>
                          <a:pt x="1699" y="1497"/>
                        </a:lnTo>
                        <a:lnTo>
                          <a:pt x="1699" y="1485"/>
                        </a:lnTo>
                        <a:lnTo>
                          <a:pt x="1711" y="1461"/>
                        </a:lnTo>
                        <a:lnTo>
                          <a:pt x="1699" y="1449"/>
                        </a:lnTo>
                        <a:lnTo>
                          <a:pt x="1675" y="1449"/>
                        </a:lnTo>
                        <a:lnTo>
                          <a:pt x="1652" y="1461"/>
                        </a:lnTo>
                        <a:lnTo>
                          <a:pt x="1652" y="1509"/>
                        </a:lnTo>
                        <a:lnTo>
                          <a:pt x="1640" y="1521"/>
                        </a:lnTo>
                        <a:lnTo>
                          <a:pt x="1628" y="1521"/>
                        </a:lnTo>
                        <a:lnTo>
                          <a:pt x="1616" y="1497"/>
                        </a:lnTo>
                        <a:lnTo>
                          <a:pt x="1592" y="1497"/>
                        </a:lnTo>
                        <a:lnTo>
                          <a:pt x="1580" y="1485"/>
                        </a:lnTo>
                        <a:lnTo>
                          <a:pt x="1568" y="1438"/>
                        </a:lnTo>
                        <a:lnTo>
                          <a:pt x="1556" y="1449"/>
                        </a:lnTo>
                        <a:lnTo>
                          <a:pt x="1556" y="1473"/>
                        </a:lnTo>
                        <a:lnTo>
                          <a:pt x="1545" y="1485"/>
                        </a:lnTo>
                        <a:lnTo>
                          <a:pt x="1545" y="1485"/>
                        </a:lnTo>
                        <a:lnTo>
                          <a:pt x="1521" y="1461"/>
                        </a:lnTo>
                        <a:lnTo>
                          <a:pt x="1521" y="1414"/>
                        </a:lnTo>
                        <a:lnTo>
                          <a:pt x="1509" y="1402"/>
                        </a:lnTo>
                        <a:lnTo>
                          <a:pt x="1497" y="1402"/>
                        </a:lnTo>
                        <a:lnTo>
                          <a:pt x="1485" y="1438"/>
                        </a:lnTo>
                        <a:lnTo>
                          <a:pt x="1473" y="1449"/>
                        </a:lnTo>
                        <a:lnTo>
                          <a:pt x="1450" y="1438"/>
                        </a:lnTo>
                        <a:lnTo>
                          <a:pt x="1438" y="1449"/>
                        </a:lnTo>
                        <a:lnTo>
                          <a:pt x="1402" y="1438"/>
                        </a:lnTo>
                        <a:lnTo>
                          <a:pt x="1354" y="1438"/>
                        </a:lnTo>
                        <a:lnTo>
                          <a:pt x="1283" y="1414"/>
                        </a:lnTo>
                        <a:lnTo>
                          <a:pt x="1271" y="1461"/>
                        </a:lnTo>
                        <a:lnTo>
                          <a:pt x="1271" y="1473"/>
                        </a:lnTo>
                        <a:lnTo>
                          <a:pt x="1247" y="1461"/>
                        </a:lnTo>
                        <a:lnTo>
                          <a:pt x="1236" y="1414"/>
                        </a:lnTo>
                        <a:lnTo>
                          <a:pt x="1224" y="1414"/>
                        </a:lnTo>
                        <a:lnTo>
                          <a:pt x="1212" y="1426"/>
                        </a:lnTo>
                        <a:lnTo>
                          <a:pt x="1200" y="1426"/>
                        </a:lnTo>
                        <a:lnTo>
                          <a:pt x="1188" y="1414"/>
                        </a:lnTo>
                        <a:lnTo>
                          <a:pt x="1188" y="1378"/>
                        </a:lnTo>
                        <a:lnTo>
                          <a:pt x="1164" y="1354"/>
                        </a:lnTo>
                        <a:lnTo>
                          <a:pt x="1105" y="1366"/>
                        </a:lnTo>
                        <a:lnTo>
                          <a:pt x="1081" y="1343"/>
                        </a:lnTo>
                        <a:lnTo>
                          <a:pt x="1010" y="1366"/>
                        </a:lnTo>
                        <a:lnTo>
                          <a:pt x="986" y="1343"/>
                        </a:lnTo>
                        <a:lnTo>
                          <a:pt x="974" y="1343"/>
                        </a:lnTo>
                        <a:lnTo>
                          <a:pt x="962" y="1354"/>
                        </a:lnTo>
                        <a:lnTo>
                          <a:pt x="962" y="1378"/>
                        </a:lnTo>
                        <a:lnTo>
                          <a:pt x="950" y="1378"/>
                        </a:lnTo>
                        <a:lnTo>
                          <a:pt x="939" y="1366"/>
                        </a:lnTo>
                        <a:lnTo>
                          <a:pt x="950" y="1343"/>
                        </a:lnTo>
                        <a:lnTo>
                          <a:pt x="950" y="1331"/>
                        </a:lnTo>
                        <a:lnTo>
                          <a:pt x="915" y="1307"/>
                        </a:lnTo>
                        <a:lnTo>
                          <a:pt x="915" y="1259"/>
                        </a:lnTo>
                        <a:lnTo>
                          <a:pt x="903" y="1236"/>
                        </a:lnTo>
                        <a:lnTo>
                          <a:pt x="867" y="1236"/>
                        </a:lnTo>
                        <a:lnTo>
                          <a:pt x="843" y="1247"/>
                        </a:lnTo>
                        <a:lnTo>
                          <a:pt x="843" y="1307"/>
                        </a:lnTo>
                        <a:lnTo>
                          <a:pt x="808" y="1354"/>
                        </a:lnTo>
                        <a:lnTo>
                          <a:pt x="784" y="1343"/>
                        </a:lnTo>
                        <a:lnTo>
                          <a:pt x="784" y="1307"/>
                        </a:lnTo>
                        <a:lnTo>
                          <a:pt x="772" y="1295"/>
                        </a:lnTo>
                        <a:lnTo>
                          <a:pt x="760" y="1295"/>
                        </a:lnTo>
                        <a:lnTo>
                          <a:pt x="736" y="1331"/>
                        </a:lnTo>
                        <a:lnTo>
                          <a:pt x="713" y="1354"/>
                        </a:lnTo>
                        <a:lnTo>
                          <a:pt x="665" y="1343"/>
                        </a:lnTo>
                        <a:lnTo>
                          <a:pt x="618" y="1378"/>
                        </a:lnTo>
                        <a:lnTo>
                          <a:pt x="582" y="1378"/>
                        </a:lnTo>
                        <a:lnTo>
                          <a:pt x="582" y="1354"/>
                        </a:lnTo>
                        <a:lnTo>
                          <a:pt x="594" y="1331"/>
                        </a:lnTo>
                        <a:lnTo>
                          <a:pt x="594" y="1307"/>
                        </a:lnTo>
                        <a:lnTo>
                          <a:pt x="582" y="1283"/>
                        </a:lnTo>
                        <a:lnTo>
                          <a:pt x="558" y="1271"/>
                        </a:lnTo>
                        <a:lnTo>
                          <a:pt x="534" y="1236"/>
                        </a:lnTo>
                        <a:lnTo>
                          <a:pt x="511" y="1236"/>
                        </a:lnTo>
                        <a:lnTo>
                          <a:pt x="475" y="1271"/>
                        </a:lnTo>
                        <a:lnTo>
                          <a:pt x="428" y="1283"/>
                        </a:lnTo>
                        <a:lnTo>
                          <a:pt x="392" y="1295"/>
                        </a:lnTo>
                        <a:lnTo>
                          <a:pt x="380" y="1331"/>
                        </a:lnTo>
                        <a:lnTo>
                          <a:pt x="368" y="1343"/>
                        </a:lnTo>
                        <a:lnTo>
                          <a:pt x="285" y="1331"/>
                        </a:lnTo>
                        <a:lnTo>
                          <a:pt x="261" y="1343"/>
                        </a:lnTo>
                        <a:lnTo>
                          <a:pt x="237" y="1366"/>
                        </a:lnTo>
                        <a:lnTo>
                          <a:pt x="178" y="1331"/>
                        </a:lnTo>
                        <a:lnTo>
                          <a:pt x="71" y="1319"/>
                        </a:lnTo>
                        <a:lnTo>
                          <a:pt x="0" y="1295"/>
                        </a:lnTo>
                        <a:lnTo>
                          <a:pt x="47" y="1247"/>
                        </a:lnTo>
                        <a:lnTo>
                          <a:pt x="71" y="1224"/>
                        </a:lnTo>
                        <a:lnTo>
                          <a:pt x="83" y="1188"/>
                        </a:lnTo>
                        <a:lnTo>
                          <a:pt x="119" y="1164"/>
                        </a:lnTo>
                        <a:lnTo>
                          <a:pt x="130" y="1129"/>
                        </a:lnTo>
                        <a:lnTo>
                          <a:pt x="166" y="1045"/>
                        </a:lnTo>
                        <a:lnTo>
                          <a:pt x="202" y="986"/>
                        </a:lnTo>
                        <a:lnTo>
                          <a:pt x="202" y="950"/>
                        </a:lnTo>
                        <a:lnTo>
                          <a:pt x="178" y="927"/>
                        </a:lnTo>
                        <a:lnTo>
                          <a:pt x="154" y="808"/>
                        </a:lnTo>
                        <a:lnTo>
                          <a:pt x="130" y="772"/>
                        </a:lnTo>
                        <a:lnTo>
                          <a:pt x="142" y="713"/>
                        </a:lnTo>
                        <a:lnTo>
                          <a:pt x="130" y="677"/>
                        </a:lnTo>
                        <a:lnTo>
                          <a:pt x="142" y="606"/>
                        </a:lnTo>
                        <a:lnTo>
                          <a:pt x="142" y="558"/>
                        </a:lnTo>
                        <a:lnTo>
                          <a:pt x="154" y="511"/>
                        </a:lnTo>
                        <a:lnTo>
                          <a:pt x="178" y="439"/>
                        </a:lnTo>
                        <a:lnTo>
                          <a:pt x="178" y="368"/>
                        </a:lnTo>
                        <a:lnTo>
                          <a:pt x="214" y="285"/>
                        </a:lnTo>
                        <a:lnTo>
                          <a:pt x="225" y="225"/>
                        </a:lnTo>
                        <a:lnTo>
                          <a:pt x="214" y="214"/>
                        </a:lnTo>
                        <a:lnTo>
                          <a:pt x="332" y="261"/>
                        </a:lnTo>
                        <a:lnTo>
                          <a:pt x="428" y="273"/>
                        </a:lnTo>
                        <a:lnTo>
                          <a:pt x="475" y="261"/>
                        </a:lnTo>
                        <a:lnTo>
                          <a:pt x="570" y="214"/>
                        </a:lnTo>
                        <a:lnTo>
                          <a:pt x="641" y="214"/>
                        </a:lnTo>
                        <a:lnTo>
                          <a:pt x="689" y="309"/>
                        </a:lnTo>
                        <a:lnTo>
                          <a:pt x="760" y="344"/>
                        </a:lnTo>
                        <a:lnTo>
                          <a:pt x="808" y="368"/>
                        </a:lnTo>
                        <a:lnTo>
                          <a:pt x="867" y="380"/>
                        </a:lnTo>
                        <a:lnTo>
                          <a:pt x="1010" y="356"/>
                        </a:lnTo>
                        <a:lnTo>
                          <a:pt x="1152" y="380"/>
                        </a:lnTo>
                        <a:lnTo>
                          <a:pt x="1247" y="356"/>
                        </a:lnTo>
                        <a:lnTo>
                          <a:pt x="1283" y="368"/>
                        </a:lnTo>
                        <a:lnTo>
                          <a:pt x="1343" y="416"/>
                        </a:lnTo>
                        <a:lnTo>
                          <a:pt x="1438" y="439"/>
                        </a:lnTo>
                        <a:lnTo>
                          <a:pt x="1604" y="463"/>
                        </a:lnTo>
                        <a:lnTo>
                          <a:pt x="1770" y="523"/>
                        </a:lnTo>
                        <a:lnTo>
                          <a:pt x="1818" y="534"/>
                        </a:lnTo>
                        <a:lnTo>
                          <a:pt x="1961" y="606"/>
                        </a:lnTo>
                        <a:lnTo>
                          <a:pt x="2044" y="606"/>
                        </a:lnTo>
                        <a:lnTo>
                          <a:pt x="2079" y="629"/>
                        </a:lnTo>
                        <a:lnTo>
                          <a:pt x="2115" y="689"/>
                        </a:lnTo>
                        <a:lnTo>
                          <a:pt x="2210" y="713"/>
                        </a:lnTo>
                        <a:lnTo>
                          <a:pt x="2329" y="677"/>
                        </a:lnTo>
                        <a:lnTo>
                          <a:pt x="2388" y="677"/>
                        </a:lnTo>
                        <a:lnTo>
                          <a:pt x="2507" y="701"/>
                        </a:lnTo>
                        <a:lnTo>
                          <a:pt x="2543" y="725"/>
                        </a:lnTo>
                        <a:lnTo>
                          <a:pt x="2555" y="725"/>
                        </a:lnTo>
                        <a:lnTo>
                          <a:pt x="2626" y="808"/>
                        </a:lnTo>
                        <a:lnTo>
                          <a:pt x="2662" y="831"/>
                        </a:lnTo>
                        <a:lnTo>
                          <a:pt x="2709" y="772"/>
                        </a:lnTo>
                        <a:lnTo>
                          <a:pt x="2792" y="760"/>
                        </a:lnTo>
                        <a:lnTo>
                          <a:pt x="2828" y="748"/>
                        </a:lnTo>
                        <a:lnTo>
                          <a:pt x="2876" y="677"/>
                        </a:lnTo>
                        <a:lnTo>
                          <a:pt x="2840" y="629"/>
                        </a:lnTo>
                        <a:lnTo>
                          <a:pt x="2781" y="629"/>
                        </a:lnTo>
                        <a:lnTo>
                          <a:pt x="2769" y="606"/>
                        </a:lnTo>
                        <a:lnTo>
                          <a:pt x="2781" y="570"/>
                        </a:lnTo>
                        <a:lnTo>
                          <a:pt x="2769" y="534"/>
                        </a:lnTo>
                        <a:lnTo>
                          <a:pt x="2792" y="392"/>
                        </a:lnTo>
                        <a:lnTo>
                          <a:pt x="2840" y="332"/>
                        </a:lnTo>
                        <a:lnTo>
                          <a:pt x="2864" y="309"/>
                        </a:lnTo>
                        <a:lnTo>
                          <a:pt x="2899" y="320"/>
                        </a:lnTo>
                        <a:lnTo>
                          <a:pt x="2971" y="332"/>
                        </a:lnTo>
                        <a:lnTo>
                          <a:pt x="2983" y="332"/>
                        </a:lnTo>
                        <a:lnTo>
                          <a:pt x="2994" y="332"/>
                        </a:lnTo>
                        <a:lnTo>
                          <a:pt x="2994" y="320"/>
                        </a:lnTo>
                        <a:lnTo>
                          <a:pt x="3018" y="249"/>
                        </a:lnTo>
                        <a:lnTo>
                          <a:pt x="3078" y="249"/>
                        </a:lnTo>
                        <a:lnTo>
                          <a:pt x="3137" y="309"/>
                        </a:lnTo>
                        <a:lnTo>
                          <a:pt x="3149" y="309"/>
                        </a:lnTo>
                        <a:lnTo>
                          <a:pt x="3173" y="273"/>
                        </a:lnTo>
                        <a:lnTo>
                          <a:pt x="3185" y="273"/>
                        </a:lnTo>
                        <a:lnTo>
                          <a:pt x="3196" y="297"/>
                        </a:lnTo>
                        <a:lnTo>
                          <a:pt x="3208" y="309"/>
                        </a:lnTo>
                        <a:lnTo>
                          <a:pt x="3256" y="273"/>
                        </a:lnTo>
                        <a:lnTo>
                          <a:pt x="3280" y="285"/>
                        </a:lnTo>
                        <a:lnTo>
                          <a:pt x="3303" y="261"/>
                        </a:lnTo>
                        <a:lnTo>
                          <a:pt x="3375" y="261"/>
                        </a:lnTo>
                        <a:lnTo>
                          <a:pt x="3398" y="202"/>
                        </a:lnTo>
                        <a:lnTo>
                          <a:pt x="3458" y="107"/>
                        </a:lnTo>
                        <a:lnTo>
                          <a:pt x="3494" y="59"/>
                        </a:lnTo>
                        <a:lnTo>
                          <a:pt x="3529" y="47"/>
                        </a:lnTo>
                        <a:lnTo>
                          <a:pt x="3529" y="12"/>
                        </a:lnTo>
                        <a:lnTo>
                          <a:pt x="3553" y="0"/>
                        </a:lnTo>
                        <a:lnTo>
                          <a:pt x="3589" y="12"/>
                        </a:lnTo>
                        <a:lnTo>
                          <a:pt x="3600" y="23"/>
                        </a:lnTo>
                        <a:lnTo>
                          <a:pt x="3624" y="12"/>
                        </a:lnTo>
                        <a:lnTo>
                          <a:pt x="3660" y="12"/>
                        </a:lnTo>
                        <a:lnTo>
                          <a:pt x="3696" y="35"/>
                        </a:lnTo>
                        <a:lnTo>
                          <a:pt x="3719" y="35"/>
                        </a:lnTo>
                        <a:lnTo>
                          <a:pt x="3755" y="59"/>
                        </a:lnTo>
                        <a:lnTo>
                          <a:pt x="3779" y="107"/>
                        </a:lnTo>
                        <a:lnTo>
                          <a:pt x="3826" y="107"/>
                        </a:lnTo>
                        <a:lnTo>
                          <a:pt x="3874" y="35"/>
                        </a:lnTo>
                        <a:lnTo>
                          <a:pt x="3909" y="47"/>
                        </a:lnTo>
                        <a:lnTo>
                          <a:pt x="3921" y="35"/>
                        </a:lnTo>
                        <a:lnTo>
                          <a:pt x="3933" y="35"/>
                        </a:lnTo>
                        <a:lnTo>
                          <a:pt x="3945" y="71"/>
                        </a:lnTo>
                        <a:lnTo>
                          <a:pt x="3957" y="83"/>
                        </a:lnTo>
                        <a:lnTo>
                          <a:pt x="3993" y="35"/>
                        </a:lnTo>
                        <a:lnTo>
                          <a:pt x="4005" y="35"/>
                        </a:lnTo>
                        <a:lnTo>
                          <a:pt x="4052" y="59"/>
                        </a:lnTo>
                        <a:lnTo>
                          <a:pt x="4088" y="47"/>
                        </a:lnTo>
                        <a:lnTo>
                          <a:pt x="4123" y="23"/>
                        </a:lnTo>
                        <a:lnTo>
                          <a:pt x="4159" y="35"/>
                        </a:lnTo>
                        <a:lnTo>
                          <a:pt x="4183" y="23"/>
                        </a:lnTo>
                        <a:lnTo>
                          <a:pt x="4218" y="47"/>
                        </a:lnTo>
                        <a:lnTo>
                          <a:pt x="4254" y="35"/>
                        </a:lnTo>
                        <a:lnTo>
                          <a:pt x="4266" y="35"/>
                        </a:lnTo>
                        <a:lnTo>
                          <a:pt x="4337" y="83"/>
                        </a:lnTo>
                        <a:lnTo>
                          <a:pt x="4575" y="285"/>
                        </a:lnTo>
                        <a:lnTo>
                          <a:pt x="4611" y="297"/>
                        </a:lnTo>
                        <a:lnTo>
                          <a:pt x="4682" y="285"/>
                        </a:lnTo>
                        <a:lnTo>
                          <a:pt x="4706" y="273"/>
                        </a:lnTo>
                        <a:lnTo>
                          <a:pt x="4753" y="225"/>
                        </a:lnTo>
                        <a:lnTo>
                          <a:pt x="4825" y="214"/>
                        </a:lnTo>
                        <a:lnTo>
                          <a:pt x="4872" y="178"/>
                        </a:lnTo>
                        <a:lnTo>
                          <a:pt x="4920" y="166"/>
                        </a:lnTo>
                        <a:lnTo>
                          <a:pt x="4931" y="142"/>
                        </a:lnTo>
                        <a:lnTo>
                          <a:pt x="4967" y="95"/>
                        </a:lnTo>
                        <a:lnTo>
                          <a:pt x="5015" y="59"/>
                        </a:lnTo>
                        <a:lnTo>
                          <a:pt x="5074" y="47"/>
                        </a:lnTo>
                        <a:lnTo>
                          <a:pt x="5169" y="59"/>
                        </a:lnTo>
                        <a:lnTo>
                          <a:pt x="5252" y="59"/>
                        </a:lnTo>
                        <a:lnTo>
                          <a:pt x="5276" y="12"/>
                        </a:lnTo>
                        <a:lnTo>
                          <a:pt x="5407" y="0"/>
                        </a:lnTo>
                        <a:lnTo>
                          <a:pt x="5514" y="12"/>
                        </a:lnTo>
                        <a:lnTo>
                          <a:pt x="5597" y="23"/>
                        </a:lnTo>
                        <a:lnTo>
                          <a:pt x="5633" y="23"/>
                        </a:lnTo>
                        <a:lnTo>
                          <a:pt x="5680" y="35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7" name="Freeform 445"/>
                  <p:cNvSpPr>
                    <a:spLocks/>
                  </p:cNvSpPr>
                  <p:nvPr/>
                </p:nvSpPr>
                <p:spPr bwMode="auto">
                  <a:xfrm>
                    <a:off x="14801850" y="28587700"/>
                    <a:ext cx="377825" cy="792163"/>
                  </a:xfrm>
                  <a:custGeom>
                    <a:avLst/>
                    <a:gdLst/>
                    <a:ahLst/>
                    <a:cxnLst>
                      <a:cxn ang="0">
                        <a:pos x="202" y="0"/>
                      </a:cxn>
                      <a:cxn ang="0">
                        <a:pos x="238" y="71"/>
                      </a:cxn>
                      <a:cxn ang="0">
                        <a:pos x="202" y="118"/>
                      </a:cxn>
                      <a:cxn ang="0">
                        <a:pos x="178" y="213"/>
                      </a:cxn>
                      <a:cxn ang="0">
                        <a:pos x="119" y="285"/>
                      </a:cxn>
                      <a:cxn ang="0">
                        <a:pos x="95" y="332"/>
                      </a:cxn>
                      <a:cxn ang="0">
                        <a:pos x="107" y="380"/>
                      </a:cxn>
                      <a:cxn ang="0">
                        <a:pos x="107" y="404"/>
                      </a:cxn>
                      <a:cxn ang="0">
                        <a:pos x="107" y="427"/>
                      </a:cxn>
                      <a:cxn ang="0">
                        <a:pos x="95" y="451"/>
                      </a:cxn>
                      <a:cxn ang="0">
                        <a:pos x="83" y="463"/>
                      </a:cxn>
                      <a:cxn ang="0">
                        <a:pos x="47" y="475"/>
                      </a:cxn>
                      <a:cxn ang="0">
                        <a:pos x="12" y="499"/>
                      </a:cxn>
                      <a:cxn ang="0">
                        <a:pos x="0" y="463"/>
                      </a:cxn>
                      <a:cxn ang="0">
                        <a:pos x="0" y="392"/>
                      </a:cxn>
                      <a:cxn ang="0">
                        <a:pos x="0" y="344"/>
                      </a:cxn>
                      <a:cxn ang="0">
                        <a:pos x="0" y="309"/>
                      </a:cxn>
                      <a:cxn ang="0">
                        <a:pos x="0" y="309"/>
                      </a:cxn>
                      <a:cxn ang="0">
                        <a:pos x="0" y="285"/>
                      </a:cxn>
                      <a:cxn ang="0">
                        <a:pos x="47" y="249"/>
                      </a:cxn>
                      <a:cxn ang="0">
                        <a:pos x="59" y="190"/>
                      </a:cxn>
                      <a:cxn ang="0">
                        <a:pos x="71" y="71"/>
                      </a:cxn>
                      <a:cxn ang="0">
                        <a:pos x="83" y="23"/>
                      </a:cxn>
                      <a:cxn ang="0">
                        <a:pos x="107" y="23"/>
                      </a:cxn>
                      <a:cxn ang="0">
                        <a:pos x="154" y="23"/>
                      </a:cxn>
                      <a:cxn ang="0">
                        <a:pos x="178" y="0"/>
                      </a:cxn>
                      <a:cxn ang="0">
                        <a:pos x="202" y="0"/>
                      </a:cxn>
                    </a:cxnLst>
                    <a:rect l="0" t="0" r="r" b="b"/>
                    <a:pathLst>
                      <a:path w="238" h="499">
                        <a:moveTo>
                          <a:pt x="202" y="0"/>
                        </a:moveTo>
                        <a:lnTo>
                          <a:pt x="238" y="71"/>
                        </a:lnTo>
                        <a:lnTo>
                          <a:pt x="202" y="118"/>
                        </a:lnTo>
                        <a:lnTo>
                          <a:pt x="178" y="213"/>
                        </a:lnTo>
                        <a:lnTo>
                          <a:pt x="119" y="285"/>
                        </a:lnTo>
                        <a:lnTo>
                          <a:pt x="95" y="332"/>
                        </a:lnTo>
                        <a:lnTo>
                          <a:pt x="107" y="380"/>
                        </a:lnTo>
                        <a:lnTo>
                          <a:pt x="107" y="404"/>
                        </a:lnTo>
                        <a:lnTo>
                          <a:pt x="107" y="427"/>
                        </a:lnTo>
                        <a:lnTo>
                          <a:pt x="95" y="451"/>
                        </a:lnTo>
                        <a:lnTo>
                          <a:pt x="83" y="463"/>
                        </a:lnTo>
                        <a:lnTo>
                          <a:pt x="47" y="475"/>
                        </a:lnTo>
                        <a:lnTo>
                          <a:pt x="12" y="499"/>
                        </a:lnTo>
                        <a:lnTo>
                          <a:pt x="0" y="463"/>
                        </a:lnTo>
                        <a:lnTo>
                          <a:pt x="0" y="392"/>
                        </a:lnTo>
                        <a:lnTo>
                          <a:pt x="0" y="344"/>
                        </a:lnTo>
                        <a:lnTo>
                          <a:pt x="0" y="309"/>
                        </a:lnTo>
                        <a:lnTo>
                          <a:pt x="0" y="309"/>
                        </a:lnTo>
                        <a:lnTo>
                          <a:pt x="0" y="285"/>
                        </a:lnTo>
                        <a:lnTo>
                          <a:pt x="47" y="249"/>
                        </a:lnTo>
                        <a:lnTo>
                          <a:pt x="59" y="190"/>
                        </a:lnTo>
                        <a:lnTo>
                          <a:pt x="71" y="71"/>
                        </a:lnTo>
                        <a:lnTo>
                          <a:pt x="83" y="23"/>
                        </a:lnTo>
                        <a:lnTo>
                          <a:pt x="107" y="23"/>
                        </a:lnTo>
                        <a:lnTo>
                          <a:pt x="154" y="23"/>
                        </a:lnTo>
                        <a:lnTo>
                          <a:pt x="178" y="0"/>
                        </a:lnTo>
                        <a:lnTo>
                          <a:pt x="202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8" name="Freeform 447"/>
                  <p:cNvSpPr>
                    <a:spLocks/>
                  </p:cNvSpPr>
                  <p:nvPr/>
                </p:nvSpPr>
                <p:spPr bwMode="auto">
                  <a:xfrm>
                    <a:off x="14706600" y="26228675"/>
                    <a:ext cx="358775" cy="490538"/>
                  </a:xfrm>
                  <a:custGeom>
                    <a:avLst/>
                    <a:gdLst/>
                    <a:ahLst/>
                    <a:cxnLst>
                      <a:cxn ang="0">
                        <a:pos x="179" y="0"/>
                      </a:cxn>
                      <a:cxn ang="0">
                        <a:pos x="202" y="12"/>
                      </a:cxn>
                      <a:cxn ang="0">
                        <a:pos x="214" y="59"/>
                      </a:cxn>
                      <a:cxn ang="0">
                        <a:pos x="226" y="83"/>
                      </a:cxn>
                      <a:cxn ang="0">
                        <a:pos x="226" y="95"/>
                      </a:cxn>
                      <a:cxn ang="0">
                        <a:pos x="191" y="131"/>
                      </a:cxn>
                      <a:cxn ang="0">
                        <a:pos x="167" y="190"/>
                      </a:cxn>
                      <a:cxn ang="0">
                        <a:pos x="155" y="262"/>
                      </a:cxn>
                      <a:cxn ang="0">
                        <a:pos x="131" y="297"/>
                      </a:cxn>
                      <a:cxn ang="0">
                        <a:pos x="107" y="309"/>
                      </a:cxn>
                      <a:cxn ang="0">
                        <a:pos x="96" y="309"/>
                      </a:cxn>
                      <a:cxn ang="0">
                        <a:pos x="72" y="285"/>
                      </a:cxn>
                      <a:cxn ang="0">
                        <a:pos x="12" y="190"/>
                      </a:cxn>
                      <a:cxn ang="0">
                        <a:pos x="0" y="178"/>
                      </a:cxn>
                      <a:cxn ang="0">
                        <a:pos x="12" y="143"/>
                      </a:cxn>
                      <a:cxn ang="0">
                        <a:pos x="60" y="131"/>
                      </a:cxn>
                      <a:cxn ang="0">
                        <a:pos x="96" y="95"/>
                      </a:cxn>
                      <a:cxn ang="0">
                        <a:pos x="131" y="83"/>
                      </a:cxn>
                      <a:cxn ang="0">
                        <a:pos x="179" y="0"/>
                      </a:cxn>
                    </a:cxnLst>
                    <a:rect l="0" t="0" r="r" b="b"/>
                    <a:pathLst>
                      <a:path w="226" h="309">
                        <a:moveTo>
                          <a:pt x="179" y="0"/>
                        </a:moveTo>
                        <a:lnTo>
                          <a:pt x="202" y="12"/>
                        </a:lnTo>
                        <a:lnTo>
                          <a:pt x="214" y="59"/>
                        </a:lnTo>
                        <a:lnTo>
                          <a:pt x="226" y="83"/>
                        </a:lnTo>
                        <a:lnTo>
                          <a:pt x="226" y="95"/>
                        </a:lnTo>
                        <a:lnTo>
                          <a:pt x="191" y="131"/>
                        </a:lnTo>
                        <a:lnTo>
                          <a:pt x="167" y="190"/>
                        </a:lnTo>
                        <a:lnTo>
                          <a:pt x="155" y="262"/>
                        </a:lnTo>
                        <a:lnTo>
                          <a:pt x="131" y="297"/>
                        </a:lnTo>
                        <a:lnTo>
                          <a:pt x="107" y="309"/>
                        </a:lnTo>
                        <a:lnTo>
                          <a:pt x="96" y="309"/>
                        </a:lnTo>
                        <a:lnTo>
                          <a:pt x="72" y="285"/>
                        </a:lnTo>
                        <a:lnTo>
                          <a:pt x="12" y="190"/>
                        </a:lnTo>
                        <a:lnTo>
                          <a:pt x="0" y="178"/>
                        </a:lnTo>
                        <a:lnTo>
                          <a:pt x="12" y="143"/>
                        </a:lnTo>
                        <a:lnTo>
                          <a:pt x="60" y="131"/>
                        </a:lnTo>
                        <a:lnTo>
                          <a:pt x="96" y="95"/>
                        </a:lnTo>
                        <a:lnTo>
                          <a:pt x="131" y="83"/>
                        </a:lnTo>
                        <a:lnTo>
                          <a:pt x="179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133" name="Group 686"/>
                <p:cNvGrpSpPr/>
                <p:nvPr/>
              </p:nvGrpSpPr>
              <p:grpSpPr>
                <a:xfrm>
                  <a:off x="-309559" y="27776485"/>
                  <a:ext cx="13261970" cy="12658733"/>
                  <a:chOff x="-309563" y="27776487"/>
                  <a:chExt cx="13261975" cy="12658725"/>
                </a:xfrm>
                <a:grpFill/>
              </p:grpSpPr>
              <p:sp>
                <p:nvSpPr>
                  <p:cNvPr id="212" name="Freeform 449"/>
                  <p:cNvSpPr>
                    <a:spLocks/>
                  </p:cNvSpPr>
                  <p:nvPr/>
                </p:nvSpPr>
                <p:spPr bwMode="auto">
                  <a:xfrm>
                    <a:off x="-309563" y="27776487"/>
                    <a:ext cx="13261975" cy="12658725"/>
                  </a:xfrm>
                  <a:custGeom>
                    <a:avLst/>
                    <a:gdLst/>
                    <a:ahLst/>
                    <a:cxnLst>
                      <a:cxn ang="0">
                        <a:pos x="7380" y="4373"/>
                      </a:cxn>
                      <a:cxn ang="0">
                        <a:pos x="6548" y="5395"/>
                      </a:cxn>
                      <a:cxn ang="0">
                        <a:pos x="5823" y="5894"/>
                      </a:cxn>
                      <a:cxn ang="0">
                        <a:pos x="5799" y="5656"/>
                      </a:cxn>
                      <a:cxn ang="0">
                        <a:pos x="6346" y="5371"/>
                      </a:cxn>
                      <a:cxn ang="0">
                        <a:pos x="6655" y="5133"/>
                      </a:cxn>
                      <a:cxn ang="0">
                        <a:pos x="7095" y="4492"/>
                      </a:cxn>
                      <a:cxn ang="0">
                        <a:pos x="7249" y="4028"/>
                      </a:cxn>
                      <a:cxn ang="0">
                        <a:pos x="7202" y="3862"/>
                      </a:cxn>
                      <a:cxn ang="0">
                        <a:pos x="6893" y="3981"/>
                      </a:cxn>
                      <a:cxn ang="0">
                        <a:pos x="6560" y="3410"/>
                      </a:cxn>
                      <a:cxn ang="0">
                        <a:pos x="6096" y="3327"/>
                      </a:cxn>
                      <a:cxn ang="0">
                        <a:pos x="6619" y="3517"/>
                      </a:cxn>
                      <a:cxn ang="0">
                        <a:pos x="6750" y="3957"/>
                      </a:cxn>
                      <a:cxn ang="0">
                        <a:pos x="6524" y="4254"/>
                      </a:cxn>
                      <a:cxn ang="0">
                        <a:pos x="6358" y="4717"/>
                      </a:cxn>
                      <a:cxn ang="0">
                        <a:pos x="6203" y="5003"/>
                      </a:cxn>
                      <a:cxn ang="0">
                        <a:pos x="5775" y="5430"/>
                      </a:cxn>
                      <a:cxn ang="0">
                        <a:pos x="5585" y="5680"/>
                      </a:cxn>
                      <a:cxn ang="0">
                        <a:pos x="5633" y="5941"/>
                      </a:cxn>
                      <a:cxn ang="0">
                        <a:pos x="5134" y="7189"/>
                      </a:cxn>
                      <a:cxn ang="0">
                        <a:pos x="4266" y="7546"/>
                      </a:cxn>
                      <a:cxn ang="0">
                        <a:pos x="4753" y="6773"/>
                      </a:cxn>
                      <a:cxn ang="0">
                        <a:pos x="5146" y="6357"/>
                      </a:cxn>
                      <a:cxn ang="0">
                        <a:pos x="5039" y="6155"/>
                      </a:cxn>
                      <a:cxn ang="0">
                        <a:pos x="4742" y="6595"/>
                      </a:cxn>
                      <a:cxn ang="0">
                        <a:pos x="4124" y="6191"/>
                      </a:cxn>
                      <a:cxn ang="0">
                        <a:pos x="3470" y="5585"/>
                      </a:cxn>
                      <a:cxn ang="0">
                        <a:pos x="2828" y="5133"/>
                      </a:cxn>
                      <a:cxn ang="0">
                        <a:pos x="2377" y="4729"/>
                      </a:cxn>
                      <a:cxn ang="0">
                        <a:pos x="1818" y="4777"/>
                      </a:cxn>
                      <a:cxn ang="0">
                        <a:pos x="1580" y="4361"/>
                      </a:cxn>
                      <a:cxn ang="0">
                        <a:pos x="998" y="3767"/>
                      </a:cxn>
                      <a:cxn ang="0">
                        <a:pos x="226" y="3874"/>
                      </a:cxn>
                      <a:cxn ang="0">
                        <a:pos x="356" y="3303"/>
                      </a:cxn>
                      <a:cxn ang="0">
                        <a:pos x="1010" y="2543"/>
                      </a:cxn>
                      <a:cxn ang="0">
                        <a:pos x="1569" y="1877"/>
                      </a:cxn>
                      <a:cxn ang="0">
                        <a:pos x="1985" y="1592"/>
                      </a:cxn>
                      <a:cxn ang="0">
                        <a:pos x="2317" y="1105"/>
                      </a:cxn>
                      <a:cxn ang="0">
                        <a:pos x="2650" y="891"/>
                      </a:cxn>
                      <a:cxn ang="0">
                        <a:pos x="2900" y="511"/>
                      </a:cxn>
                      <a:cxn ang="0">
                        <a:pos x="3102" y="499"/>
                      </a:cxn>
                      <a:cxn ang="0">
                        <a:pos x="3339" y="368"/>
                      </a:cxn>
                      <a:cxn ang="0">
                        <a:pos x="3565" y="178"/>
                      </a:cxn>
                      <a:cxn ang="0">
                        <a:pos x="4088" y="95"/>
                      </a:cxn>
                      <a:cxn ang="0">
                        <a:pos x="4504" y="71"/>
                      </a:cxn>
                      <a:cxn ang="0">
                        <a:pos x="4753" y="71"/>
                      </a:cxn>
                      <a:cxn ang="0">
                        <a:pos x="4896" y="107"/>
                      </a:cxn>
                      <a:cxn ang="0">
                        <a:pos x="5181" y="225"/>
                      </a:cxn>
                      <a:cxn ang="0">
                        <a:pos x="5455" y="249"/>
                      </a:cxn>
                      <a:cxn ang="0">
                        <a:pos x="5621" y="225"/>
                      </a:cxn>
                      <a:cxn ang="0">
                        <a:pos x="5799" y="309"/>
                      </a:cxn>
                      <a:cxn ang="0">
                        <a:pos x="6096" y="522"/>
                      </a:cxn>
                      <a:cxn ang="0">
                        <a:pos x="6298" y="546"/>
                      </a:cxn>
                      <a:cxn ang="0">
                        <a:pos x="6679" y="820"/>
                      </a:cxn>
                      <a:cxn ang="0">
                        <a:pos x="7499" y="1628"/>
                      </a:cxn>
                      <a:cxn ang="0">
                        <a:pos x="8081" y="1687"/>
                      </a:cxn>
                      <a:cxn ang="0">
                        <a:pos x="8235" y="1901"/>
                      </a:cxn>
                      <a:cxn ang="0">
                        <a:pos x="8033" y="2234"/>
                      </a:cxn>
                      <a:cxn ang="0">
                        <a:pos x="7891" y="2768"/>
                      </a:cxn>
                      <a:cxn ang="0">
                        <a:pos x="8188" y="2697"/>
                      </a:cxn>
                    </a:cxnLst>
                    <a:rect l="0" t="0" r="r" b="b"/>
                    <a:pathLst>
                      <a:path w="8354" h="7974">
                        <a:moveTo>
                          <a:pt x="8271" y="2697"/>
                        </a:moveTo>
                        <a:lnTo>
                          <a:pt x="8271" y="2697"/>
                        </a:lnTo>
                        <a:lnTo>
                          <a:pt x="8247" y="2721"/>
                        </a:lnTo>
                        <a:lnTo>
                          <a:pt x="8200" y="2792"/>
                        </a:lnTo>
                        <a:lnTo>
                          <a:pt x="8057" y="3030"/>
                        </a:lnTo>
                        <a:lnTo>
                          <a:pt x="7879" y="3327"/>
                        </a:lnTo>
                        <a:lnTo>
                          <a:pt x="7819" y="3458"/>
                        </a:lnTo>
                        <a:lnTo>
                          <a:pt x="7784" y="3565"/>
                        </a:lnTo>
                        <a:lnTo>
                          <a:pt x="7736" y="3684"/>
                        </a:lnTo>
                        <a:lnTo>
                          <a:pt x="7582" y="4088"/>
                        </a:lnTo>
                        <a:lnTo>
                          <a:pt x="7570" y="4111"/>
                        </a:lnTo>
                        <a:lnTo>
                          <a:pt x="7534" y="4183"/>
                        </a:lnTo>
                        <a:lnTo>
                          <a:pt x="7380" y="4373"/>
                        </a:lnTo>
                        <a:lnTo>
                          <a:pt x="7368" y="4385"/>
                        </a:lnTo>
                        <a:lnTo>
                          <a:pt x="7320" y="4527"/>
                        </a:lnTo>
                        <a:lnTo>
                          <a:pt x="7308" y="4539"/>
                        </a:lnTo>
                        <a:lnTo>
                          <a:pt x="7213" y="4634"/>
                        </a:lnTo>
                        <a:lnTo>
                          <a:pt x="7166" y="4729"/>
                        </a:lnTo>
                        <a:lnTo>
                          <a:pt x="7130" y="4789"/>
                        </a:lnTo>
                        <a:lnTo>
                          <a:pt x="6976" y="4967"/>
                        </a:lnTo>
                        <a:lnTo>
                          <a:pt x="6881" y="5062"/>
                        </a:lnTo>
                        <a:lnTo>
                          <a:pt x="6821" y="5110"/>
                        </a:lnTo>
                        <a:lnTo>
                          <a:pt x="6786" y="5157"/>
                        </a:lnTo>
                        <a:lnTo>
                          <a:pt x="6738" y="5217"/>
                        </a:lnTo>
                        <a:lnTo>
                          <a:pt x="6631" y="5300"/>
                        </a:lnTo>
                        <a:lnTo>
                          <a:pt x="6548" y="5395"/>
                        </a:lnTo>
                        <a:lnTo>
                          <a:pt x="6477" y="5442"/>
                        </a:lnTo>
                        <a:lnTo>
                          <a:pt x="6417" y="5490"/>
                        </a:lnTo>
                        <a:lnTo>
                          <a:pt x="6358" y="5549"/>
                        </a:lnTo>
                        <a:lnTo>
                          <a:pt x="6239" y="5597"/>
                        </a:lnTo>
                        <a:lnTo>
                          <a:pt x="6156" y="5656"/>
                        </a:lnTo>
                        <a:lnTo>
                          <a:pt x="6073" y="5704"/>
                        </a:lnTo>
                        <a:lnTo>
                          <a:pt x="6049" y="5728"/>
                        </a:lnTo>
                        <a:lnTo>
                          <a:pt x="5989" y="5751"/>
                        </a:lnTo>
                        <a:lnTo>
                          <a:pt x="5966" y="5763"/>
                        </a:lnTo>
                        <a:lnTo>
                          <a:pt x="5918" y="5799"/>
                        </a:lnTo>
                        <a:lnTo>
                          <a:pt x="5882" y="5834"/>
                        </a:lnTo>
                        <a:lnTo>
                          <a:pt x="5859" y="5858"/>
                        </a:lnTo>
                        <a:lnTo>
                          <a:pt x="5823" y="5894"/>
                        </a:lnTo>
                        <a:lnTo>
                          <a:pt x="5787" y="5930"/>
                        </a:lnTo>
                        <a:lnTo>
                          <a:pt x="5752" y="5953"/>
                        </a:lnTo>
                        <a:lnTo>
                          <a:pt x="5704" y="6072"/>
                        </a:lnTo>
                        <a:lnTo>
                          <a:pt x="5716" y="6013"/>
                        </a:lnTo>
                        <a:lnTo>
                          <a:pt x="5728" y="5953"/>
                        </a:lnTo>
                        <a:lnTo>
                          <a:pt x="5752" y="5930"/>
                        </a:lnTo>
                        <a:lnTo>
                          <a:pt x="5764" y="5834"/>
                        </a:lnTo>
                        <a:lnTo>
                          <a:pt x="5787" y="5799"/>
                        </a:lnTo>
                        <a:lnTo>
                          <a:pt x="5787" y="5775"/>
                        </a:lnTo>
                        <a:lnTo>
                          <a:pt x="5752" y="5728"/>
                        </a:lnTo>
                        <a:lnTo>
                          <a:pt x="5716" y="5692"/>
                        </a:lnTo>
                        <a:lnTo>
                          <a:pt x="5716" y="5668"/>
                        </a:lnTo>
                        <a:lnTo>
                          <a:pt x="5799" y="5656"/>
                        </a:lnTo>
                        <a:lnTo>
                          <a:pt x="5859" y="5668"/>
                        </a:lnTo>
                        <a:lnTo>
                          <a:pt x="5906" y="5704"/>
                        </a:lnTo>
                        <a:lnTo>
                          <a:pt x="5966" y="5704"/>
                        </a:lnTo>
                        <a:lnTo>
                          <a:pt x="6001" y="5692"/>
                        </a:lnTo>
                        <a:lnTo>
                          <a:pt x="6025" y="5668"/>
                        </a:lnTo>
                        <a:lnTo>
                          <a:pt x="6013" y="5644"/>
                        </a:lnTo>
                        <a:lnTo>
                          <a:pt x="5977" y="5644"/>
                        </a:lnTo>
                        <a:lnTo>
                          <a:pt x="5989" y="5621"/>
                        </a:lnTo>
                        <a:lnTo>
                          <a:pt x="6120" y="5609"/>
                        </a:lnTo>
                        <a:lnTo>
                          <a:pt x="6180" y="5573"/>
                        </a:lnTo>
                        <a:lnTo>
                          <a:pt x="6239" y="5526"/>
                        </a:lnTo>
                        <a:lnTo>
                          <a:pt x="6334" y="5383"/>
                        </a:lnTo>
                        <a:lnTo>
                          <a:pt x="6346" y="5371"/>
                        </a:lnTo>
                        <a:lnTo>
                          <a:pt x="6370" y="5395"/>
                        </a:lnTo>
                        <a:lnTo>
                          <a:pt x="6393" y="5395"/>
                        </a:lnTo>
                        <a:lnTo>
                          <a:pt x="6393" y="5371"/>
                        </a:lnTo>
                        <a:lnTo>
                          <a:pt x="6370" y="5335"/>
                        </a:lnTo>
                        <a:lnTo>
                          <a:pt x="6370" y="5323"/>
                        </a:lnTo>
                        <a:lnTo>
                          <a:pt x="6393" y="5300"/>
                        </a:lnTo>
                        <a:lnTo>
                          <a:pt x="6405" y="5288"/>
                        </a:lnTo>
                        <a:lnTo>
                          <a:pt x="6488" y="5300"/>
                        </a:lnTo>
                        <a:lnTo>
                          <a:pt x="6536" y="5288"/>
                        </a:lnTo>
                        <a:lnTo>
                          <a:pt x="6560" y="5276"/>
                        </a:lnTo>
                        <a:lnTo>
                          <a:pt x="6584" y="5252"/>
                        </a:lnTo>
                        <a:lnTo>
                          <a:pt x="6631" y="5181"/>
                        </a:lnTo>
                        <a:lnTo>
                          <a:pt x="6655" y="5133"/>
                        </a:lnTo>
                        <a:lnTo>
                          <a:pt x="6667" y="5074"/>
                        </a:lnTo>
                        <a:lnTo>
                          <a:pt x="6679" y="4955"/>
                        </a:lnTo>
                        <a:lnTo>
                          <a:pt x="6667" y="4824"/>
                        </a:lnTo>
                        <a:lnTo>
                          <a:pt x="6667" y="4777"/>
                        </a:lnTo>
                        <a:lnTo>
                          <a:pt x="6691" y="4777"/>
                        </a:lnTo>
                        <a:lnTo>
                          <a:pt x="6726" y="4789"/>
                        </a:lnTo>
                        <a:lnTo>
                          <a:pt x="6774" y="4789"/>
                        </a:lnTo>
                        <a:lnTo>
                          <a:pt x="6881" y="4729"/>
                        </a:lnTo>
                        <a:lnTo>
                          <a:pt x="6893" y="4694"/>
                        </a:lnTo>
                        <a:lnTo>
                          <a:pt x="6904" y="4610"/>
                        </a:lnTo>
                        <a:lnTo>
                          <a:pt x="6904" y="4587"/>
                        </a:lnTo>
                        <a:lnTo>
                          <a:pt x="6999" y="4551"/>
                        </a:lnTo>
                        <a:lnTo>
                          <a:pt x="7095" y="4492"/>
                        </a:lnTo>
                        <a:lnTo>
                          <a:pt x="7130" y="4468"/>
                        </a:lnTo>
                        <a:lnTo>
                          <a:pt x="7166" y="4397"/>
                        </a:lnTo>
                        <a:lnTo>
                          <a:pt x="7166" y="4397"/>
                        </a:lnTo>
                        <a:lnTo>
                          <a:pt x="7190" y="4337"/>
                        </a:lnTo>
                        <a:lnTo>
                          <a:pt x="7202" y="4242"/>
                        </a:lnTo>
                        <a:lnTo>
                          <a:pt x="7202" y="4183"/>
                        </a:lnTo>
                        <a:lnTo>
                          <a:pt x="7190" y="4099"/>
                        </a:lnTo>
                        <a:lnTo>
                          <a:pt x="7166" y="3957"/>
                        </a:lnTo>
                        <a:lnTo>
                          <a:pt x="7166" y="3921"/>
                        </a:lnTo>
                        <a:lnTo>
                          <a:pt x="7178" y="3909"/>
                        </a:lnTo>
                        <a:lnTo>
                          <a:pt x="7213" y="3909"/>
                        </a:lnTo>
                        <a:lnTo>
                          <a:pt x="7225" y="3981"/>
                        </a:lnTo>
                        <a:lnTo>
                          <a:pt x="7249" y="4028"/>
                        </a:lnTo>
                        <a:lnTo>
                          <a:pt x="7273" y="4064"/>
                        </a:lnTo>
                        <a:lnTo>
                          <a:pt x="7297" y="4076"/>
                        </a:lnTo>
                        <a:lnTo>
                          <a:pt x="7320" y="4064"/>
                        </a:lnTo>
                        <a:lnTo>
                          <a:pt x="7344" y="3945"/>
                        </a:lnTo>
                        <a:lnTo>
                          <a:pt x="7368" y="3802"/>
                        </a:lnTo>
                        <a:lnTo>
                          <a:pt x="7368" y="3767"/>
                        </a:lnTo>
                        <a:lnTo>
                          <a:pt x="7356" y="3755"/>
                        </a:lnTo>
                        <a:lnTo>
                          <a:pt x="7320" y="3755"/>
                        </a:lnTo>
                        <a:lnTo>
                          <a:pt x="7297" y="3743"/>
                        </a:lnTo>
                        <a:lnTo>
                          <a:pt x="7249" y="3731"/>
                        </a:lnTo>
                        <a:lnTo>
                          <a:pt x="7225" y="3755"/>
                        </a:lnTo>
                        <a:lnTo>
                          <a:pt x="7225" y="3826"/>
                        </a:lnTo>
                        <a:lnTo>
                          <a:pt x="7202" y="3862"/>
                        </a:lnTo>
                        <a:lnTo>
                          <a:pt x="7178" y="3862"/>
                        </a:lnTo>
                        <a:lnTo>
                          <a:pt x="7106" y="3850"/>
                        </a:lnTo>
                        <a:lnTo>
                          <a:pt x="7095" y="3862"/>
                        </a:lnTo>
                        <a:lnTo>
                          <a:pt x="7106" y="3886"/>
                        </a:lnTo>
                        <a:lnTo>
                          <a:pt x="7095" y="3897"/>
                        </a:lnTo>
                        <a:lnTo>
                          <a:pt x="6988" y="3886"/>
                        </a:lnTo>
                        <a:lnTo>
                          <a:pt x="6952" y="3897"/>
                        </a:lnTo>
                        <a:lnTo>
                          <a:pt x="6940" y="3921"/>
                        </a:lnTo>
                        <a:lnTo>
                          <a:pt x="6940" y="3957"/>
                        </a:lnTo>
                        <a:lnTo>
                          <a:pt x="6976" y="4004"/>
                        </a:lnTo>
                        <a:lnTo>
                          <a:pt x="6964" y="4028"/>
                        </a:lnTo>
                        <a:lnTo>
                          <a:pt x="6916" y="4016"/>
                        </a:lnTo>
                        <a:lnTo>
                          <a:pt x="6893" y="3981"/>
                        </a:lnTo>
                        <a:lnTo>
                          <a:pt x="6833" y="3969"/>
                        </a:lnTo>
                        <a:lnTo>
                          <a:pt x="6857" y="3874"/>
                        </a:lnTo>
                        <a:lnTo>
                          <a:pt x="6857" y="3838"/>
                        </a:lnTo>
                        <a:lnTo>
                          <a:pt x="6845" y="3814"/>
                        </a:lnTo>
                        <a:lnTo>
                          <a:pt x="6797" y="3779"/>
                        </a:lnTo>
                        <a:lnTo>
                          <a:pt x="6702" y="3755"/>
                        </a:lnTo>
                        <a:lnTo>
                          <a:pt x="6655" y="3707"/>
                        </a:lnTo>
                        <a:lnTo>
                          <a:pt x="6631" y="3600"/>
                        </a:lnTo>
                        <a:lnTo>
                          <a:pt x="6667" y="3517"/>
                        </a:lnTo>
                        <a:lnTo>
                          <a:pt x="6691" y="3505"/>
                        </a:lnTo>
                        <a:lnTo>
                          <a:pt x="6691" y="3470"/>
                        </a:lnTo>
                        <a:lnTo>
                          <a:pt x="6643" y="3410"/>
                        </a:lnTo>
                        <a:lnTo>
                          <a:pt x="6560" y="3410"/>
                        </a:lnTo>
                        <a:lnTo>
                          <a:pt x="6524" y="3434"/>
                        </a:lnTo>
                        <a:lnTo>
                          <a:pt x="6500" y="3434"/>
                        </a:lnTo>
                        <a:lnTo>
                          <a:pt x="6429" y="3422"/>
                        </a:lnTo>
                        <a:lnTo>
                          <a:pt x="6370" y="3386"/>
                        </a:lnTo>
                        <a:lnTo>
                          <a:pt x="6263" y="3386"/>
                        </a:lnTo>
                        <a:lnTo>
                          <a:pt x="6227" y="3386"/>
                        </a:lnTo>
                        <a:lnTo>
                          <a:pt x="6203" y="3410"/>
                        </a:lnTo>
                        <a:lnTo>
                          <a:pt x="6168" y="3410"/>
                        </a:lnTo>
                        <a:lnTo>
                          <a:pt x="6144" y="3386"/>
                        </a:lnTo>
                        <a:lnTo>
                          <a:pt x="6144" y="3327"/>
                        </a:lnTo>
                        <a:lnTo>
                          <a:pt x="6120" y="3303"/>
                        </a:lnTo>
                        <a:lnTo>
                          <a:pt x="6037" y="3303"/>
                        </a:lnTo>
                        <a:lnTo>
                          <a:pt x="6096" y="3327"/>
                        </a:lnTo>
                        <a:lnTo>
                          <a:pt x="6108" y="3386"/>
                        </a:lnTo>
                        <a:lnTo>
                          <a:pt x="6132" y="3422"/>
                        </a:lnTo>
                        <a:lnTo>
                          <a:pt x="6168" y="3434"/>
                        </a:lnTo>
                        <a:lnTo>
                          <a:pt x="6203" y="3434"/>
                        </a:lnTo>
                        <a:lnTo>
                          <a:pt x="6322" y="3410"/>
                        </a:lnTo>
                        <a:lnTo>
                          <a:pt x="6358" y="3410"/>
                        </a:lnTo>
                        <a:lnTo>
                          <a:pt x="6429" y="3470"/>
                        </a:lnTo>
                        <a:lnTo>
                          <a:pt x="6465" y="3482"/>
                        </a:lnTo>
                        <a:lnTo>
                          <a:pt x="6488" y="3482"/>
                        </a:lnTo>
                        <a:lnTo>
                          <a:pt x="6548" y="3446"/>
                        </a:lnTo>
                        <a:lnTo>
                          <a:pt x="6572" y="3458"/>
                        </a:lnTo>
                        <a:lnTo>
                          <a:pt x="6607" y="3493"/>
                        </a:lnTo>
                        <a:lnTo>
                          <a:pt x="6619" y="3517"/>
                        </a:lnTo>
                        <a:lnTo>
                          <a:pt x="6607" y="3529"/>
                        </a:lnTo>
                        <a:lnTo>
                          <a:pt x="6584" y="3505"/>
                        </a:lnTo>
                        <a:lnTo>
                          <a:pt x="6572" y="3505"/>
                        </a:lnTo>
                        <a:lnTo>
                          <a:pt x="6572" y="3517"/>
                        </a:lnTo>
                        <a:lnTo>
                          <a:pt x="6572" y="3588"/>
                        </a:lnTo>
                        <a:lnTo>
                          <a:pt x="6560" y="3695"/>
                        </a:lnTo>
                        <a:lnTo>
                          <a:pt x="6560" y="3755"/>
                        </a:lnTo>
                        <a:lnTo>
                          <a:pt x="6584" y="3802"/>
                        </a:lnTo>
                        <a:lnTo>
                          <a:pt x="6607" y="3850"/>
                        </a:lnTo>
                        <a:lnTo>
                          <a:pt x="6667" y="3874"/>
                        </a:lnTo>
                        <a:lnTo>
                          <a:pt x="6691" y="3945"/>
                        </a:lnTo>
                        <a:lnTo>
                          <a:pt x="6750" y="3933"/>
                        </a:lnTo>
                        <a:lnTo>
                          <a:pt x="6750" y="3957"/>
                        </a:lnTo>
                        <a:lnTo>
                          <a:pt x="6738" y="4004"/>
                        </a:lnTo>
                        <a:lnTo>
                          <a:pt x="6679" y="3993"/>
                        </a:lnTo>
                        <a:lnTo>
                          <a:pt x="6643" y="4016"/>
                        </a:lnTo>
                        <a:lnTo>
                          <a:pt x="6584" y="4099"/>
                        </a:lnTo>
                        <a:lnTo>
                          <a:pt x="6572" y="4171"/>
                        </a:lnTo>
                        <a:lnTo>
                          <a:pt x="6572" y="4254"/>
                        </a:lnTo>
                        <a:lnTo>
                          <a:pt x="6595" y="4432"/>
                        </a:lnTo>
                        <a:lnTo>
                          <a:pt x="6584" y="4456"/>
                        </a:lnTo>
                        <a:lnTo>
                          <a:pt x="6584" y="4468"/>
                        </a:lnTo>
                        <a:lnTo>
                          <a:pt x="6560" y="4468"/>
                        </a:lnTo>
                        <a:lnTo>
                          <a:pt x="6536" y="4420"/>
                        </a:lnTo>
                        <a:lnTo>
                          <a:pt x="6548" y="4361"/>
                        </a:lnTo>
                        <a:lnTo>
                          <a:pt x="6524" y="4254"/>
                        </a:lnTo>
                        <a:lnTo>
                          <a:pt x="6500" y="4242"/>
                        </a:lnTo>
                        <a:lnTo>
                          <a:pt x="6477" y="4254"/>
                        </a:lnTo>
                        <a:lnTo>
                          <a:pt x="6465" y="4301"/>
                        </a:lnTo>
                        <a:lnTo>
                          <a:pt x="6453" y="4408"/>
                        </a:lnTo>
                        <a:lnTo>
                          <a:pt x="6465" y="4456"/>
                        </a:lnTo>
                        <a:lnTo>
                          <a:pt x="6477" y="4515"/>
                        </a:lnTo>
                        <a:lnTo>
                          <a:pt x="6477" y="4527"/>
                        </a:lnTo>
                        <a:lnTo>
                          <a:pt x="6393" y="4551"/>
                        </a:lnTo>
                        <a:lnTo>
                          <a:pt x="6358" y="4575"/>
                        </a:lnTo>
                        <a:lnTo>
                          <a:pt x="6346" y="4610"/>
                        </a:lnTo>
                        <a:lnTo>
                          <a:pt x="6346" y="4646"/>
                        </a:lnTo>
                        <a:lnTo>
                          <a:pt x="6370" y="4694"/>
                        </a:lnTo>
                        <a:lnTo>
                          <a:pt x="6358" y="4717"/>
                        </a:lnTo>
                        <a:lnTo>
                          <a:pt x="6358" y="4741"/>
                        </a:lnTo>
                        <a:lnTo>
                          <a:pt x="6382" y="4753"/>
                        </a:lnTo>
                        <a:lnTo>
                          <a:pt x="6417" y="4765"/>
                        </a:lnTo>
                        <a:lnTo>
                          <a:pt x="6417" y="4777"/>
                        </a:lnTo>
                        <a:lnTo>
                          <a:pt x="6405" y="4801"/>
                        </a:lnTo>
                        <a:lnTo>
                          <a:pt x="6346" y="4801"/>
                        </a:lnTo>
                        <a:lnTo>
                          <a:pt x="6310" y="4824"/>
                        </a:lnTo>
                        <a:lnTo>
                          <a:pt x="6239" y="4836"/>
                        </a:lnTo>
                        <a:lnTo>
                          <a:pt x="6203" y="4896"/>
                        </a:lnTo>
                        <a:lnTo>
                          <a:pt x="6203" y="4908"/>
                        </a:lnTo>
                        <a:lnTo>
                          <a:pt x="6227" y="4955"/>
                        </a:lnTo>
                        <a:lnTo>
                          <a:pt x="6227" y="4991"/>
                        </a:lnTo>
                        <a:lnTo>
                          <a:pt x="6203" y="5003"/>
                        </a:lnTo>
                        <a:lnTo>
                          <a:pt x="6073" y="4991"/>
                        </a:lnTo>
                        <a:lnTo>
                          <a:pt x="6037" y="5015"/>
                        </a:lnTo>
                        <a:lnTo>
                          <a:pt x="5989" y="5050"/>
                        </a:lnTo>
                        <a:lnTo>
                          <a:pt x="5918" y="5050"/>
                        </a:lnTo>
                        <a:lnTo>
                          <a:pt x="5894" y="5086"/>
                        </a:lnTo>
                        <a:lnTo>
                          <a:pt x="5859" y="5110"/>
                        </a:lnTo>
                        <a:lnTo>
                          <a:pt x="5847" y="5157"/>
                        </a:lnTo>
                        <a:lnTo>
                          <a:pt x="5835" y="5276"/>
                        </a:lnTo>
                        <a:lnTo>
                          <a:pt x="5823" y="5478"/>
                        </a:lnTo>
                        <a:lnTo>
                          <a:pt x="5811" y="5490"/>
                        </a:lnTo>
                        <a:lnTo>
                          <a:pt x="5787" y="5490"/>
                        </a:lnTo>
                        <a:lnTo>
                          <a:pt x="5775" y="5478"/>
                        </a:lnTo>
                        <a:lnTo>
                          <a:pt x="5775" y="5430"/>
                        </a:lnTo>
                        <a:lnTo>
                          <a:pt x="5775" y="5323"/>
                        </a:lnTo>
                        <a:lnTo>
                          <a:pt x="5740" y="5323"/>
                        </a:lnTo>
                        <a:lnTo>
                          <a:pt x="5728" y="5347"/>
                        </a:lnTo>
                        <a:lnTo>
                          <a:pt x="5716" y="5371"/>
                        </a:lnTo>
                        <a:lnTo>
                          <a:pt x="5752" y="5430"/>
                        </a:lnTo>
                        <a:lnTo>
                          <a:pt x="5752" y="5478"/>
                        </a:lnTo>
                        <a:lnTo>
                          <a:pt x="5716" y="5490"/>
                        </a:lnTo>
                        <a:lnTo>
                          <a:pt x="5657" y="5526"/>
                        </a:lnTo>
                        <a:lnTo>
                          <a:pt x="5621" y="5537"/>
                        </a:lnTo>
                        <a:lnTo>
                          <a:pt x="5597" y="5573"/>
                        </a:lnTo>
                        <a:lnTo>
                          <a:pt x="5597" y="5597"/>
                        </a:lnTo>
                        <a:lnTo>
                          <a:pt x="5597" y="5632"/>
                        </a:lnTo>
                        <a:lnTo>
                          <a:pt x="5585" y="5680"/>
                        </a:lnTo>
                        <a:lnTo>
                          <a:pt x="5585" y="5704"/>
                        </a:lnTo>
                        <a:lnTo>
                          <a:pt x="5680" y="5751"/>
                        </a:lnTo>
                        <a:lnTo>
                          <a:pt x="5680" y="5775"/>
                        </a:lnTo>
                        <a:lnTo>
                          <a:pt x="5680" y="5787"/>
                        </a:lnTo>
                        <a:lnTo>
                          <a:pt x="5621" y="5799"/>
                        </a:lnTo>
                        <a:lnTo>
                          <a:pt x="5585" y="5811"/>
                        </a:lnTo>
                        <a:lnTo>
                          <a:pt x="5550" y="5858"/>
                        </a:lnTo>
                        <a:lnTo>
                          <a:pt x="5573" y="5930"/>
                        </a:lnTo>
                        <a:lnTo>
                          <a:pt x="5562" y="5953"/>
                        </a:lnTo>
                        <a:lnTo>
                          <a:pt x="5573" y="5965"/>
                        </a:lnTo>
                        <a:lnTo>
                          <a:pt x="5573" y="5977"/>
                        </a:lnTo>
                        <a:lnTo>
                          <a:pt x="5609" y="5941"/>
                        </a:lnTo>
                        <a:lnTo>
                          <a:pt x="5633" y="5941"/>
                        </a:lnTo>
                        <a:lnTo>
                          <a:pt x="5645" y="5930"/>
                        </a:lnTo>
                        <a:lnTo>
                          <a:pt x="5668" y="5918"/>
                        </a:lnTo>
                        <a:lnTo>
                          <a:pt x="5692" y="5918"/>
                        </a:lnTo>
                        <a:lnTo>
                          <a:pt x="5704" y="5930"/>
                        </a:lnTo>
                        <a:lnTo>
                          <a:pt x="5633" y="6060"/>
                        </a:lnTo>
                        <a:lnTo>
                          <a:pt x="5562" y="6155"/>
                        </a:lnTo>
                        <a:lnTo>
                          <a:pt x="5478" y="6286"/>
                        </a:lnTo>
                        <a:lnTo>
                          <a:pt x="5431" y="6369"/>
                        </a:lnTo>
                        <a:lnTo>
                          <a:pt x="5360" y="6548"/>
                        </a:lnTo>
                        <a:lnTo>
                          <a:pt x="5312" y="6726"/>
                        </a:lnTo>
                        <a:lnTo>
                          <a:pt x="5241" y="6928"/>
                        </a:lnTo>
                        <a:lnTo>
                          <a:pt x="5169" y="7106"/>
                        </a:lnTo>
                        <a:lnTo>
                          <a:pt x="5134" y="7189"/>
                        </a:lnTo>
                        <a:lnTo>
                          <a:pt x="5015" y="7332"/>
                        </a:lnTo>
                        <a:lnTo>
                          <a:pt x="4896" y="7486"/>
                        </a:lnTo>
                        <a:lnTo>
                          <a:pt x="4777" y="7593"/>
                        </a:lnTo>
                        <a:lnTo>
                          <a:pt x="4599" y="7772"/>
                        </a:lnTo>
                        <a:lnTo>
                          <a:pt x="4528" y="7843"/>
                        </a:lnTo>
                        <a:lnTo>
                          <a:pt x="4468" y="7879"/>
                        </a:lnTo>
                        <a:lnTo>
                          <a:pt x="4444" y="7902"/>
                        </a:lnTo>
                        <a:lnTo>
                          <a:pt x="4409" y="7938"/>
                        </a:lnTo>
                        <a:lnTo>
                          <a:pt x="4361" y="7974"/>
                        </a:lnTo>
                        <a:lnTo>
                          <a:pt x="4290" y="7914"/>
                        </a:lnTo>
                        <a:lnTo>
                          <a:pt x="4242" y="7831"/>
                        </a:lnTo>
                        <a:lnTo>
                          <a:pt x="4242" y="7688"/>
                        </a:lnTo>
                        <a:lnTo>
                          <a:pt x="4266" y="7546"/>
                        </a:lnTo>
                        <a:lnTo>
                          <a:pt x="4254" y="7546"/>
                        </a:lnTo>
                        <a:lnTo>
                          <a:pt x="4254" y="7463"/>
                        </a:lnTo>
                        <a:lnTo>
                          <a:pt x="4231" y="7320"/>
                        </a:lnTo>
                        <a:lnTo>
                          <a:pt x="4278" y="7225"/>
                        </a:lnTo>
                        <a:lnTo>
                          <a:pt x="4326" y="7177"/>
                        </a:lnTo>
                        <a:lnTo>
                          <a:pt x="4385" y="7094"/>
                        </a:lnTo>
                        <a:lnTo>
                          <a:pt x="4492" y="6999"/>
                        </a:lnTo>
                        <a:lnTo>
                          <a:pt x="4540" y="6999"/>
                        </a:lnTo>
                        <a:lnTo>
                          <a:pt x="4540" y="6928"/>
                        </a:lnTo>
                        <a:lnTo>
                          <a:pt x="4575" y="6880"/>
                        </a:lnTo>
                        <a:lnTo>
                          <a:pt x="4599" y="6833"/>
                        </a:lnTo>
                        <a:lnTo>
                          <a:pt x="4718" y="6785"/>
                        </a:lnTo>
                        <a:lnTo>
                          <a:pt x="4753" y="6773"/>
                        </a:lnTo>
                        <a:lnTo>
                          <a:pt x="4765" y="6761"/>
                        </a:lnTo>
                        <a:lnTo>
                          <a:pt x="4789" y="6738"/>
                        </a:lnTo>
                        <a:lnTo>
                          <a:pt x="4801" y="6750"/>
                        </a:lnTo>
                        <a:lnTo>
                          <a:pt x="4789" y="6773"/>
                        </a:lnTo>
                        <a:lnTo>
                          <a:pt x="4789" y="6821"/>
                        </a:lnTo>
                        <a:lnTo>
                          <a:pt x="4860" y="6904"/>
                        </a:lnTo>
                        <a:lnTo>
                          <a:pt x="4932" y="6952"/>
                        </a:lnTo>
                        <a:lnTo>
                          <a:pt x="4991" y="6928"/>
                        </a:lnTo>
                        <a:lnTo>
                          <a:pt x="5146" y="6654"/>
                        </a:lnTo>
                        <a:lnTo>
                          <a:pt x="5205" y="6500"/>
                        </a:lnTo>
                        <a:lnTo>
                          <a:pt x="5205" y="6464"/>
                        </a:lnTo>
                        <a:lnTo>
                          <a:pt x="5181" y="6429"/>
                        </a:lnTo>
                        <a:lnTo>
                          <a:pt x="5146" y="6357"/>
                        </a:lnTo>
                        <a:lnTo>
                          <a:pt x="5110" y="6286"/>
                        </a:lnTo>
                        <a:lnTo>
                          <a:pt x="5110" y="6215"/>
                        </a:lnTo>
                        <a:lnTo>
                          <a:pt x="5146" y="6120"/>
                        </a:lnTo>
                        <a:lnTo>
                          <a:pt x="5157" y="6096"/>
                        </a:lnTo>
                        <a:lnTo>
                          <a:pt x="5157" y="6072"/>
                        </a:lnTo>
                        <a:lnTo>
                          <a:pt x="5122" y="6084"/>
                        </a:lnTo>
                        <a:lnTo>
                          <a:pt x="5086" y="6084"/>
                        </a:lnTo>
                        <a:lnTo>
                          <a:pt x="5074" y="6108"/>
                        </a:lnTo>
                        <a:lnTo>
                          <a:pt x="5039" y="6120"/>
                        </a:lnTo>
                        <a:lnTo>
                          <a:pt x="5074" y="6132"/>
                        </a:lnTo>
                        <a:lnTo>
                          <a:pt x="5086" y="6143"/>
                        </a:lnTo>
                        <a:lnTo>
                          <a:pt x="5074" y="6155"/>
                        </a:lnTo>
                        <a:lnTo>
                          <a:pt x="5039" y="6155"/>
                        </a:lnTo>
                        <a:lnTo>
                          <a:pt x="5003" y="6191"/>
                        </a:lnTo>
                        <a:lnTo>
                          <a:pt x="4991" y="6250"/>
                        </a:lnTo>
                        <a:lnTo>
                          <a:pt x="4991" y="6298"/>
                        </a:lnTo>
                        <a:lnTo>
                          <a:pt x="5051" y="6310"/>
                        </a:lnTo>
                        <a:lnTo>
                          <a:pt x="5062" y="6334"/>
                        </a:lnTo>
                        <a:lnTo>
                          <a:pt x="5062" y="6369"/>
                        </a:lnTo>
                        <a:lnTo>
                          <a:pt x="4979" y="6429"/>
                        </a:lnTo>
                        <a:lnTo>
                          <a:pt x="4849" y="6452"/>
                        </a:lnTo>
                        <a:lnTo>
                          <a:pt x="4813" y="6476"/>
                        </a:lnTo>
                        <a:lnTo>
                          <a:pt x="4789" y="6500"/>
                        </a:lnTo>
                        <a:lnTo>
                          <a:pt x="4777" y="6571"/>
                        </a:lnTo>
                        <a:lnTo>
                          <a:pt x="4765" y="6595"/>
                        </a:lnTo>
                        <a:lnTo>
                          <a:pt x="4742" y="6595"/>
                        </a:lnTo>
                        <a:lnTo>
                          <a:pt x="4694" y="6619"/>
                        </a:lnTo>
                        <a:lnTo>
                          <a:pt x="4599" y="6607"/>
                        </a:lnTo>
                        <a:lnTo>
                          <a:pt x="4551" y="6631"/>
                        </a:lnTo>
                        <a:lnTo>
                          <a:pt x="4540" y="6619"/>
                        </a:lnTo>
                        <a:lnTo>
                          <a:pt x="4516" y="6595"/>
                        </a:lnTo>
                        <a:lnTo>
                          <a:pt x="4456" y="6595"/>
                        </a:lnTo>
                        <a:lnTo>
                          <a:pt x="4433" y="6559"/>
                        </a:lnTo>
                        <a:lnTo>
                          <a:pt x="4361" y="6524"/>
                        </a:lnTo>
                        <a:lnTo>
                          <a:pt x="4290" y="6441"/>
                        </a:lnTo>
                        <a:lnTo>
                          <a:pt x="4231" y="6417"/>
                        </a:lnTo>
                        <a:lnTo>
                          <a:pt x="4195" y="6381"/>
                        </a:lnTo>
                        <a:lnTo>
                          <a:pt x="4147" y="6310"/>
                        </a:lnTo>
                        <a:lnTo>
                          <a:pt x="4124" y="6191"/>
                        </a:lnTo>
                        <a:lnTo>
                          <a:pt x="4064" y="6084"/>
                        </a:lnTo>
                        <a:lnTo>
                          <a:pt x="4064" y="6048"/>
                        </a:lnTo>
                        <a:lnTo>
                          <a:pt x="4064" y="5989"/>
                        </a:lnTo>
                        <a:lnTo>
                          <a:pt x="4052" y="5965"/>
                        </a:lnTo>
                        <a:lnTo>
                          <a:pt x="3945" y="5930"/>
                        </a:lnTo>
                        <a:lnTo>
                          <a:pt x="3862" y="5799"/>
                        </a:lnTo>
                        <a:lnTo>
                          <a:pt x="3696" y="5811"/>
                        </a:lnTo>
                        <a:lnTo>
                          <a:pt x="3660" y="5799"/>
                        </a:lnTo>
                        <a:lnTo>
                          <a:pt x="3660" y="5787"/>
                        </a:lnTo>
                        <a:lnTo>
                          <a:pt x="3613" y="5751"/>
                        </a:lnTo>
                        <a:lnTo>
                          <a:pt x="3553" y="5668"/>
                        </a:lnTo>
                        <a:lnTo>
                          <a:pt x="3506" y="5644"/>
                        </a:lnTo>
                        <a:lnTo>
                          <a:pt x="3470" y="5585"/>
                        </a:lnTo>
                        <a:lnTo>
                          <a:pt x="3458" y="5585"/>
                        </a:lnTo>
                        <a:lnTo>
                          <a:pt x="3387" y="5514"/>
                        </a:lnTo>
                        <a:lnTo>
                          <a:pt x="3292" y="5466"/>
                        </a:lnTo>
                        <a:lnTo>
                          <a:pt x="3268" y="5442"/>
                        </a:lnTo>
                        <a:lnTo>
                          <a:pt x="3268" y="5419"/>
                        </a:lnTo>
                        <a:lnTo>
                          <a:pt x="3220" y="5312"/>
                        </a:lnTo>
                        <a:lnTo>
                          <a:pt x="3161" y="5228"/>
                        </a:lnTo>
                        <a:lnTo>
                          <a:pt x="3090" y="5217"/>
                        </a:lnTo>
                        <a:lnTo>
                          <a:pt x="3054" y="5217"/>
                        </a:lnTo>
                        <a:lnTo>
                          <a:pt x="2971" y="5217"/>
                        </a:lnTo>
                        <a:lnTo>
                          <a:pt x="2911" y="5193"/>
                        </a:lnTo>
                        <a:lnTo>
                          <a:pt x="2864" y="5145"/>
                        </a:lnTo>
                        <a:lnTo>
                          <a:pt x="2828" y="5133"/>
                        </a:lnTo>
                        <a:lnTo>
                          <a:pt x="2793" y="5086"/>
                        </a:lnTo>
                        <a:lnTo>
                          <a:pt x="2769" y="5086"/>
                        </a:lnTo>
                        <a:lnTo>
                          <a:pt x="2769" y="5074"/>
                        </a:lnTo>
                        <a:lnTo>
                          <a:pt x="2745" y="5074"/>
                        </a:lnTo>
                        <a:lnTo>
                          <a:pt x="2698" y="5038"/>
                        </a:lnTo>
                        <a:lnTo>
                          <a:pt x="2650" y="5050"/>
                        </a:lnTo>
                        <a:lnTo>
                          <a:pt x="2591" y="5038"/>
                        </a:lnTo>
                        <a:lnTo>
                          <a:pt x="2543" y="5003"/>
                        </a:lnTo>
                        <a:lnTo>
                          <a:pt x="2460" y="4919"/>
                        </a:lnTo>
                        <a:lnTo>
                          <a:pt x="2436" y="4884"/>
                        </a:lnTo>
                        <a:lnTo>
                          <a:pt x="2436" y="4884"/>
                        </a:lnTo>
                        <a:lnTo>
                          <a:pt x="2400" y="4789"/>
                        </a:lnTo>
                        <a:lnTo>
                          <a:pt x="2377" y="4729"/>
                        </a:lnTo>
                        <a:lnTo>
                          <a:pt x="2377" y="4706"/>
                        </a:lnTo>
                        <a:lnTo>
                          <a:pt x="2282" y="4670"/>
                        </a:lnTo>
                        <a:lnTo>
                          <a:pt x="2258" y="4622"/>
                        </a:lnTo>
                        <a:lnTo>
                          <a:pt x="2163" y="4539"/>
                        </a:lnTo>
                        <a:lnTo>
                          <a:pt x="2127" y="4515"/>
                        </a:lnTo>
                        <a:lnTo>
                          <a:pt x="2091" y="4515"/>
                        </a:lnTo>
                        <a:lnTo>
                          <a:pt x="2068" y="4527"/>
                        </a:lnTo>
                        <a:lnTo>
                          <a:pt x="2068" y="4575"/>
                        </a:lnTo>
                        <a:lnTo>
                          <a:pt x="2056" y="4587"/>
                        </a:lnTo>
                        <a:lnTo>
                          <a:pt x="2056" y="4622"/>
                        </a:lnTo>
                        <a:lnTo>
                          <a:pt x="2020" y="4670"/>
                        </a:lnTo>
                        <a:lnTo>
                          <a:pt x="1901" y="4753"/>
                        </a:lnTo>
                        <a:lnTo>
                          <a:pt x="1818" y="4777"/>
                        </a:lnTo>
                        <a:lnTo>
                          <a:pt x="1771" y="4801"/>
                        </a:lnTo>
                        <a:lnTo>
                          <a:pt x="1747" y="4801"/>
                        </a:lnTo>
                        <a:lnTo>
                          <a:pt x="1723" y="4789"/>
                        </a:lnTo>
                        <a:lnTo>
                          <a:pt x="1676" y="4789"/>
                        </a:lnTo>
                        <a:lnTo>
                          <a:pt x="1664" y="4753"/>
                        </a:lnTo>
                        <a:lnTo>
                          <a:pt x="1664" y="4706"/>
                        </a:lnTo>
                        <a:lnTo>
                          <a:pt x="1652" y="4670"/>
                        </a:lnTo>
                        <a:lnTo>
                          <a:pt x="1676" y="4599"/>
                        </a:lnTo>
                        <a:lnTo>
                          <a:pt x="1664" y="4539"/>
                        </a:lnTo>
                        <a:lnTo>
                          <a:pt x="1676" y="4480"/>
                        </a:lnTo>
                        <a:lnTo>
                          <a:pt x="1664" y="4456"/>
                        </a:lnTo>
                        <a:lnTo>
                          <a:pt x="1628" y="4397"/>
                        </a:lnTo>
                        <a:lnTo>
                          <a:pt x="1580" y="4361"/>
                        </a:lnTo>
                        <a:lnTo>
                          <a:pt x="1545" y="4313"/>
                        </a:lnTo>
                        <a:lnTo>
                          <a:pt x="1521" y="4254"/>
                        </a:lnTo>
                        <a:lnTo>
                          <a:pt x="1497" y="4218"/>
                        </a:lnTo>
                        <a:lnTo>
                          <a:pt x="1462" y="4206"/>
                        </a:lnTo>
                        <a:lnTo>
                          <a:pt x="1414" y="4147"/>
                        </a:lnTo>
                        <a:lnTo>
                          <a:pt x="1331" y="4099"/>
                        </a:lnTo>
                        <a:lnTo>
                          <a:pt x="1260" y="4004"/>
                        </a:lnTo>
                        <a:lnTo>
                          <a:pt x="1212" y="3969"/>
                        </a:lnTo>
                        <a:lnTo>
                          <a:pt x="1165" y="3897"/>
                        </a:lnTo>
                        <a:lnTo>
                          <a:pt x="1129" y="3874"/>
                        </a:lnTo>
                        <a:lnTo>
                          <a:pt x="1058" y="3838"/>
                        </a:lnTo>
                        <a:lnTo>
                          <a:pt x="1022" y="3814"/>
                        </a:lnTo>
                        <a:lnTo>
                          <a:pt x="998" y="3767"/>
                        </a:lnTo>
                        <a:lnTo>
                          <a:pt x="963" y="3731"/>
                        </a:lnTo>
                        <a:lnTo>
                          <a:pt x="891" y="3695"/>
                        </a:lnTo>
                        <a:lnTo>
                          <a:pt x="832" y="3624"/>
                        </a:lnTo>
                        <a:lnTo>
                          <a:pt x="808" y="3612"/>
                        </a:lnTo>
                        <a:lnTo>
                          <a:pt x="760" y="3612"/>
                        </a:lnTo>
                        <a:lnTo>
                          <a:pt x="689" y="3624"/>
                        </a:lnTo>
                        <a:lnTo>
                          <a:pt x="558" y="3672"/>
                        </a:lnTo>
                        <a:lnTo>
                          <a:pt x="523" y="3719"/>
                        </a:lnTo>
                        <a:lnTo>
                          <a:pt x="475" y="3826"/>
                        </a:lnTo>
                        <a:lnTo>
                          <a:pt x="416" y="3862"/>
                        </a:lnTo>
                        <a:lnTo>
                          <a:pt x="309" y="3862"/>
                        </a:lnTo>
                        <a:lnTo>
                          <a:pt x="261" y="3874"/>
                        </a:lnTo>
                        <a:lnTo>
                          <a:pt x="226" y="3874"/>
                        </a:lnTo>
                        <a:lnTo>
                          <a:pt x="154" y="3850"/>
                        </a:lnTo>
                        <a:lnTo>
                          <a:pt x="107" y="3826"/>
                        </a:lnTo>
                        <a:lnTo>
                          <a:pt x="59" y="3802"/>
                        </a:lnTo>
                        <a:lnTo>
                          <a:pt x="24" y="3779"/>
                        </a:lnTo>
                        <a:lnTo>
                          <a:pt x="0" y="3779"/>
                        </a:lnTo>
                        <a:lnTo>
                          <a:pt x="36" y="3743"/>
                        </a:lnTo>
                        <a:lnTo>
                          <a:pt x="143" y="3660"/>
                        </a:lnTo>
                        <a:lnTo>
                          <a:pt x="214" y="3565"/>
                        </a:lnTo>
                        <a:lnTo>
                          <a:pt x="261" y="3529"/>
                        </a:lnTo>
                        <a:lnTo>
                          <a:pt x="309" y="3470"/>
                        </a:lnTo>
                        <a:lnTo>
                          <a:pt x="321" y="3386"/>
                        </a:lnTo>
                        <a:lnTo>
                          <a:pt x="333" y="3327"/>
                        </a:lnTo>
                        <a:lnTo>
                          <a:pt x="356" y="3303"/>
                        </a:lnTo>
                        <a:lnTo>
                          <a:pt x="380" y="3279"/>
                        </a:lnTo>
                        <a:lnTo>
                          <a:pt x="428" y="3244"/>
                        </a:lnTo>
                        <a:lnTo>
                          <a:pt x="523" y="3232"/>
                        </a:lnTo>
                        <a:lnTo>
                          <a:pt x="558" y="3208"/>
                        </a:lnTo>
                        <a:lnTo>
                          <a:pt x="570" y="3196"/>
                        </a:lnTo>
                        <a:lnTo>
                          <a:pt x="713" y="2970"/>
                        </a:lnTo>
                        <a:lnTo>
                          <a:pt x="832" y="2875"/>
                        </a:lnTo>
                        <a:lnTo>
                          <a:pt x="856" y="2828"/>
                        </a:lnTo>
                        <a:lnTo>
                          <a:pt x="903" y="2733"/>
                        </a:lnTo>
                        <a:lnTo>
                          <a:pt x="951" y="2709"/>
                        </a:lnTo>
                        <a:lnTo>
                          <a:pt x="963" y="2697"/>
                        </a:lnTo>
                        <a:lnTo>
                          <a:pt x="986" y="2626"/>
                        </a:lnTo>
                        <a:lnTo>
                          <a:pt x="1010" y="2543"/>
                        </a:lnTo>
                        <a:lnTo>
                          <a:pt x="1034" y="2507"/>
                        </a:lnTo>
                        <a:lnTo>
                          <a:pt x="1093" y="2448"/>
                        </a:lnTo>
                        <a:lnTo>
                          <a:pt x="1141" y="2412"/>
                        </a:lnTo>
                        <a:lnTo>
                          <a:pt x="1200" y="2400"/>
                        </a:lnTo>
                        <a:lnTo>
                          <a:pt x="1224" y="2376"/>
                        </a:lnTo>
                        <a:lnTo>
                          <a:pt x="1260" y="2257"/>
                        </a:lnTo>
                        <a:lnTo>
                          <a:pt x="1319" y="2210"/>
                        </a:lnTo>
                        <a:lnTo>
                          <a:pt x="1343" y="2174"/>
                        </a:lnTo>
                        <a:lnTo>
                          <a:pt x="1367" y="2067"/>
                        </a:lnTo>
                        <a:lnTo>
                          <a:pt x="1390" y="2044"/>
                        </a:lnTo>
                        <a:lnTo>
                          <a:pt x="1474" y="2008"/>
                        </a:lnTo>
                        <a:lnTo>
                          <a:pt x="1497" y="1996"/>
                        </a:lnTo>
                        <a:lnTo>
                          <a:pt x="1569" y="1877"/>
                        </a:lnTo>
                        <a:lnTo>
                          <a:pt x="1664" y="1794"/>
                        </a:lnTo>
                        <a:lnTo>
                          <a:pt x="1664" y="1723"/>
                        </a:lnTo>
                        <a:lnTo>
                          <a:pt x="1699" y="1699"/>
                        </a:lnTo>
                        <a:lnTo>
                          <a:pt x="1794" y="1651"/>
                        </a:lnTo>
                        <a:lnTo>
                          <a:pt x="1794" y="1640"/>
                        </a:lnTo>
                        <a:lnTo>
                          <a:pt x="1794" y="1616"/>
                        </a:lnTo>
                        <a:lnTo>
                          <a:pt x="1794" y="1544"/>
                        </a:lnTo>
                        <a:lnTo>
                          <a:pt x="1806" y="1521"/>
                        </a:lnTo>
                        <a:lnTo>
                          <a:pt x="1830" y="1509"/>
                        </a:lnTo>
                        <a:lnTo>
                          <a:pt x="1901" y="1521"/>
                        </a:lnTo>
                        <a:lnTo>
                          <a:pt x="1925" y="1533"/>
                        </a:lnTo>
                        <a:lnTo>
                          <a:pt x="1973" y="1580"/>
                        </a:lnTo>
                        <a:lnTo>
                          <a:pt x="1985" y="1592"/>
                        </a:lnTo>
                        <a:lnTo>
                          <a:pt x="1996" y="1568"/>
                        </a:lnTo>
                        <a:lnTo>
                          <a:pt x="2008" y="1533"/>
                        </a:lnTo>
                        <a:lnTo>
                          <a:pt x="1996" y="1485"/>
                        </a:lnTo>
                        <a:lnTo>
                          <a:pt x="1913" y="1414"/>
                        </a:lnTo>
                        <a:lnTo>
                          <a:pt x="1901" y="1390"/>
                        </a:lnTo>
                        <a:lnTo>
                          <a:pt x="1925" y="1366"/>
                        </a:lnTo>
                        <a:lnTo>
                          <a:pt x="2032" y="1295"/>
                        </a:lnTo>
                        <a:lnTo>
                          <a:pt x="2080" y="1259"/>
                        </a:lnTo>
                        <a:lnTo>
                          <a:pt x="2127" y="1271"/>
                        </a:lnTo>
                        <a:lnTo>
                          <a:pt x="2139" y="1259"/>
                        </a:lnTo>
                        <a:lnTo>
                          <a:pt x="2198" y="1200"/>
                        </a:lnTo>
                        <a:lnTo>
                          <a:pt x="2246" y="1200"/>
                        </a:lnTo>
                        <a:lnTo>
                          <a:pt x="2317" y="1105"/>
                        </a:lnTo>
                        <a:lnTo>
                          <a:pt x="2317" y="1045"/>
                        </a:lnTo>
                        <a:lnTo>
                          <a:pt x="2341" y="986"/>
                        </a:lnTo>
                        <a:lnTo>
                          <a:pt x="2377" y="962"/>
                        </a:lnTo>
                        <a:lnTo>
                          <a:pt x="2436" y="950"/>
                        </a:lnTo>
                        <a:lnTo>
                          <a:pt x="2496" y="915"/>
                        </a:lnTo>
                        <a:lnTo>
                          <a:pt x="2519" y="915"/>
                        </a:lnTo>
                        <a:lnTo>
                          <a:pt x="2531" y="926"/>
                        </a:lnTo>
                        <a:lnTo>
                          <a:pt x="2555" y="938"/>
                        </a:lnTo>
                        <a:lnTo>
                          <a:pt x="2567" y="926"/>
                        </a:lnTo>
                        <a:lnTo>
                          <a:pt x="2567" y="891"/>
                        </a:lnTo>
                        <a:lnTo>
                          <a:pt x="2591" y="879"/>
                        </a:lnTo>
                        <a:lnTo>
                          <a:pt x="2614" y="891"/>
                        </a:lnTo>
                        <a:lnTo>
                          <a:pt x="2650" y="891"/>
                        </a:lnTo>
                        <a:lnTo>
                          <a:pt x="2650" y="867"/>
                        </a:lnTo>
                        <a:lnTo>
                          <a:pt x="2614" y="843"/>
                        </a:lnTo>
                        <a:lnTo>
                          <a:pt x="2614" y="808"/>
                        </a:lnTo>
                        <a:lnTo>
                          <a:pt x="2614" y="796"/>
                        </a:lnTo>
                        <a:lnTo>
                          <a:pt x="2650" y="784"/>
                        </a:lnTo>
                        <a:lnTo>
                          <a:pt x="2698" y="796"/>
                        </a:lnTo>
                        <a:lnTo>
                          <a:pt x="2721" y="784"/>
                        </a:lnTo>
                        <a:lnTo>
                          <a:pt x="2745" y="784"/>
                        </a:lnTo>
                        <a:lnTo>
                          <a:pt x="2757" y="784"/>
                        </a:lnTo>
                        <a:lnTo>
                          <a:pt x="2804" y="629"/>
                        </a:lnTo>
                        <a:lnTo>
                          <a:pt x="2828" y="594"/>
                        </a:lnTo>
                        <a:lnTo>
                          <a:pt x="2876" y="570"/>
                        </a:lnTo>
                        <a:lnTo>
                          <a:pt x="2900" y="511"/>
                        </a:lnTo>
                        <a:lnTo>
                          <a:pt x="2900" y="499"/>
                        </a:lnTo>
                        <a:lnTo>
                          <a:pt x="2923" y="511"/>
                        </a:lnTo>
                        <a:lnTo>
                          <a:pt x="2935" y="546"/>
                        </a:lnTo>
                        <a:lnTo>
                          <a:pt x="2971" y="558"/>
                        </a:lnTo>
                        <a:lnTo>
                          <a:pt x="2995" y="546"/>
                        </a:lnTo>
                        <a:lnTo>
                          <a:pt x="3030" y="546"/>
                        </a:lnTo>
                        <a:lnTo>
                          <a:pt x="3054" y="546"/>
                        </a:lnTo>
                        <a:lnTo>
                          <a:pt x="3054" y="522"/>
                        </a:lnTo>
                        <a:lnTo>
                          <a:pt x="3042" y="511"/>
                        </a:lnTo>
                        <a:lnTo>
                          <a:pt x="3042" y="511"/>
                        </a:lnTo>
                        <a:lnTo>
                          <a:pt x="3042" y="487"/>
                        </a:lnTo>
                        <a:lnTo>
                          <a:pt x="3066" y="487"/>
                        </a:lnTo>
                        <a:lnTo>
                          <a:pt x="3102" y="499"/>
                        </a:lnTo>
                        <a:lnTo>
                          <a:pt x="3113" y="487"/>
                        </a:lnTo>
                        <a:lnTo>
                          <a:pt x="3137" y="427"/>
                        </a:lnTo>
                        <a:lnTo>
                          <a:pt x="3149" y="404"/>
                        </a:lnTo>
                        <a:lnTo>
                          <a:pt x="3173" y="404"/>
                        </a:lnTo>
                        <a:lnTo>
                          <a:pt x="3209" y="439"/>
                        </a:lnTo>
                        <a:lnTo>
                          <a:pt x="3256" y="427"/>
                        </a:lnTo>
                        <a:lnTo>
                          <a:pt x="3280" y="427"/>
                        </a:lnTo>
                        <a:lnTo>
                          <a:pt x="3292" y="427"/>
                        </a:lnTo>
                        <a:lnTo>
                          <a:pt x="3292" y="415"/>
                        </a:lnTo>
                        <a:lnTo>
                          <a:pt x="3256" y="392"/>
                        </a:lnTo>
                        <a:lnTo>
                          <a:pt x="3256" y="368"/>
                        </a:lnTo>
                        <a:lnTo>
                          <a:pt x="3280" y="356"/>
                        </a:lnTo>
                        <a:lnTo>
                          <a:pt x="3339" y="368"/>
                        </a:lnTo>
                        <a:lnTo>
                          <a:pt x="3387" y="415"/>
                        </a:lnTo>
                        <a:lnTo>
                          <a:pt x="3399" y="415"/>
                        </a:lnTo>
                        <a:lnTo>
                          <a:pt x="3411" y="404"/>
                        </a:lnTo>
                        <a:lnTo>
                          <a:pt x="3399" y="368"/>
                        </a:lnTo>
                        <a:lnTo>
                          <a:pt x="3399" y="356"/>
                        </a:lnTo>
                        <a:lnTo>
                          <a:pt x="3411" y="356"/>
                        </a:lnTo>
                        <a:lnTo>
                          <a:pt x="3446" y="380"/>
                        </a:lnTo>
                        <a:lnTo>
                          <a:pt x="3458" y="380"/>
                        </a:lnTo>
                        <a:lnTo>
                          <a:pt x="3482" y="344"/>
                        </a:lnTo>
                        <a:lnTo>
                          <a:pt x="3529" y="320"/>
                        </a:lnTo>
                        <a:lnTo>
                          <a:pt x="3541" y="309"/>
                        </a:lnTo>
                        <a:lnTo>
                          <a:pt x="3553" y="213"/>
                        </a:lnTo>
                        <a:lnTo>
                          <a:pt x="3565" y="178"/>
                        </a:lnTo>
                        <a:lnTo>
                          <a:pt x="3589" y="178"/>
                        </a:lnTo>
                        <a:lnTo>
                          <a:pt x="3601" y="213"/>
                        </a:lnTo>
                        <a:lnTo>
                          <a:pt x="3636" y="213"/>
                        </a:lnTo>
                        <a:lnTo>
                          <a:pt x="3696" y="190"/>
                        </a:lnTo>
                        <a:lnTo>
                          <a:pt x="3755" y="130"/>
                        </a:lnTo>
                        <a:lnTo>
                          <a:pt x="3779" y="130"/>
                        </a:lnTo>
                        <a:lnTo>
                          <a:pt x="3803" y="118"/>
                        </a:lnTo>
                        <a:lnTo>
                          <a:pt x="3827" y="83"/>
                        </a:lnTo>
                        <a:lnTo>
                          <a:pt x="3874" y="83"/>
                        </a:lnTo>
                        <a:lnTo>
                          <a:pt x="3910" y="59"/>
                        </a:lnTo>
                        <a:lnTo>
                          <a:pt x="3922" y="59"/>
                        </a:lnTo>
                        <a:lnTo>
                          <a:pt x="3981" y="83"/>
                        </a:lnTo>
                        <a:lnTo>
                          <a:pt x="4088" y="95"/>
                        </a:lnTo>
                        <a:lnTo>
                          <a:pt x="4147" y="130"/>
                        </a:lnTo>
                        <a:lnTo>
                          <a:pt x="4171" y="107"/>
                        </a:lnTo>
                        <a:lnTo>
                          <a:pt x="4195" y="95"/>
                        </a:lnTo>
                        <a:lnTo>
                          <a:pt x="4278" y="107"/>
                        </a:lnTo>
                        <a:lnTo>
                          <a:pt x="4290" y="95"/>
                        </a:lnTo>
                        <a:lnTo>
                          <a:pt x="4302" y="59"/>
                        </a:lnTo>
                        <a:lnTo>
                          <a:pt x="4338" y="47"/>
                        </a:lnTo>
                        <a:lnTo>
                          <a:pt x="4385" y="35"/>
                        </a:lnTo>
                        <a:lnTo>
                          <a:pt x="4421" y="0"/>
                        </a:lnTo>
                        <a:lnTo>
                          <a:pt x="4444" y="0"/>
                        </a:lnTo>
                        <a:lnTo>
                          <a:pt x="4468" y="35"/>
                        </a:lnTo>
                        <a:lnTo>
                          <a:pt x="4492" y="47"/>
                        </a:lnTo>
                        <a:lnTo>
                          <a:pt x="4504" y="71"/>
                        </a:lnTo>
                        <a:lnTo>
                          <a:pt x="4504" y="95"/>
                        </a:lnTo>
                        <a:lnTo>
                          <a:pt x="4492" y="118"/>
                        </a:lnTo>
                        <a:lnTo>
                          <a:pt x="4492" y="142"/>
                        </a:lnTo>
                        <a:lnTo>
                          <a:pt x="4528" y="142"/>
                        </a:lnTo>
                        <a:lnTo>
                          <a:pt x="4575" y="107"/>
                        </a:lnTo>
                        <a:lnTo>
                          <a:pt x="4623" y="118"/>
                        </a:lnTo>
                        <a:lnTo>
                          <a:pt x="4646" y="95"/>
                        </a:lnTo>
                        <a:lnTo>
                          <a:pt x="4670" y="59"/>
                        </a:lnTo>
                        <a:lnTo>
                          <a:pt x="4682" y="59"/>
                        </a:lnTo>
                        <a:lnTo>
                          <a:pt x="4694" y="71"/>
                        </a:lnTo>
                        <a:lnTo>
                          <a:pt x="4694" y="107"/>
                        </a:lnTo>
                        <a:lnTo>
                          <a:pt x="4718" y="118"/>
                        </a:lnTo>
                        <a:lnTo>
                          <a:pt x="4753" y="71"/>
                        </a:lnTo>
                        <a:lnTo>
                          <a:pt x="4753" y="11"/>
                        </a:lnTo>
                        <a:lnTo>
                          <a:pt x="4777" y="0"/>
                        </a:lnTo>
                        <a:lnTo>
                          <a:pt x="4813" y="0"/>
                        </a:lnTo>
                        <a:lnTo>
                          <a:pt x="4825" y="23"/>
                        </a:lnTo>
                        <a:lnTo>
                          <a:pt x="4825" y="71"/>
                        </a:lnTo>
                        <a:lnTo>
                          <a:pt x="4860" y="95"/>
                        </a:lnTo>
                        <a:lnTo>
                          <a:pt x="4860" y="107"/>
                        </a:lnTo>
                        <a:lnTo>
                          <a:pt x="4849" y="130"/>
                        </a:lnTo>
                        <a:lnTo>
                          <a:pt x="4860" y="142"/>
                        </a:lnTo>
                        <a:lnTo>
                          <a:pt x="4872" y="142"/>
                        </a:lnTo>
                        <a:lnTo>
                          <a:pt x="4872" y="118"/>
                        </a:lnTo>
                        <a:lnTo>
                          <a:pt x="4884" y="107"/>
                        </a:lnTo>
                        <a:lnTo>
                          <a:pt x="4896" y="107"/>
                        </a:lnTo>
                        <a:lnTo>
                          <a:pt x="4920" y="130"/>
                        </a:lnTo>
                        <a:lnTo>
                          <a:pt x="4991" y="107"/>
                        </a:lnTo>
                        <a:lnTo>
                          <a:pt x="5015" y="130"/>
                        </a:lnTo>
                        <a:lnTo>
                          <a:pt x="5074" y="118"/>
                        </a:lnTo>
                        <a:lnTo>
                          <a:pt x="5098" y="142"/>
                        </a:lnTo>
                        <a:lnTo>
                          <a:pt x="5098" y="178"/>
                        </a:lnTo>
                        <a:lnTo>
                          <a:pt x="5110" y="190"/>
                        </a:lnTo>
                        <a:lnTo>
                          <a:pt x="5122" y="190"/>
                        </a:lnTo>
                        <a:lnTo>
                          <a:pt x="5134" y="178"/>
                        </a:lnTo>
                        <a:lnTo>
                          <a:pt x="5146" y="178"/>
                        </a:lnTo>
                        <a:lnTo>
                          <a:pt x="5157" y="225"/>
                        </a:lnTo>
                        <a:lnTo>
                          <a:pt x="5181" y="237"/>
                        </a:lnTo>
                        <a:lnTo>
                          <a:pt x="5181" y="225"/>
                        </a:lnTo>
                        <a:lnTo>
                          <a:pt x="5193" y="178"/>
                        </a:lnTo>
                        <a:lnTo>
                          <a:pt x="5264" y="202"/>
                        </a:lnTo>
                        <a:lnTo>
                          <a:pt x="5312" y="202"/>
                        </a:lnTo>
                        <a:lnTo>
                          <a:pt x="5348" y="213"/>
                        </a:lnTo>
                        <a:lnTo>
                          <a:pt x="5360" y="202"/>
                        </a:lnTo>
                        <a:lnTo>
                          <a:pt x="5383" y="213"/>
                        </a:lnTo>
                        <a:lnTo>
                          <a:pt x="5395" y="202"/>
                        </a:lnTo>
                        <a:lnTo>
                          <a:pt x="5407" y="166"/>
                        </a:lnTo>
                        <a:lnTo>
                          <a:pt x="5419" y="166"/>
                        </a:lnTo>
                        <a:lnTo>
                          <a:pt x="5431" y="178"/>
                        </a:lnTo>
                        <a:lnTo>
                          <a:pt x="5431" y="225"/>
                        </a:lnTo>
                        <a:lnTo>
                          <a:pt x="5455" y="249"/>
                        </a:lnTo>
                        <a:lnTo>
                          <a:pt x="5455" y="249"/>
                        </a:lnTo>
                        <a:lnTo>
                          <a:pt x="5466" y="237"/>
                        </a:lnTo>
                        <a:lnTo>
                          <a:pt x="5466" y="213"/>
                        </a:lnTo>
                        <a:lnTo>
                          <a:pt x="5478" y="202"/>
                        </a:lnTo>
                        <a:lnTo>
                          <a:pt x="5490" y="249"/>
                        </a:lnTo>
                        <a:lnTo>
                          <a:pt x="5502" y="261"/>
                        </a:lnTo>
                        <a:lnTo>
                          <a:pt x="5526" y="261"/>
                        </a:lnTo>
                        <a:lnTo>
                          <a:pt x="5538" y="285"/>
                        </a:lnTo>
                        <a:lnTo>
                          <a:pt x="5550" y="285"/>
                        </a:lnTo>
                        <a:lnTo>
                          <a:pt x="5562" y="273"/>
                        </a:lnTo>
                        <a:lnTo>
                          <a:pt x="5562" y="225"/>
                        </a:lnTo>
                        <a:lnTo>
                          <a:pt x="5585" y="213"/>
                        </a:lnTo>
                        <a:lnTo>
                          <a:pt x="5609" y="213"/>
                        </a:lnTo>
                        <a:lnTo>
                          <a:pt x="5621" y="225"/>
                        </a:lnTo>
                        <a:lnTo>
                          <a:pt x="5609" y="249"/>
                        </a:lnTo>
                        <a:lnTo>
                          <a:pt x="5609" y="261"/>
                        </a:lnTo>
                        <a:lnTo>
                          <a:pt x="5633" y="261"/>
                        </a:lnTo>
                        <a:lnTo>
                          <a:pt x="5657" y="297"/>
                        </a:lnTo>
                        <a:lnTo>
                          <a:pt x="5668" y="297"/>
                        </a:lnTo>
                        <a:lnTo>
                          <a:pt x="5680" y="249"/>
                        </a:lnTo>
                        <a:lnTo>
                          <a:pt x="5692" y="249"/>
                        </a:lnTo>
                        <a:lnTo>
                          <a:pt x="5728" y="273"/>
                        </a:lnTo>
                        <a:lnTo>
                          <a:pt x="5740" y="249"/>
                        </a:lnTo>
                        <a:lnTo>
                          <a:pt x="5752" y="249"/>
                        </a:lnTo>
                        <a:lnTo>
                          <a:pt x="5775" y="261"/>
                        </a:lnTo>
                        <a:lnTo>
                          <a:pt x="5775" y="285"/>
                        </a:lnTo>
                        <a:lnTo>
                          <a:pt x="5799" y="309"/>
                        </a:lnTo>
                        <a:lnTo>
                          <a:pt x="5871" y="309"/>
                        </a:lnTo>
                        <a:lnTo>
                          <a:pt x="5882" y="344"/>
                        </a:lnTo>
                        <a:lnTo>
                          <a:pt x="5930" y="368"/>
                        </a:lnTo>
                        <a:lnTo>
                          <a:pt x="5918" y="380"/>
                        </a:lnTo>
                        <a:lnTo>
                          <a:pt x="5894" y="392"/>
                        </a:lnTo>
                        <a:lnTo>
                          <a:pt x="5906" y="404"/>
                        </a:lnTo>
                        <a:lnTo>
                          <a:pt x="5942" y="415"/>
                        </a:lnTo>
                        <a:lnTo>
                          <a:pt x="5954" y="463"/>
                        </a:lnTo>
                        <a:lnTo>
                          <a:pt x="5977" y="463"/>
                        </a:lnTo>
                        <a:lnTo>
                          <a:pt x="6013" y="511"/>
                        </a:lnTo>
                        <a:lnTo>
                          <a:pt x="6061" y="499"/>
                        </a:lnTo>
                        <a:lnTo>
                          <a:pt x="6084" y="522"/>
                        </a:lnTo>
                        <a:lnTo>
                          <a:pt x="6096" y="522"/>
                        </a:lnTo>
                        <a:lnTo>
                          <a:pt x="6120" y="511"/>
                        </a:lnTo>
                        <a:lnTo>
                          <a:pt x="6168" y="511"/>
                        </a:lnTo>
                        <a:lnTo>
                          <a:pt x="6203" y="499"/>
                        </a:lnTo>
                        <a:lnTo>
                          <a:pt x="6215" y="534"/>
                        </a:lnTo>
                        <a:lnTo>
                          <a:pt x="6227" y="546"/>
                        </a:lnTo>
                        <a:lnTo>
                          <a:pt x="6239" y="534"/>
                        </a:lnTo>
                        <a:lnTo>
                          <a:pt x="6251" y="499"/>
                        </a:lnTo>
                        <a:lnTo>
                          <a:pt x="6263" y="499"/>
                        </a:lnTo>
                        <a:lnTo>
                          <a:pt x="6275" y="511"/>
                        </a:lnTo>
                        <a:lnTo>
                          <a:pt x="6263" y="558"/>
                        </a:lnTo>
                        <a:lnTo>
                          <a:pt x="6275" y="582"/>
                        </a:lnTo>
                        <a:lnTo>
                          <a:pt x="6286" y="570"/>
                        </a:lnTo>
                        <a:lnTo>
                          <a:pt x="6298" y="546"/>
                        </a:lnTo>
                        <a:lnTo>
                          <a:pt x="6310" y="546"/>
                        </a:lnTo>
                        <a:lnTo>
                          <a:pt x="6346" y="594"/>
                        </a:lnTo>
                        <a:lnTo>
                          <a:pt x="6405" y="570"/>
                        </a:lnTo>
                        <a:lnTo>
                          <a:pt x="6417" y="582"/>
                        </a:lnTo>
                        <a:lnTo>
                          <a:pt x="6488" y="689"/>
                        </a:lnTo>
                        <a:lnTo>
                          <a:pt x="6524" y="689"/>
                        </a:lnTo>
                        <a:lnTo>
                          <a:pt x="6536" y="677"/>
                        </a:lnTo>
                        <a:lnTo>
                          <a:pt x="6548" y="677"/>
                        </a:lnTo>
                        <a:lnTo>
                          <a:pt x="6560" y="689"/>
                        </a:lnTo>
                        <a:lnTo>
                          <a:pt x="6560" y="713"/>
                        </a:lnTo>
                        <a:lnTo>
                          <a:pt x="6607" y="736"/>
                        </a:lnTo>
                        <a:lnTo>
                          <a:pt x="6643" y="796"/>
                        </a:lnTo>
                        <a:lnTo>
                          <a:pt x="6679" y="820"/>
                        </a:lnTo>
                        <a:lnTo>
                          <a:pt x="6762" y="867"/>
                        </a:lnTo>
                        <a:lnTo>
                          <a:pt x="6809" y="903"/>
                        </a:lnTo>
                        <a:lnTo>
                          <a:pt x="6928" y="1033"/>
                        </a:lnTo>
                        <a:lnTo>
                          <a:pt x="6988" y="1093"/>
                        </a:lnTo>
                        <a:lnTo>
                          <a:pt x="7023" y="1105"/>
                        </a:lnTo>
                        <a:lnTo>
                          <a:pt x="7047" y="1140"/>
                        </a:lnTo>
                        <a:lnTo>
                          <a:pt x="7047" y="1200"/>
                        </a:lnTo>
                        <a:lnTo>
                          <a:pt x="7059" y="1224"/>
                        </a:lnTo>
                        <a:lnTo>
                          <a:pt x="7166" y="1307"/>
                        </a:lnTo>
                        <a:lnTo>
                          <a:pt x="7213" y="1402"/>
                        </a:lnTo>
                        <a:lnTo>
                          <a:pt x="7332" y="1592"/>
                        </a:lnTo>
                        <a:lnTo>
                          <a:pt x="7451" y="1640"/>
                        </a:lnTo>
                        <a:lnTo>
                          <a:pt x="7499" y="1628"/>
                        </a:lnTo>
                        <a:lnTo>
                          <a:pt x="7546" y="1640"/>
                        </a:lnTo>
                        <a:lnTo>
                          <a:pt x="7570" y="1628"/>
                        </a:lnTo>
                        <a:lnTo>
                          <a:pt x="7629" y="1651"/>
                        </a:lnTo>
                        <a:lnTo>
                          <a:pt x="7701" y="1651"/>
                        </a:lnTo>
                        <a:lnTo>
                          <a:pt x="7748" y="1663"/>
                        </a:lnTo>
                        <a:lnTo>
                          <a:pt x="7819" y="1735"/>
                        </a:lnTo>
                        <a:lnTo>
                          <a:pt x="7831" y="1723"/>
                        </a:lnTo>
                        <a:lnTo>
                          <a:pt x="7831" y="1699"/>
                        </a:lnTo>
                        <a:lnTo>
                          <a:pt x="7915" y="1711"/>
                        </a:lnTo>
                        <a:lnTo>
                          <a:pt x="7998" y="1699"/>
                        </a:lnTo>
                        <a:lnTo>
                          <a:pt x="8021" y="1699"/>
                        </a:lnTo>
                        <a:lnTo>
                          <a:pt x="8033" y="1711"/>
                        </a:lnTo>
                        <a:lnTo>
                          <a:pt x="8081" y="1687"/>
                        </a:lnTo>
                        <a:lnTo>
                          <a:pt x="8105" y="1675"/>
                        </a:lnTo>
                        <a:lnTo>
                          <a:pt x="8128" y="1699"/>
                        </a:lnTo>
                        <a:lnTo>
                          <a:pt x="8140" y="1746"/>
                        </a:lnTo>
                        <a:lnTo>
                          <a:pt x="8176" y="1746"/>
                        </a:lnTo>
                        <a:lnTo>
                          <a:pt x="8235" y="1711"/>
                        </a:lnTo>
                        <a:lnTo>
                          <a:pt x="8235" y="1770"/>
                        </a:lnTo>
                        <a:lnTo>
                          <a:pt x="8271" y="1818"/>
                        </a:lnTo>
                        <a:lnTo>
                          <a:pt x="8330" y="1853"/>
                        </a:lnTo>
                        <a:lnTo>
                          <a:pt x="8354" y="1889"/>
                        </a:lnTo>
                        <a:lnTo>
                          <a:pt x="8354" y="1901"/>
                        </a:lnTo>
                        <a:lnTo>
                          <a:pt x="8342" y="1913"/>
                        </a:lnTo>
                        <a:lnTo>
                          <a:pt x="8319" y="1913"/>
                        </a:lnTo>
                        <a:lnTo>
                          <a:pt x="8235" y="1901"/>
                        </a:lnTo>
                        <a:lnTo>
                          <a:pt x="8200" y="1925"/>
                        </a:lnTo>
                        <a:lnTo>
                          <a:pt x="8188" y="1948"/>
                        </a:lnTo>
                        <a:lnTo>
                          <a:pt x="8188" y="1960"/>
                        </a:lnTo>
                        <a:lnTo>
                          <a:pt x="8235" y="2008"/>
                        </a:lnTo>
                        <a:lnTo>
                          <a:pt x="8224" y="2032"/>
                        </a:lnTo>
                        <a:lnTo>
                          <a:pt x="8212" y="2044"/>
                        </a:lnTo>
                        <a:lnTo>
                          <a:pt x="8188" y="2032"/>
                        </a:lnTo>
                        <a:lnTo>
                          <a:pt x="8152" y="1984"/>
                        </a:lnTo>
                        <a:lnTo>
                          <a:pt x="8128" y="1984"/>
                        </a:lnTo>
                        <a:lnTo>
                          <a:pt x="8105" y="2008"/>
                        </a:lnTo>
                        <a:lnTo>
                          <a:pt x="8045" y="2115"/>
                        </a:lnTo>
                        <a:lnTo>
                          <a:pt x="8057" y="2186"/>
                        </a:lnTo>
                        <a:lnTo>
                          <a:pt x="8033" y="2234"/>
                        </a:lnTo>
                        <a:lnTo>
                          <a:pt x="8045" y="2341"/>
                        </a:lnTo>
                        <a:lnTo>
                          <a:pt x="8033" y="2412"/>
                        </a:lnTo>
                        <a:lnTo>
                          <a:pt x="7998" y="2471"/>
                        </a:lnTo>
                        <a:lnTo>
                          <a:pt x="7950" y="2471"/>
                        </a:lnTo>
                        <a:lnTo>
                          <a:pt x="7950" y="2459"/>
                        </a:lnTo>
                        <a:lnTo>
                          <a:pt x="7915" y="2471"/>
                        </a:lnTo>
                        <a:lnTo>
                          <a:pt x="7879" y="2543"/>
                        </a:lnTo>
                        <a:lnTo>
                          <a:pt x="7855" y="2555"/>
                        </a:lnTo>
                        <a:lnTo>
                          <a:pt x="7831" y="2590"/>
                        </a:lnTo>
                        <a:lnTo>
                          <a:pt x="7843" y="2626"/>
                        </a:lnTo>
                        <a:lnTo>
                          <a:pt x="7819" y="2685"/>
                        </a:lnTo>
                        <a:lnTo>
                          <a:pt x="7867" y="2709"/>
                        </a:lnTo>
                        <a:lnTo>
                          <a:pt x="7891" y="2768"/>
                        </a:lnTo>
                        <a:lnTo>
                          <a:pt x="7915" y="2780"/>
                        </a:lnTo>
                        <a:lnTo>
                          <a:pt x="7938" y="2768"/>
                        </a:lnTo>
                        <a:lnTo>
                          <a:pt x="7903" y="2697"/>
                        </a:lnTo>
                        <a:lnTo>
                          <a:pt x="7903" y="2662"/>
                        </a:lnTo>
                        <a:lnTo>
                          <a:pt x="7915" y="2650"/>
                        </a:lnTo>
                        <a:lnTo>
                          <a:pt x="7974" y="2626"/>
                        </a:lnTo>
                        <a:lnTo>
                          <a:pt x="7986" y="2614"/>
                        </a:lnTo>
                        <a:lnTo>
                          <a:pt x="8069" y="2602"/>
                        </a:lnTo>
                        <a:lnTo>
                          <a:pt x="8069" y="2590"/>
                        </a:lnTo>
                        <a:lnTo>
                          <a:pt x="8117" y="2626"/>
                        </a:lnTo>
                        <a:lnTo>
                          <a:pt x="8140" y="2673"/>
                        </a:lnTo>
                        <a:lnTo>
                          <a:pt x="8164" y="2685"/>
                        </a:lnTo>
                        <a:lnTo>
                          <a:pt x="8188" y="2697"/>
                        </a:lnTo>
                        <a:lnTo>
                          <a:pt x="8271" y="2697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3" name="Freeform 451"/>
                  <p:cNvSpPr>
                    <a:spLocks/>
                  </p:cNvSpPr>
                  <p:nvPr/>
                </p:nvSpPr>
                <p:spPr bwMode="auto">
                  <a:xfrm>
                    <a:off x="11217275" y="33982025"/>
                    <a:ext cx="38100" cy="114300"/>
                  </a:xfrm>
                  <a:custGeom>
                    <a:avLst/>
                    <a:gdLst/>
                    <a:ahLst/>
                    <a:cxnLst>
                      <a:cxn ang="0">
                        <a:pos x="24" y="0"/>
                      </a:cxn>
                      <a:cxn ang="0">
                        <a:pos x="24" y="24"/>
                      </a:cxn>
                      <a:cxn ang="0">
                        <a:pos x="12" y="72"/>
                      </a:cxn>
                      <a:cxn ang="0">
                        <a:pos x="0" y="60"/>
                      </a:cxn>
                      <a:cxn ang="0">
                        <a:pos x="0" y="36"/>
                      </a:cxn>
                      <a:cxn ang="0">
                        <a:pos x="12" y="0"/>
                      </a:cxn>
                      <a:cxn ang="0">
                        <a:pos x="24" y="0"/>
                      </a:cxn>
                    </a:cxnLst>
                    <a:rect l="0" t="0" r="r" b="b"/>
                    <a:pathLst>
                      <a:path w="24" h="72">
                        <a:moveTo>
                          <a:pt x="24" y="0"/>
                        </a:moveTo>
                        <a:lnTo>
                          <a:pt x="24" y="24"/>
                        </a:lnTo>
                        <a:lnTo>
                          <a:pt x="12" y="72"/>
                        </a:lnTo>
                        <a:lnTo>
                          <a:pt x="0" y="60"/>
                        </a:lnTo>
                        <a:lnTo>
                          <a:pt x="0" y="36"/>
                        </a:lnTo>
                        <a:lnTo>
                          <a:pt x="12" y="0"/>
                        </a:lnTo>
                        <a:lnTo>
                          <a:pt x="24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4" name="Freeform 453"/>
                  <p:cNvSpPr>
                    <a:spLocks/>
                  </p:cNvSpPr>
                  <p:nvPr/>
                </p:nvSpPr>
                <p:spPr bwMode="auto">
                  <a:xfrm>
                    <a:off x="10198100" y="33247012"/>
                    <a:ext cx="38100" cy="74613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4" y="0"/>
                      </a:cxn>
                      <a:cxn ang="0">
                        <a:pos x="24" y="24"/>
                      </a:cxn>
                      <a:cxn ang="0">
                        <a:pos x="24" y="47"/>
                      </a:cxn>
                      <a:cxn ang="0">
                        <a:pos x="12" y="47"/>
                      </a:cxn>
                      <a:cxn ang="0">
                        <a:pos x="0" y="24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24" h="47">
                        <a:moveTo>
                          <a:pt x="0" y="0"/>
                        </a:moveTo>
                        <a:lnTo>
                          <a:pt x="24" y="0"/>
                        </a:lnTo>
                        <a:lnTo>
                          <a:pt x="24" y="24"/>
                        </a:lnTo>
                        <a:lnTo>
                          <a:pt x="24" y="47"/>
                        </a:lnTo>
                        <a:lnTo>
                          <a:pt x="12" y="47"/>
                        </a:lnTo>
                        <a:lnTo>
                          <a:pt x="0" y="2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5" name="Freeform 455"/>
                  <p:cNvSpPr>
                    <a:spLocks/>
                  </p:cNvSpPr>
                  <p:nvPr/>
                </p:nvSpPr>
                <p:spPr bwMode="auto">
                  <a:xfrm>
                    <a:off x="8556625" y="37037962"/>
                    <a:ext cx="150813" cy="95250"/>
                  </a:xfrm>
                  <a:custGeom>
                    <a:avLst/>
                    <a:gdLst/>
                    <a:ahLst/>
                    <a:cxnLst>
                      <a:cxn ang="0">
                        <a:pos x="95" y="0"/>
                      </a:cxn>
                      <a:cxn ang="0">
                        <a:pos x="95" y="24"/>
                      </a:cxn>
                      <a:cxn ang="0">
                        <a:pos x="95" y="48"/>
                      </a:cxn>
                      <a:cxn ang="0">
                        <a:pos x="60" y="48"/>
                      </a:cxn>
                      <a:cxn ang="0">
                        <a:pos x="36" y="60"/>
                      </a:cxn>
                      <a:cxn ang="0">
                        <a:pos x="12" y="48"/>
                      </a:cxn>
                      <a:cxn ang="0">
                        <a:pos x="0" y="36"/>
                      </a:cxn>
                      <a:cxn ang="0">
                        <a:pos x="12" y="12"/>
                      </a:cxn>
                      <a:cxn ang="0">
                        <a:pos x="36" y="0"/>
                      </a:cxn>
                      <a:cxn ang="0">
                        <a:pos x="60" y="0"/>
                      </a:cxn>
                      <a:cxn ang="0">
                        <a:pos x="95" y="0"/>
                      </a:cxn>
                    </a:cxnLst>
                    <a:rect l="0" t="0" r="r" b="b"/>
                    <a:pathLst>
                      <a:path w="95" h="60">
                        <a:moveTo>
                          <a:pt x="95" y="0"/>
                        </a:moveTo>
                        <a:lnTo>
                          <a:pt x="95" y="24"/>
                        </a:lnTo>
                        <a:lnTo>
                          <a:pt x="95" y="48"/>
                        </a:lnTo>
                        <a:lnTo>
                          <a:pt x="60" y="48"/>
                        </a:lnTo>
                        <a:lnTo>
                          <a:pt x="36" y="60"/>
                        </a:lnTo>
                        <a:lnTo>
                          <a:pt x="12" y="48"/>
                        </a:lnTo>
                        <a:lnTo>
                          <a:pt x="0" y="36"/>
                        </a:lnTo>
                        <a:lnTo>
                          <a:pt x="12" y="12"/>
                        </a:lnTo>
                        <a:lnTo>
                          <a:pt x="36" y="0"/>
                        </a:lnTo>
                        <a:lnTo>
                          <a:pt x="60" y="0"/>
                        </a:lnTo>
                        <a:lnTo>
                          <a:pt x="95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134" name="Group 648"/>
                <p:cNvGrpSpPr/>
                <p:nvPr/>
              </p:nvGrpSpPr>
              <p:grpSpPr>
                <a:xfrm>
                  <a:off x="-3649662" y="-28500395"/>
                  <a:ext cx="24450668" cy="23675973"/>
                  <a:chOff x="-3649663" y="-28500388"/>
                  <a:chExt cx="24450675" cy="23675975"/>
                </a:xfrm>
                <a:grpFill/>
              </p:grpSpPr>
              <p:sp>
                <p:nvSpPr>
                  <p:cNvPr id="164" name="Freeform 330"/>
                  <p:cNvSpPr>
                    <a:spLocks/>
                  </p:cNvSpPr>
                  <p:nvPr/>
                </p:nvSpPr>
                <p:spPr bwMode="auto">
                  <a:xfrm>
                    <a:off x="13669963" y="-23726775"/>
                    <a:ext cx="866775" cy="433388"/>
                  </a:xfrm>
                  <a:custGeom>
                    <a:avLst/>
                    <a:gdLst/>
                    <a:ahLst/>
                    <a:cxnLst>
                      <a:cxn ang="0">
                        <a:pos x="475" y="226"/>
                      </a:cxn>
                      <a:cxn ang="0">
                        <a:pos x="499" y="190"/>
                      </a:cxn>
                      <a:cxn ang="0">
                        <a:pos x="535" y="154"/>
                      </a:cxn>
                      <a:cxn ang="0">
                        <a:pos x="546" y="119"/>
                      </a:cxn>
                      <a:cxn ang="0">
                        <a:pos x="523" y="71"/>
                      </a:cxn>
                      <a:cxn ang="0">
                        <a:pos x="475" y="35"/>
                      </a:cxn>
                      <a:cxn ang="0">
                        <a:pos x="404" y="12"/>
                      </a:cxn>
                      <a:cxn ang="0">
                        <a:pos x="321" y="0"/>
                      </a:cxn>
                      <a:cxn ang="0">
                        <a:pos x="273" y="12"/>
                      </a:cxn>
                      <a:cxn ang="0">
                        <a:pos x="226" y="24"/>
                      </a:cxn>
                      <a:cxn ang="0">
                        <a:pos x="178" y="59"/>
                      </a:cxn>
                      <a:cxn ang="0">
                        <a:pos x="119" y="95"/>
                      </a:cxn>
                      <a:cxn ang="0">
                        <a:pos x="24" y="154"/>
                      </a:cxn>
                      <a:cxn ang="0">
                        <a:pos x="0" y="190"/>
                      </a:cxn>
                      <a:cxn ang="0">
                        <a:pos x="0" y="214"/>
                      </a:cxn>
                      <a:cxn ang="0">
                        <a:pos x="35" y="249"/>
                      </a:cxn>
                      <a:cxn ang="0">
                        <a:pos x="71" y="273"/>
                      </a:cxn>
                      <a:cxn ang="0">
                        <a:pos x="154" y="273"/>
                      </a:cxn>
                      <a:cxn ang="0">
                        <a:pos x="309" y="273"/>
                      </a:cxn>
                      <a:cxn ang="0">
                        <a:pos x="475" y="226"/>
                      </a:cxn>
                    </a:cxnLst>
                    <a:rect l="0" t="0" r="r" b="b"/>
                    <a:pathLst>
                      <a:path w="546" h="273">
                        <a:moveTo>
                          <a:pt x="475" y="226"/>
                        </a:moveTo>
                        <a:lnTo>
                          <a:pt x="499" y="190"/>
                        </a:lnTo>
                        <a:lnTo>
                          <a:pt x="535" y="154"/>
                        </a:lnTo>
                        <a:lnTo>
                          <a:pt x="546" y="119"/>
                        </a:lnTo>
                        <a:lnTo>
                          <a:pt x="523" y="71"/>
                        </a:lnTo>
                        <a:lnTo>
                          <a:pt x="475" y="35"/>
                        </a:lnTo>
                        <a:lnTo>
                          <a:pt x="404" y="12"/>
                        </a:lnTo>
                        <a:lnTo>
                          <a:pt x="321" y="0"/>
                        </a:lnTo>
                        <a:lnTo>
                          <a:pt x="273" y="12"/>
                        </a:lnTo>
                        <a:lnTo>
                          <a:pt x="226" y="24"/>
                        </a:lnTo>
                        <a:lnTo>
                          <a:pt x="178" y="59"/>
                        </a:lnTo>
                        <a:lnTo>
                          <a:pt x="119" y="95"/>
                        </a:lnTo>
                        <a:lnTo>
                          <a:pt x="24" y="154"/>
                        </a:lnTo>
                        <a:lnTo>
                          <a:pt x="0" y="190"/>
                        </a:lnTo>
                        <a:lnTo>
                          <a:pt x="0" y="214"/>
                        </a:lnTo>
                        <a:lnTo>
                          <a:pt x="35" y="249"/>
                        </a:lnTo>
                        <a:lnTo>
                          <a:pt x="71" y="273"/>
                        </a:lnTo>
                        <a:lnTo>
                          <a:pt x="154" y="273"/>
                        </a:lnTo>
                        <a:lnTo>
                          <a:pt x="309" y="273"/>
                        </a:lnTo>
                        <a:lnTo>
                          <a:pt x="475" y="22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5" name="Freeform 332"/>
                  <p:cNvSpPr>
                    <a:spLocks/>
                  </p:cNvSpPr>
                  <p:nvPr/>
                </p:nvSpPr>
                <p:spPr bwMode="auto">
                  <a:xfrm>
                    <a:off x="13971588" y="-23934738"/>
                    <a:ext cx="93663" cy="76200"/>
                  </a:xfrm>
                  <a:custGeom>
                    <a:avLst/>
                    <a:gdLst/>
                    <a:ahLst/>
                    <a:cxnLst>
                      <a:cxn ang="0">
                        <a:pos x="0" y="36"/>
                      </a:cxn>
                      <a:cxn ang="0">
                        <a:pos x="24" y="48"/>
                      </a:cxn>
                      <a:cxn ang="0">
                        <a:pos x="59" y="36"/>
                      </a:cxn>
                      <a:cxn ang="0">
                        <a:pos x="59" y="24"/>
                      </a:cxn>
                      <a:cxn ang="0">
                        <a:pos x="59" y="0"/>
                      </a:cxn>
                      <a:cxn ang="0">
                        <a:pos x="12" y="0"/>
                      </a:cxn>
                      <a:cxn ang="0">
                        <a:pos x="0" y="12"/>
                      </a:cxn>
                      <a:cxn ang="0">
                        <a:pos x="0" y="36"/>
                      </a:cxn>
                    </a:cxnLst>
                    <a:rect l="0" t="0" r="r" b="b"/>
                    <a:pathLst>
                      <a:path w="59" h="48">
                        <a:moveTo>
                          <a:pt x="0" y="36"/>
                        </a:moveTo>
                        <a:lnTo>
                          <a:pt x="24" y="48"/>
                        </a:lnTo>
                        <a:lnTo>
                          <a:pt x="59" y="36"/>
                        </a:lnTo>
                        <a:lnTo>
                          <a:pt x="59" y="24"/>
                        </a:lnTo>
                        <a:lnTo>
                          <a:pt x="59" y="0"/>
                        </a:lnTo>
                        <a:lnTo>
                          <a:pt x="12" y="0"/>
                        </a:lnTo>
                        <a:lnTo>
                          <a:pt x="0" y="12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6" name="Freeform 334"/>
                  <p:cNvSpPr>
                    <a:spLocks/>
                  </p:cNvSpPr>
                  <p:nvPr/>
                </p:nvSpPr>
                <p:spPr bwMode="auto">
                  <a:xfrm>
                    <a:off x="15367000" y="-23293388"/>
                    <a:ext cx="114300" cy="112713"/>
                  </a:xfrm>
                  <a:custGeom>
                    <a:avLst/>
                    <a:gdLst/>
                    <a:ahLst/>
                    <a:cxnLst>
                      <a:cxn ang="0">
                        <a:pos x="36" y="0"/>
                      </a:cxn>
                      <a:cxn ang="0">
                        <a:pos x="72" y="24"/>
                      </a:cxn>
                      <a:cxn ang="0">
                        <a:pos x="72" y="36"/>
                      </a:cxn>
                      <a:cxn ang="0">
                        <a:pos x="48" y="60"/>
                      </a:cxn>
                      <a:cxn ang="0">
                        <a:pos x="12" y="71"/>
                      </a:cxn>
                      <a:cxn ang="0">
                        <a:pos x="0" y="48"/>
                      </a:cxn>
                      <a:cxn ang="0">
                        <a:pos x="0" y="24"/>
                      </a:cxn>
                      <a:cxn ang="0">
                        <a:pos x="12" y="0"/>
                      </a:cxn>
                      <a:cxn ang="0">
                        <a:pos x="36" y="0"/>
                      </a:cxn>
                    </a:cxnLst>
                    <a:rect l="0" t="0" r="r" b="b"/>
                    <a:pathLst>
                      <a:path w="72" h="71">
                        <a:moveTo>
                          <a:pt x="36" y="0"/>
                        </a:moveTo>
                        <a:lnTo>
                          <a:pt x="72" y="24"/>
                        </a:lnTo>
                        <a:lnTo>
                          <a:pt x="72" y="36"/>
                        </a:lnTo>
                        <a:lnTo>
                          <a:pt x="48" y="60"/>
                        </a:lnTo>
                        <a:lnTo>
                          <a:pt x="12" y="71"/>
                        </a:lnTo>
                        <a:lnTo>
                          <a:pt x="0" y="48"/>
                        </a:lnTo>
                        <a:lnTo>
                          <a:pt x="0" y="24"/>
                        </a:lnTo>
                        <a:lnTo>
                          <a:pt x="12" y="0"/>
                        </a:lnTo>
                        <a:lnTo>
                          <a:pt x="36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7" name="Freeform 336"/>
                  <p:cNvSpPr>
                    <a:spLocks/>
                  </p:cNvSpPr>
                  <p:nvPr/>
                </p:nvSpPr>
                <p:spPr bwMode="auto">
                  <a:xfrm>
                    <a:off x="12576175" y="-24255413"/>
                    <a:ext cx="1508125" cy="773113"/>
                  </a:xfrm>
                  <a:custGeom>
                    <a:avLst/>
                    <a:gdLst/>
                    <a:ahLst/>
                    <a:cxnLst>
                      <a:cxn ang="0">
                        <a:pos x="831" y="0"/>
                      </a:cxn>
                      <a:cxn ang="0">
                        <a:pos x="796" y="24"/>
                      </a:cxn>
                      <a:cxn ang="0">
                        <a:pos x="689" y="24"/>
                      </a:cxn>
                      <a:cxn ang="0">
                        <a:pos x="629" y="48"/>
                      </a:cxn>
                      <a:cxn ang="0">
                        <a:pos x="594" y="48"/>
                      </a:cxn>
                      <a:cxn ang="0">
                        <a:pos x="570" y="48"/>
                      </a:cxn>
                      <a:cxn ang="0">
                        <a:pos x="522" y="36"/>
                      </a:cxn>
                      <a:cxn ang="0">
                        <a:pos x="511" y="36"/>
                      </a:cxn>
                      <a:cxn ang="0">
                        <a:pos x="487" y="83"/>
                      </a:cxn>
                      <a:cxn ang="0">
                        <a:pos x="416" y="83"/>
                      </a:cxn>
                      <a:cxn ang="0">
                        <a:pos x="380" y="143"/>
                      </a:cxn>
                      <a:cxn ang="0">
                        <a:pos x="332" y="155"/>
                      </a:cxn>
                      <a:cxn ang="0">
                        <a:pos x="261" y="155"/>
                      </a:cxn>
                      <a:cxn ang="0">
                        <a:pos x="225" y="143"/>
                      </a:cxn>
                      <a:cxn ang="0">
                        <a:pos x="142" y="166"/>
                      </a:cxn>
                      <a:cxn ang="0">
                        <a:pos x="95" y="190"/>
                      </a:cxn>
                      <a:cxn ang="0">
                        <a:pos x="35" y="166"/>
                      </a:cxn>
                      <a:cxn ang="0">
                        <a:pos x="11" y="178"/>
                      </a:cxn>
                      <a:cxn ang="0">
                        <a:pos x="0" y="202"/>
                      </a:cxn>
                      <a:cxn ang="0">
                        <a:pos x="23" y="297"/>
                      </a:cxn>
                      <a:cxn ang="0">
                        <a:pos x="35" y="297"/>
                      </a:cxn>
                      <a:cxn ang="0">
                        <a:pos x="47" y="285"/>
                      </a:cxn>
                      <a:cxn ang="0">
                        <a:pos x="59" y="285"/>
                      </a:cxn>
                      <a:cxn ang="0">
                        <a:pos x="59" y="368"/>
                      </a:cxn>
                      <a:cxn ang="0">
                        <a:pos x="71" y="380"/>
                      </a:cxn>
                      <a:cxn ang="0">
                        <a:pos x="107" y="392"/>
                      </a:cxn>
                      <a:cxn ang="0">
                        <a:pos x="213" y="392"/>
                      </a:cxn>
                      <a:cxn ang="0">
                        <a:pos x="368" y="392"/>
                      </a:cxn>
                      <a:cxn ang="0">
                        <a:pos x="416" y="416"/>
                      </a:cxn>
                      <a:cxn ang="0">
                        <a:pos x="427" y="416"/>
                      </a:cxn>
                      <a:cxn ang="0">
                        <a:pos x="475" y="475"/>
                      </a:cxn>
                      <a:cxn ang="0">
                        <a:pos x="487" y="487"/>
                      </a:cxn>
                      <a:cxn ang="0">
                        <a:pos x="511" y="487"/>
                      </a:cxn>
                      <a:cxn ang="0">
                        <a:pos x="558" y="452"/>
                      </a:cxn>
                      <a:cxn ang="0">
                        <a:pos x="618" y="452"/>
                      </a:cxn>
                      <a:cxn ang="0">
                        <a:pos x="653" y="416"/>
                      </a:cxn>
                      <a:cxn ang="0">
                        <a:pos x="689" y="380"/>
                      </a:cxn>
                      <a:cxn ang="0">
                        <a:pos x="724" y="321"/>
                      </a:cxn>
                      <a:cxn ang="0">
                        <a:pos x="772" y="226"/>
                      </a:cxn>
                      <a:cxn ang="0">
                        <a:pos x="843" y="190"/>
                      </a:cxn>
                      <a:cxn ang="0">
                        <a:pos x="915" y="166"/>
                      </a:cxn>
                      <a:cxn ang="0">
                        <a:pos x="950" y="143"/>
                      </a:cxn>
                      <a:cxn ang="0">
                        <a:pos x="950" y="107"/>
                      </a:cxn>
                      <a:cxn ang="0">
                        <a:pos x="950" y="59"/>
                      </a:cxn>
                      <a:cxn ang="0">
                        <a:pos x="891" y="0"/>
                      </a:cxn>
                      <a:cxn ang="0">
                        <a:pos x="831" y="0"/>
                      </a:cxn>
                    </a:cxnLst>
                    <a:rect l="0" t="0" r="r" b="b"/>
                    <a:pathLst>
                      <a:path w="950" h="487">
                        <a:moveTo>
                          <a:pt x="831" y="0"/>
                        </a:moveTo>
                        <a:lnTo>
                          <a:pt x="796" y="24"/>
                        </a:lnTo>
                        <a:lnTo>
                          <a:pt x="689" y="24"/>
                        </a:lnTo>
                        <a:lnTo>
                          <a:pt x="629" y="48"/>
                        </a:lnTo>
                        <a:lnTo>
                          <a:pt x="594" y="48"/>
                        </a:lnTo>
                        <a:lnTo>
                          <a:pt x="570" y="48"/>
                        </a:lnTo>
                        <a:lnTo>
                          <a:pt x="522" y="36"/>
                        </a:lnTo>
                        <a:lnTo>
                          <a:pt x="511" y="36"/>
                        </a:lnTo>
                        <a:lnTo>
                          <a:pt x="487" y="83"/>
                        </a:lnTo>
                        <a:lnTo>
                          <a:pt x="416" y="83"/>
                        </a:lnTo>
                        <a:lnTo>
                          <a:pt x="380" y="143"/>
                        </a:lnTo>
                        <a:lnTo>
                          <a:pt x="332" y="155"/>
                        </a:lnTo>
                        <a:lnTo>
                          <a:pt x="261" y="155"/>
                        </a:lnTo>
                        <a:lnTo>
                          <a:pt x="225" y="143"/>
                        </a:lnTo>
                        <a:lnTo>
                          <a:pt x="142" y="166"/>
                        </a:lnTo>
                        <a:lnTo>
                          <a:pt x="95" y="190"/>
                        </a:lnTo>
                        <a:lnTo>
                          <a:pt x="35" y="166"/>
                        </a:lnTo>
                        <a:lnTo>
                          <a:pt x="11" y="178"/>
                        </a:lnTo>
                        <a:lnTo>
                          <a:pt x="0" y="202"/>
                        </a:lnTo>
                        <a:lnTo>
                          <a:pt x="23" y="297"/>
                        </a:lnTo>
                        <a:lnTo>
                          <a:pt x="35" y="297"/>
                        </a:lnTo>
                        <a:lnTo>
                          <a:pt x="47" y="285"/>
                        </a:lnTo>
                        <a:lnTo>
                          <a:pt x="59" y="285"/>
                        </a:lnTo>
                        <a:lnTo>
                          <a:pt x="59" y="368"/>
                        </a:lnTo>
                        <a:lnTo>
                          <a:pt x="71" y="380"/>
                        </a:lnTo>
                        <a:lnTo>
                          <a:pt x="107" y="392"/>
                        </a:lnTo>
                        <a:lnTo>
                          <a:pt x="213" y="392"/>
                        </a:lnTo>
                        <a:lnTo>
                          <a:pt x="368" y="392"/>
                        </a:lnTo>
                        <a:lnTo>
                          <a:pt x="416" y="416"/>
                        </a:lnTo>
                        <a:lnTo>
                          <a:pt x="427" y="416"/>
                        </a:lnTo>
                        <a:lnTo>
                          <a:pt x="475" y="475"/>
                        </a:lnTo>
                        <a:lnTo>
                          <a:pt x="487" y="487"/>
                        </a:lnTo>
                        <a:lnTo>
                          <a:pt x="511" y="487"/>
                        </a:lnTo>
                        <a:lnTo>
                          <a:pt x="558" y="452"/>
                        </a:lnTo>
                        <a:lnTo>
                          <a:pt x="618" y="452"/>
                        </a:lnTo>
                        <a:lnTo>
                          <a:pt x="653" y="416"/>
                        </a:lnTo>
                        <a:lnTo>
                          <a:pt x="689" y="380"/>
                        </a:lnTo>
                        <a:lnTo>
                          <a:pt x="724" y="321"/>
                        </a:lnTo>
                        <a:lnTo>
                          <a:pt x="772" y="226"/>
                        </a:lnTo>
                        <a:lnTo>
                          <a:pt x="843" y="190"/>
                        </a:lnTo>
                        <a:lnTo>
                          <a:pt x="915" y="166"/>
                        </a:lnTo>
                        <a:lnTo>
                          <a:pt x="950" y="143"/>
                        </a:lnTo>
                        <a:lnTo>
                          <a:pt x="950" y="107"/>
                        </a:lnTo>
                        <a:lnTo>
                          <a:pt x="950" y="59"/>
                        </a:lnTo>
                        <a:lnTo>
                          <a:pt x="891" y="0"/>
                        </a:lnTo>
                        <a:lnTo>
                          <a:pt x="831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8" name="Freeform 338"/>
                  <p:cNvSpPr>
                    <a:spLocks/>
                  </p:cNvSpPr>
                  <p:nvPr/>
                </p:nvSpPr>
                <p:spPr bwMode="auto">
                  <a:xfrm>
                    <a:off x="12896850" y="-24236363"/>
                    <a:ext cx="301625" cy="188913"/>
                  </a:xfrm>
                  <a:custGeom>
                    <a:avLst/>
                    <a:gdLst/>
                    <a:ahLst/>
                    <a:cxnLst>
                      <a:cxn ang="0">
                        <a:pos x="0" y="95"/>
                      </a:cxn>
                      <a:cxn ang="0">
                        <a:pos x="83" y="24"/>
                      </a:cxn>
                      <a:cxn ang="0">
                        <a:pos x="166" y="0"/>
                      </a:cxn>
                      <a:cxn ang="0">
                        <a:pos x="178" y="0"/>
                      </a:cxn>
                      <a:cxn ang="0">
                        <a:pos x="190" y="0"/>
                      </a:cxn>
                      <a:cxn ang="0">
                        <a:pos x="190" y="24"/>
                      </a:cxn>
                      <a:cxn ang="0">
                        <a:pos x="178" y="47"/>
                      </a:cxn>
                      <a:cxn ang="0">
                        <a:pos x="95" y="83"/>
                      </a:cxn>
                      <a:cxn ang="0">
                        <a:pos x="59" y="107"/>
                      </a:cxn>
                      <a:cxn ang="0">
                        <a:pos x="0" y="119"/>
                      </a:cxn>
                      <a:cxn ang="0">
                        <a:pos x="0" y="95"/>
                      </a:cxn>
                    </a:cxnLst>
                    <a:rect l="0" t="0" r="r" b="b"/>
                    <a:pathLst>
                      <a:path w="190" h="119">
                        <a:moveTo>
                          <a:pt x="0" y="95"/>
                        </a:moveTo>
                        <a:lnTo>
                          <a:pt x="83" y="24"/>
                        </a:lnTo>
                        <a:lnTo>
                          <a:pt x="166" y="0"/>
                        </a:lnTo>
                        <a:lnTo>
                          <a:pt x="178" y="0"/>
                        </a:lnTo>
                        <a:lnTo>
                          <a:pt x="190" y="0"/>
                        </a:lnTo>
                        <a:lnTo>
                          <a:pt x="190" y="24"/>
                        </a:lnTo>
                        <a:lnTo>
                          <a:pt x="178" y="47"/>
                        </a:lnTo>
                        <a:lnTo>
                          <a:pt x="95" y="83"/>
                        </a:lnTo>
                        <a:lnTo>
                          <a:pt x="59" y="107"/>
                        </a:lnTo>
                        <a:lnTo>
                          <a:pt x="0" y="119"/>
                        </a:lnTo>
                        <a:lnTo>
                          <a:pt x="0" y="95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9" name="Freeform 340"/>
                  <p:cNvSpPr>
                    <a:spLocks/>
                  </p:cNvSpPr>
                  <p:nvPr/>
                </p:nvSpPr>
                <p:spPr bwMode="auto">
                  <a:xfrm>
                    <a:off x="12763500" y="-24803100"/>
                    <a:ext cx="509588" cy="566738"/>
                  </a:xfrm>
                  <a:custGeom>
                    <a:avLst/>
                    <a:gdLst/>
                    <a:ahLst/>
                    <a:cxnLst>
                      <a:cxn ang="0">
                        <a:pos x="250" y="0"/>
                      </a:cxn>
                      <a:cxn ang="0">
                        <a:pos x="274" y="0"/>
                      </a:cxn>
                      <a:cxn ang="0">
                        <a:pos x="286" y="24"/>
                      </a:cxn>
                      <a:cxn ang="0">
                        <a:pos x="309" y="95"/>
                      </a:cxn>
                      <a:cxn ang="0">
                        <a:pos x="321" y="131"/>
                      </a:cxn>
                      <a:cxn ang="0">
                        <a:pos x="298" y="167"/>
                      </a:cxn>
                      <a:cxn ang="0">
                        <a:pos x="274" y="214"/>
                      </a:cxn>
                      <a:cxn ang="0">
                        <a:pos x="214" y="262"/>
                      </a:cxn>
                      <a:cxn ang="0">
                        <a:pos x="167" y="309"/>
                      </a:cxn>
                      <a:cxn ang="0">
                        <a:pos x="107" y="333"/>
                      </a:cxn>
                      <a:cxn ang="0">
                        <a:pos x="48" y="357"/>
                      </a:cxn>
                      <a:cxn ang="0">
                        <a:pos x="24" y="357"/>
                      </a:cxn>
                      <a:cxn ang="0">
                        <a:pos x="0" y="333"/>
                      </a:cxn>
                      <a:cxn ang="0">
                        <a:pos x="12" y="250"/>
                      </a:cxn>
                      <a:cxn ang="0">
                        <a:pos x="12" y="179"/>
                      </a:cxn>
                      <a:cxn ang="0">
                        <a:pos x="12" y="131"/>
                      </a:cxn>
                      <a:cxn ang="0">
                        <a:pos x="36" y="84"/>
                      </a:cxn>
                      <a:cxn ang="0">
                        <a:pos x="60" y="60"/>
                      </a:cxn>
                      <a:cxn ang="0">
                        <a:pos x="107" y="60"/>
                      </a:cxn>
                      <a:cxn ang="0">
                        <a:pos x="155" y="48"/>
                      </a:cxn>
                      <a:cxn ang="0">
                        <a:pos x="179" y="60"/>
                      </a:cxn>
                      <a:cxn ang="0">
                        <a:pos x="214" y="60"/>
                      </a:cxn>
                      <a:cxn ang="0">
                        <a:pos x="238" y="12"/>
                      </a:cxn>
                      <a:cxn ang="0">
                        <a:pos x="250" y="0"/>
                      </a:cxn>
                    </a:cxnLst>
                    <a:rect l="0" t="0" r="r" b="b"/>
                    <a:pathLst>
                      <a:path w="321" h="357">
                        <a:moveTo>
                          <a:pt x="250" y="0"/>
                        </a:moveTo>
                        <a:lnTo>
                          <a:pt x="274" y="0"/>
                        </a:lnTo>
                        <a:lnTo>
                          <a:pt x="286" y="24"/>
                        </a:lnTo>
                        <a:lnTo>
                          <a:pt x="309" y="95"/>
                        </a:lnTo>
                        <a:lnTo>
                          <a:pt x="321" y="131"/>
                        </a:lnTo>
                        <a:lnTo>
                          <a:pt x="298" y="167"/>
                        </a:lnTo>
                        <a:lnTo>
                          <a:pt x="274" y="214"/>
                        </a:lnTo>
                        <a:lnTo>
                          <a:pt x="214" y="262"/>
                        </a:lnTo>
                        <a:lnTo>
                          <a:pt x="167" y="309"/>
                        </a:lnTo>
                        <a:lnTo>
                          <a:pt x="107" y="333"/>
                        </a:lnTo>
                        <a:lnTo>
                          <a:pt x="48" y="357"/>
                        </a:lnTo>
                        <a:lnTo>
                          <a:pt x="24" y="357"/>
                        </a:lnTo>
                        <a:lnTo>
                          <a:pt x="0" y="333"/>
                        </a:lnTo>
                        <a:lnTo>
                          <a:pt x="12" y="250"/>
                        </a:lnTo>
                        <a:lnTo>
                          <a:pt x="12" y="179"/>
                        </a:lnTo>
                        <a:lnTo>
                          <a:pt x="12" y="131"/>
                        </a:lnTo>
                        <a:lnTo>
                          <a:pt x="36" y="84"/>
                        </a:lnTo>
                        <a:lnTo>
                          <a:pt x="60" y="60"/>
                        </a:lnTo>
                        <a:lnTo>
                          <a:pt x="107" y="60"/>
                        </a:lnTo>
                        <a:lnTo>
                          <a:pt x="155" y="48"/>
                        </a:lnTo>
                        <a:lnTo>
                          <a:pt x="179" y="60"/>
                        </a:lnTo>
                        <a:lnTo>
                          <a:pt x="214" y="60"/>
                        </a:lnTo>
                        <a:lnTo>
                          <a:pt x="238" y="12"/>
                        </a:lnTo>
                        <a:lnTo>
                          <a:pt x="250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0" name="Freeform 342"/>
                  <p:cNvSpPr>
                    <a:spLocks/>
                  </p:cNvSpPr>
                  <p:nvPr/>
                </p:nvSpPr>
                <p:spPr bwMode="auto">
                  <a:xfrm>
                    <a:off x="12330113" y="-24726900"/>
                    <a:ext cx="433388" cy="849313"/>
                  </a:xfrm>
                  <a:custGeom>
                    <a:avLst/>
                    <a:gdLst/>
                    <a:ahLst/>
                    <a:cxnLst>
                      <a:cxn ang="0">
                        <a:pos x="190" y="0"/>
                      </a:cxn>
                      <a:cxn ang="0">
                        <a:pos x="202" y="0"/>
                      </a:cxn>
                      <a:cxn ang="0">
                        <a:pos x="226" y="59"/>
                      </a:cxn>
                      <a:cxn ang="0">
                        <a:pos x="238" y="83"/>
                      </a:cxn>
                      <a:cxn ang="0">
                        <a:pos x="238" y="119"/>
                      </a:cxn>
                      <a:cxn ang="0">
                        <a:pos x="238" y="190"/>
                      </a:cxn>
                      <a:cxn ang="0">
                        <a:pos x="238" y="249"/>
                      </a:cxn>
                      <a:cxn ang="0">
                        <a:pos x="238" y="261"/>
                      </a:cxn>
                      <a:cxn ang="0">
                        <a:pos x="273" y="368"/>
                      </a:cxn>
                      <a:cxn ang="0">
                        <a:pos x="273" y="392"/>
                      </a:cxn>
                      <a:cxn ang="0">
                        <a:pos x="226" y="428"/>
                      </a:cxn>
                      <a:cxn ang="0">
                        <a:pos x="166" y="428"/>
                      </a:cxn>
                      <a:cxn ang="0">
                        <a:pos x="143" y="428"/>
                      </a:cxn>
                      <a:cxn ang="0">
                        <a:pos x="131" y="463"/>
                      </a:cxn>
                      <a:cxn ang="0">
                        <a:pos x="119" y="523"/>
                      </a:cxn>
                      <a:cxn ang="0">
                        <a:pos x="107" y="535"/>
                      </a:cxn>
                      <a:cxn ang="0">
                        <a:pos x="83" y="511"/>
                      </a:cxn>
                      <a:cxn ang="0">
                        <a:pos x="24" y="475"/>
                      </a:cxn>
                      <a:cxn ang="0">
                        <a:pos x="0" y="440"/>
                      </a:cxn>
                      <a:cxn ang="0">
                        <a:pos x="12" y="404"/>
                      </a:cxn>
                      <a:cxn ang="0">
                        <a:pos x="59" y="356"/>
                      </a:cxn>
                      <a:cxn ang="0">
                        <a:pos x="95" y="309"/>
                      </a:cxn>
                      <a:cxn ang="0">
                        <a:pos x="107" y="285"/>
                      </a:cxn>
                      <a:cxn ang="0">
                        <a:pos x="107" y="273"/>
                      </a:cxn>
                      <a:cxn ang="0">
                        <a:pos x="131" y="119"/>
                      </a:cxn>
                      <a:cxn ang="0">
                        <a:pos x="155" y="59"/>
                      </a:cxn>
                      <a:cxn ang="0">
                        <a:pos x="178" y="12"/>
                      </a:cxn>
                      <a:cxn ang="0">
                        <a:pos x="190" y="0"/>
                      </a:cxn>
                    </a:cxnLst>
                    <a:rect l="0" t="0" r="r" b="b"/>
                    <a:pathLst>
                      <a:path w="273" h="535">
                        <a:moveTo>
                          <a:pt x="190" y="0"/>
                        </a:moveTo>
                        <a:lnTo>
                          <a:pt x="202" y="0"/>
                        </a:lnTo>
                        <a:lnTo>
                          <a:pt x="226" y="59"/>
                        </a:lnTo>
                        <a:lnTo>
                          <a:pt x="238" y="83"/>
                        </a:lnTo>
                        <a:lnTo>
                          <a:pt x="238" y="119"/>
                        </a:lnTo>
                        <a:lnTo>
                          <a:pt x="238" y="190"/>
                        </a:lnTo>
                        <a:lnTo>
                          <a:pt x="238" y="249"/>
                        </a:lnTo>
                        <a:lnTo>
                          <a:pt x="238" y="261"/>
                        </a:lnTo>
                        <a:lnTo>
                          <a:pt x="273" y="368"/>
                        </a:lnTo>
                        <a:lnTo>
                          <a:pt x="273" y="392"/>
                        </a:lnTo>
                        <a:lnTo>
                          <a:pt x="226" y="428"/>
                        </a:lnTo>
                        <a:lnTo>
                          <a:pt x="166" y="428"/>
                        </a:lnTo>
                        <a:lnTo>
                          <a:pt x="143" y="428"/>
                        </a:lnTo>
                        <a:lnTo>
                          <a:pt x="131" y="463"/>
                        </a:lnTo>
                        <a:lnTo>
                          <a:pt x="119" y="523"/>
                        </a:lnTo>
                        <a:lnTo>
                          <a:pt x="107" y="535"/>
                        </a:lnTo>
                        <a:lnTo>
                          <a:pt x="83" y="511"/>
                        </a:lnTo>
                        <a:lnTo>
                          <a:pt x="24" y="475"/>
                        </a:lnTo>
                        <a:lnTo>
                          <a:pt x="0" y="440"/>
                        </a:lnTo>
                        <a:lnTo>
                          <a:pt x="12" y="404"/>
                        </a:lnTo>
                        <a:lnTo>
                          <a:pt x="59" y="356"/>
                        </a:lnTo>
                        <a:lnTo>
                          <a:pt x="95" y="309"/>
                        </a:lnTo>
                        <a:lnTo>
                          <a:pt x="107" y="285"/>
                        </a:lnTo>
                        <a:lnTo>
                          <a:pt x="107" y="273"/>
                        </a:lnTo>
                        <a:lnTo>
                          <a:pt x="131" y="119"/>
                        </a:lnTo>
                        <a:lnTo>
                          <a:pt x="155" y="59"/>
                        </a:lnTo>
                        <a:lnTo>
                          <a:pt x="178" y="12"/>
                        </a:lnTo>
                        <a:lnTo>
                          <a:pt x="190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1" name="Freeform 344"/>
                  <p:cNvSpPr>
                    <a:spLocks/>
                  </p:cNvSpPr>
                  <p:nvPr/>
                </p:nvSpPr>
                <p:spPr bwMode="auto">
                  <a:xfrm>
                    <a:off x="12103100" y="-23934738"/>
                    <a:ext cx="415925" cy="414338"/>
                  </a:xfrm>
                  <a:custGeom>
                    <a:avLst/>
                    <a:gdLst/>
                    <a:ahLst/>
                    <a:cxnLst>
                      <a:cxn ang="0">
                        <a:pos x="72" y="0"/>
                      </a:cxn>
                      <a:cxn ang="0">
                        <a:pos x="131" y="12"/>
                      </a:cxn>
                      <a:cxn ang="0">
                        <a:pos x="226" y="59"/>
                      </a:cxn>
                      <a:cxn ang="0">
                        <a:pos x="250" y="95"/>
                      </a:cxn>
                      <a:cxn ang="0">
                        <a:pos x="262" y="226"/>
                      </a:cxn>
                      <a:cxn ang="0">
                        <a:pos x="226" y="261"/>
                      </a:cxn>
                      <a:cxn ang="0">
                        <a:pos x="191" y="261"/>
                      </a:cxn>
                      <a:cxn ang="0">
                        <a:pos x="119" y="226"/>
                      </a:cxn>
                      <a:cxn ang="0">
                        <a:pos x="96" y="214"/>
                      </a:cxn>
                      <a:cxn ang="0">
                        <a:pos x="84" y="202"/>
                      </a:cxn>
                      <a:cxn ang="0">
                        <a:pos x="96" y="178"/>
                      </a:cxn>
                      <a:cxn ang="0">
                        <a:pos x="119" y="166"/>
                      </a:cxn>
                      <a:cxn ang="0">
                        <a:pos x="155" y="166"/>
                      </a:cxn>
                      <a:cxn ang="0">
                        <a:pos x="202" y="178"/>
                      </a:cxn>
                      <a:cxn ang="0">
                        <a:pos x="202" y="166"/>
                      </a:cxn>
                      <a:cxn ang="0">
                        <a:pos x="202" y="155"/>
                      </a:cxn>
                      <a:cxn ang="0">
                        <a:pos x="119" y="131"/>
                      </a:cxn>
                      <a:cxn ang="0">
                        <a:pos x="72" y="166"/>
                      </a:cxn>
                      <a:cxn ang="0">
                        <a:pos x="36" y="166"/>
                      </a:cxn>
                      <a:cxn ang="0">
                        <a:pos x="24" y="143"/>
                      </a:cxn>
                      <a:cxn ang="0">
                        <a:pos x="0" y="71"/>
                      </a:cxn>
                      <a:cxn ang="0">
                        <a:pos x="12" y="48"/>
                      </a:cxn>
                      <a:cxn ang="0">
                        <a:pos x="72" y="0"/>
                      </a:cxn>
                    </a:cxnLst>
                    <a:rect l="0" t="0" r="r" b="b"/>
                    <a:pathLst>
                      <a:path w="262" h="261">
                        <a:moveTo>
                          <a:pt x="72" y="0"/>
                        </a:moveTo>
                        <a:lnTo>
                          <a:pt x="131" y="12"/>
                        </a:lnTo>
                        <a:lnTo>
                          <a:pt x="226" y="59"/>
                        </a:lnTo>
                        <a:lnTo>
                          <a:pt x="250" y="95"/>
                        </a:lnTo>
                        <a:lnTo>
                          <a:pt x="262" y="226"/>
                        </a:lnTo>
                        <a:lnTo>
                          <a:pt x="226" y="261"/>
                        </a:lnTo>
                        <a:lnTo>
                          <a:pt x="191" y="261"/>
                        </a:lnTo>
                        <a:lnTo>
                          <a:pt x="119" y="226"/>
                        </a:lnTo>
                        <a:lnTo>
                          <a:pt x="96" y="214"/>
                        </a:lnTo>
                        <a:lnTo>
                          <a:pt x="84" y="202"/>
                        </a:lnTo>
                        <a:lnTo>
                          <a:pt x="96" y="178"/>
                        </a:lnTo>
                        <a:lnTo>
                          <a:pt x="119" y="166"/>
                        </a:lnTo>
                        <a:lnTo>
                          <a:pt x="155" y="166"/>
                        </a:lnTo>
                        <a:lnTo>
                          <a:pt x="202" y="178"/>
                        </a:lnTo>
                        <a:lnTo>
                          <a:pt x="202" y="166"/>
                        </a:lnTo>
                        <a:lnTo>
                          <a:pt x="202" y="155"/>
                        </a:lnTo>
                        <a:lnTo>
                          <a:pt x="119" y="131"/>
                        </a:lnTo>
                        <a:lnTo>
                          <a:pt x="72" y="166"/>
                        </a:lnTo>
                        <a:lnTo>
                          <a:pt x="36" y="166"/>
                        </a:lnTo>
                        <a:lnTo>
                          <a:pt x="24" y="143"/>
                        </a:lnTo>
                        <a:lnTo>
                          <a:pt x="0" y="71"/>
                        </a:lnTo>
                        <a:lnTo>
                          <a:pt x="12" y="48"/>
                        </a:lnTo>
                        <a:lnTo>
                          <a:pt x="72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2" name="Freeform 346"/>
                  <p:cNvSpPr>
                    <a:spLocks/>
                  </p:cNvSpPr>
                  <p:nvPr/>
                </p:nvSpPr>
                <p:spPr bwMode="auto">
                  <a:xfrm>
                    <a:off x="12519025" y="-23537863"/>
                    <a:ext cx="150813" cy="112713"/>
                  </a:xfrm>
                  <a:custGeom>
                    <a:avLst/>
                    <a:gdLst/>
                    <a:ahLst/>
                    <a:cxnLst>
                      <a:cxn ang="0">
                        <a:pos x="36" y="71"/>
                      </a:cxn>
                      <a:cxn ang="0">
                        <a:pos x="0" y="59"/>
                      </a:cxn>
                      <a:cxn ang="0">
                        <a:pos x="0" y="47"/>
                      </a:cxn>
                      <a:cxn ang="0">
                        <a:pos x="12" y="35"/>
                      </a:cxn>
                      <a:cxn ang="0">
                        <a:pos x="47" y="23"/>
                      </a:cxn>
                      <a:cxn ang="0">
                        <a:pos x="59" y="0"/>
                      </a:cxn>
                      <a:cxn ang="0">
                        <a:pos x="83" y="0"/>
                      </a:cxn>
                      <a:cxn ang="0">
                        <a:pos x="95" y="23"/>
                      </a:cxn>
                      <a:cxn ang="0">
                        <a:pos x="83" y="47"/>
                      </a:cxn>
                      <a:cxn ang="0">
                        <a:pos x="36" y="71"/>
                      </a:cxn>
                    </a:cxnLst>
                    <a:rect l="0" t="0" r="r" b="b"/>
                    <a:pathLst>
                      <a:path w="95" h="71">
                        <a:moveTo>
                          <a:pt x="36" y="71"/>
                        </a:moveTo>
                        <a:lnTo>
                          <a:pt x="0" y="59"/>
                        </a:lnTo>
                        <a:lnTo>
                          <a:pt x="0" y="47"/>
                        </a:lnTo>
                        <a:lnTo>
                          <a:pt x="12" y="35"/>
                        </a:lnTo>
                        <a:lnTo>
                          <a:pt x="47" y="23"/>
                        </a:lnTo>
                        <a:lnTo>
                          <a:pt x="59" y="0"/>
                        </a:lnTo>
                        <a:lnTo>
                          <a:pt x="83" y="0"/>
                        </a:lnTo>
                        <a:lnTo>
                          <a:pt x="95" y="23"/>
                        </a:lnTo>
                        <a:lnTo>
                          <a:pt x="83" y="47"/>
                        </a:lnTo>
                        <a:lnTo>
                          <a:pt x="36" y="71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3" name="Freeform 348"/>
                  <p:cNvSpPr>
                    <a:spLocks/>
                  </p:cNvSpPr>
                  <p:nvPr/>
                </p:nvSpPr>
                <p:spPr bwMode="auto">
                  <a:xfrm>
                    <a:off x="12461875" y="-23368000"/>
                    <a:ext cx="131763" cy="74613"/>
                  </a:xfrm>
                  <a:custGeom>
                    <a:avLst/>
                    <a:gdLst/>
                    <a:ahLst/>
                    <a:cxnLst>
                      <a:cxn ang="0">
                        <a:pos x="83" y="0"/>
                      </a:cxn>
                      <a:cxn ang="0">
                        <a:pos x="83" y="11"/>
                      </a:cxn>
                      <a:cxn ang="0">
                        <a:pos x="60" y="47"/>
                      </a:cxn>
                      <a:cxn ang="0">
                        <a:pos x="0" y="23"/>
                      </a:cxn>
                      <a:cxn ang="0">
                        <a:pos x="0" y="11"/>
                      </a:cxn>
                      <a:cxn ang="0">
                        <a:pos x="83" y="0"/>
                      </a:cxn>
                    </a:cxnLst>
                    <a:rect l="0" t="0" r="r" b="b"/>
                    <a:pathLst>
                      <a:path w="83" h="47">
                        <a:moveTo>
                          <a:pt x="83" y="0"/>
                        </a:moveTo>
                        <a:lnTo>
                          <a:pt x="83" y="11"/>
                        </a:lnTo>
                        <a:lnTo>
                          <a:pt x="60" y="47"/>
                        </a:lnTo>
                        <a:lnTo>
                          <a:pt x="0" y="23"/>
                        </a:lnTo>
                        <a:lnTo>
                          <a:pt x="0" y="11"/>
                        </a:lnTo>
                        <a:lnTo>
                          <a:pt x="83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4" name="Freeform 350"/>
                  <p:cNvSpPr>
                    <a:spLocks/>
                  </p:cNvSpPr>
                  <p:nvPr/>
                </p:nvSpPr>
                <p:spPr bwMode="auto">
                  <a:xfrm>
                    <a:off x="12349163" y="-23274338"/>
                    <a:ext cx="188913" cy="112713"/>
                  </a:xfrm>
                  <a:custGeom>
                    <a:avLst/>
                    <a:gdLst/>
                    <a:ahLst/>
                    <a:cxnLst>
                      <a:cxn ang="0">
                        <a:pos x="107" y="12"/>
                      </a:cxn>
                      <a:cxn ang="0">
                        <a:pos x="119" y="24"/>
                      </a:cxn>
                      <a:cxn ang="0">
                        <a:pos x="119" y="36"/>
                      </a:cxn>
                      <a:cxn ang="0">
                        <a:pos x="83" y="71"/>
                      </a:cxn>
                      <a:cxn ang="0">
                        <a:pos x="59" y="71"/>
                      </a:cxn>
                      <a:cxn ang="0">
                        <a:pos x="0" y="36"/>
                      </a:cxn>
                      <a:cxn ang="0">
                        <a:pos x="0" y="24"/>
                      </a:cxn>
                      <a:cxn ang="0">
                        <a:pos x="12" y="12"/>
                      </a:cxn>
                      <a:cxn ang="0">
                        <a:pos x="36" y="0"/>
                      </a:cxn>
                      <a:cxn ang="0">
                        <a:pos x="107" y="12"/>
                      </a:cxn>
                    </a:cxnLst>
                    <a:rect l="0" t="0" r="r" b="b"/>
                    <a:pathLst>
                      <a:path w="119" h="71">
                        <a:moveTo>
                          <a:pt x="107" y="12"/>
                        </a:moveTo>
                        <a:lnTo>
                          <a:pt x="119" y="24"/>
                        </a:lnTo>
                        <a:lnTo>
                          <a:pt x="119" y="36"/>
                        </a:lnTo>
                        <a:lnTo>
                          <a:pt x="83" y="71"/>
                        </a:lnTo>
                        <a:lnTo>
                          <a:pt x="59" y="71"/>
                        </a:lnTo>
                        <a:lnTo>
                          <a:pt x="0" y="36"/>
                        </a:lnTo>
                        <a:lnTo>
                          <a:pt x="0" y="24"/>
                        </a:lnTo>
                        <a:lnTo>
                          <a:pt x="12" y="12"/>
                        </a:lnTo>
                        <a:lnTo>
                          <a:pt x="36" y="0"/>
                        </a:lnTo>
                        <a:lnTo>
                          <a:pt x="107" y="12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5" name="Freeform 352"/>
                  <p:cNvSpPr>
                    <a:spLocks/>
                  </p:cNvSpPr>
                  <p:nvPr/>
                </p:nvSpPr>
                <p:spPr bwMode="auto">
                  <a:xfrm>
                    <a:off x="11990388" y="-23198138"/>
                    <a:ext cx="698500" cy="696913"/>
                  </a:xfrm>
                  <a:custGeom>
                    <a:avLst/>
                    <a:gdLst/>
                    <a:ahLst/>
                    <a:cxnLst>
                      <a:cxn ang="0">
                        <a:pos x="309" y="71"/>
                      </a:cxn>
                      <a:cxn ang="0">
                        <a:pos x="357" y="23"/>
                      </a:cxn>
                      <a:cxn ang="0">
                        <a:pos x="369" y="35"/>
                      </a:cxn>
                      <a:cxn ang="0">
                        <a:pos x="380" y="71"/>
                      </a:cxn>
                      <a:cxn ang="0">
                        <a:pos x="369" y="95"/>
                      </a:cxn>
                      <a:cxn ang="0">
                        <a:pos x="369" y="118"/>
                      </a:cxn>
                      <a:cxn ang="0">
                        <a:pos x="428" y="213"/>
                      </a:cxn>
                      <a:cxn ang="0">
                        <a:pos x="440" y="273"/>
                      </a:cxn>
                      <a:cxn ang="0">
                        <a:pos x="416" y="344"/>
                      </a:cxn>
                      <a:cxn ang="0">
                        <a:pos x="380" y="368"/>
                      </a:cxn>
                      <a:cxn ang="0">
                        <a:pos x="321" y="380"/>
                      </a:cxn>
                      <a:cxn ang="0">
                        <a:pos x="297" y="404"/>
                      </a:cxn>
                      <a:cxn ang="0">
                        <a:pos x="250" y="404"/>
                      </a:cxn>
                      <a:cxn ang="0">
                        <a:pos x="214" y="439"/>
                      </a:cxn>
                      <a:cxn ang="0">
                        <a:pos x="190" y="439"/>
                      </a:cxn>
                      <a:cxn ang="0">
                        <a:pos x="167" y="415"/>
                      </a:cxn>
                      <a:cxn ang="0">
                        <a:pos x="119" y="404"/>
                      </a:cxn>
                      <a:cxn ang="0">
                        <a:pos x="71" y="332"/>
                      </a:cxn>
                      <a:cxn ang="0">
                        <a:pos x="24" y="297"/>
                      </a:cxn>
                      <a:cxn ang="0">
                        <a:pos x="0" y="249"/>
                      </a:cxn>
                      <a:cxn ang="0">
                        <a:pos x="12" y="213"/>
                      </a:cxn>
                      <a:cxn ang="0">
                        <a:pos x="60" y="154"/>
                      </a:cxn>
                      <a:cxn ang="0">
                        <a:pos x="107" y="59"/>
                      </a:cxn>
                      <a:cxn ang="0">
                        <a:pos x="131" y="11"/>
                      </a:cxn>
                      <a:cxn ang="0">
                        <a:pos x="167" y="0"/>
                      </a:cxn>
                      <a:cxn ang="0">
                        <a:pos x="190" y="11"/>
                      </a:cxn>
                      <a:cxn ang="0">
                        <a:pos x="214" y="35"/>
                      </a:cxn>
                      <a:cxn ang="0">
                        <a:pos x="250" y="47"/>
                      </a:cxn>
                      <a:cxn ang="0">
                        <a:pos x="262" y="71"/>
                      </a:cxn>
                      <a:cxn ang="0">
                        <a:pos x="285" y="83"/>
                      </a:cxn>
                      <a:cxn ang="0">
                        <a:pos x="309" y="71"/>
                      </a:cxn>
                    </a:cxnLst>
                    <a:rect l="0" t="0" r="r" b="b"/>
                    <a:pathLst>
                      <a:path w="440" h="439">
                        <a:moveTo>
                          <a:pt x="309" y="71"/>
                        </a:moveTo>
                        <a:lnTo>
                          <a:pt x="357" y="23"/>
                        </a:lnTo>
                        <a:lnTo>
                          <a:pt x="369" y="35"/>
                        </a:lnTo>
                        <a:lnTo>
                          <a:pt x="380" y="71"/>
                        </a:lnTo>
                        <a:lnTo>
                          <a:pt x="369" y="95"/>
                        </a:lnTo>
                        <a:lnTo>
                          <a:pt x="369" y="118"/>
                        </a:lnTo>
                        <a:lnTo>
                          <a:pt x="428" y="213"/>
                        </a:lnTo>
                        <a:lnTo>
                          <a:pt x="440" y="273"/>
                        </a:lnTo>
                        <a:lnTo>
                          <a:pt x="416" y="344"/>
                        </a:lnTo>
                        <a:lnTo>
                          <a:pt x="380" y="368"/>
                        </a:lnTo>
                        <a:lnTo>
                          <a:pt x="321" y="380"/>
                        </a:lnTo>
                        <a:lnTo>
                          <a:pt x="297" y="404"/>
                        </a:lnTo>
                        <a:lnTo>
                          <a:pt x="250" y="404"/>
                        </a:lnTo>
                        <a:lnTo>
                          <a:pt x="214" y="439"/>
                        </a:lnTo>
                        <a:lnTo>
                          <a:pt x="190" y="439"/>
                        </a:lnTo>
                        <a:lnTo>
                          <a:pt x="167" y="415"/>
                        </a:lnTo>
                        <a:lnTo>
                          <a:pt x="119" y="404"/>
                        </a:lnTo>
                        <a:lnTo>
                          <a:pt x="71" y="332"/>
                        </a:lnTo>
                        <a:lnTo>
                          <a:pt x="24" y="297"/>
                        </a:lnTo>
                        <a:lnTo>
                          <a:pt x="0" y="249"/>
                        </a:lnTo>
                        <a:lnTo>
                          <a:pt x="12" y="213"/>
                        </a:lnTo>
                        <a:lnTo>
                          <a:pt x="60" y="154"/>
                        </a:lnTo>
                        <a:lnTo>
                          <a:pt x="107" y="59"/>
                        </a:lnTo>
                        <a:lnTo>
                          <a:pt x="131" y="11"/>
                        </a:lnTo>
                        <a:lnTo>
                          <a:pt x="167" y="0"/>
                        </a:lnTo>
                        <a:lnTo>
                          <a:pt x="190" y="11"/>
                        </a:lnTo>
                        <a:lnTo>
                          <a:pt x="214" y="35"/>
                        </a:lnTo>
                        <a:lnTo>
                          <a:pt x="250" y="47"/>
                        </a:lnTo>
                        <a:lnTo>
                          <a:pt x="262" y="71"/>
                        </a:lnTo>
                        <a:lnTo>
                          <a:pt x="285" y="83"/>
                        </a:lnTo>
                        <a:lnTo>
                          <a:pt x="309" y="71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6" name="Freeform 354"/>
                  <p:cNvSpPr>
                    <a:spLocks/>
                  </p:cNvSpPr>
                  <p:nvPr/>
                </p:nvSpPr>
                <p:spPr bwMode="auto">
                  <a:xfrm>
                    <a:off x="11499850" y="-23671213"/>
                    <a:ext cx="434975" cy="169863"/>
                  </a:xfrm>
                  <a:custGeom>
                    <a:avLst/>
                    <a:gdLst/>
                    <a:ahLst/>
                    <a:cxnLst>
                      <a:cxn ang="0">
                        <a:pos x="202" y="0"/>
                      </a:cxn>
                      <a:cxn ang="0">
                        <a:pos x="250" y="12"/>
                      </a:cxn>
                      <a:cxn ang="0">
                        <a:pos x="274" y="36"/>
                      </a:cxn>
                      <a:cxn ang="0">
                        <a:pos x="262" y="60"/>
                      </a:cxn>
                      <a:cxn ang="0">
                        <a:pos x="226" y="60"/>
                      </a:cxn>
                      <a:cxn ang="0">
                        <a:pos x="167" y="84"/>
                      </a:cxn>
                      <a:cxn ang="0">
                        <a:pos x="107" y="72"/>
                      </a:cxn>
                      <a:cxn ang="0">
                        <a:pos x="48" y="107"/>
                      </a:cxn>
                      <a:cxn ang="0">
                        <a:pos x="24" y="107"/>
                      </a:cxn>
                      <a:cxn ang="0">
                        <a:pos x="0" y="95"/>
                      </a:cxn>
                      <a:cxn ang="0">
                        <a:pos x="12" y="72"/>
                      </a:cxn>
                      <a:cxn ang="0">
                        <a:pos x="119" y="36"/>
                      </a:cxn>
                      <a:cxn ang="0">
                        <a:pos x="202" y="0"/>
                      </a:cxn>
                    </a:cxnLst>
                    <a:rect l="0" t="0" r="r" b="b"/>
                    <a:pathLst>
                      <a:path w="274" h="107">
                        <a:moveTo>
                          <a:pt x="202" y="0"/>
                        </a:moveTo>
                        <a:lnTo>
                          <a:pt x="250" y="12"/>
                        </a:lnTo>
                        <a:lnTo>
                          <a:pt x="274" y="36"/>
                        </a:lnTo>
                        <a:lnTo>
                          <a:pt x="262" y="60"/>
                        </a:lnTo>
                        <a:lnTo>
                          <a:pt x="226" y="60"/>
                        </a:lnTo>
                        <a:lnTo>
                          <a:pt x="167" y="84"/>
                        </a:lnTo>
                        <a:lnTo>
                          <a:pt x="107" y="72"/>
                        </a:lnTo>
                        <a:lnTo>
                          <a:pt x="48" y="107"/>
                        </a:lnTo>
                        <a:lnTo>
                          <a:pt x="24" y="107"/>
                        </a:lnTo>
                        <a:lnTo>
                          <a:pt x="0" y="95"/>
                        </a:lnTo>
                        <a:lnTo>
                          <a:pt x="12" y="72"/>
                        </a:lnTo>
                        <a:lnTo>
                          <a:pt x="119" y="36"/>
                        </a:lnTo>
                        <a:lnTo>
                          <a:pt x="202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7" name="Freeform 356"/>
                  <p:cNvSpPr>
                    <a:spLocks/>
                  </p:cNvSpPr>
                  <p:nvPr/>
                </p:nvSpPr>
                <p:spPr bwMode="auto">
                  <a:xfrm>
                    <a:off x="11387138" y="-23595013"/>
                    <a:ext cx="735013" cy="490538"/>
                  </a:xfrm>
                  <a:custGeom>
                    <a:avLst/>
                    <a:gdLst/>
                    <a:ahLst/>
                    <a:cxnLst>
                      <a:cxn ang="0">
                        <a:pos x="392" y="0"/>
                      </a:cxn>
                      <a:cxn ang="0">
                        <a:pos x="440" y="0"/>
                      </a:cxn>
                      <a:cxn ang="0">
                        <a:pos x="451" y="36"/>
                      </a:cxn>
                      <a:cxn ang="0">
                        <a:pos x="463" y="119"/>
                      </a:cxn>
                      <a:cxn ang="0">
                        <a:pos x="440" y="166"/>
                      </a:cxn>
                      <a:cxn ang="0">
                        <a:pos x="428" y="202"/>
                      </a:cxn>
                      <a:cxn ang="0">
                        <a:pos x="404" y="214"/>
                      </a:cxn>
                      <a:cxn ang="0">
                        <a:pos x="380" y="226"/>
                      </a:cxn>
                      <a:cxn ang="0">
                        <a:pos x="368" y="214"/>
                      </a:cxn>
                      <a:cxn ang="0">
                        <a:pos x="356" y="214"/>
                      </a:cxn>
                      <a:cxn ang="0">
                        <a:pos x="261" y="261"/>
                      </a:cxn>
                      <a:cxn ang="0">
                        <a:pos x="190" y="273"/>
                      </a:cxn>
                      <a:cxn ang="0">
                        <a:pos x="131" y="309"/>
                      </a:cxn>
                      <a:cxn ang="0">
                        <a:pos x="107" y="309"/>
                      </a:cxn>
                      <a:cxn ang="0">
                        <a:pos x="71" y="285"/>
                      </a:cxn>
                      <a:cxn ang="0">
                        <a:pos x="24" y="285"/>
                      </a:cxn>
                      <a:cxn ang="0">
                        <a:pos x="0" y="285"/>
                      </a:cxn>
                      <a:cxn ang="0">
                        <a:pos x="0" y="250"/>
                      </a:cxn>
                      <a:cxn ang="0">
                        <a:pos x="12" y="238"/>
                      </a:cxn>
                      <a:cxn ang="0">
                        <a:pos x="12" y="190"/>
                      </a:cxn>
                      <a:cxn ang="0">
                        <a:pos x="59" y="95"/>
                      </a:cxn>
                      <a:cxn ang="0">
                        <a:pos x="238" y="59"/>
                      </a:cxn>
                      <a:cxn ang="0">
                        <a:pos x="321" y="36"/>
                      </a:cxn>
                      <a:cxn ang="0">
                        <a:pos x="392" y="0"/>
                      </a:cxn>
                    </a:cxnLst>
                    <a:rect l="0" t="0" r="r" b="b"/>
                    <a:pathLst>
                      <a:path w="463" h="309">
                        <a:moveTo>
                          <a:pt x="392" y="0"/>
                        </a:moveTo>
                        <a:lnTo>
                          <a:pt x="440" y="0"/>
                        </a:lnTo>
                        <a:lnTo>
                          <a:pt x="451" y="36"/>
                        </a:lnTo>
                        <a:lnTo>
                          <a:pt x="463" y="119"/>
                        </a:lnTo>
                        <a:lnTo>
                          <a:pt x="440" y="166"/>
                        </a:lnTo>
                        <a:lnTo>
                          <a:pt x="428" y="202"/>
                        </a:lnTo>
                        <a:lnTo>
                          <a:pt x="404" y="214"/>
                        </a:lnTo>
                        <a:lnTo>
                          <a:pt x="380" y="226"/>
                        </a:lnTo>
                        <a:lnTo>
                          <a:pt x="368" y="214"/>
                        </a:lnTo>
                        <a:lnTo>
                          <a:pt x="356" y="214"/>
                        </a:lnTo>
                        <a:lnTo>
                          <a:pt x="261" y="261"/>
                        </a:lnTo>
                        <a:lnTo>
                          <a:pt x="190" y="273"/>
                        </a:lnTo>
                        <a:lnTo>
                          <a:pt x="131" y="309"/>
                        </a:lnTo>
                        <a:lnTo>
                          <a:pt x="107" y="309"/>
                        </a:lnTo>
                        <a:lnTo>
                          <a:pt x="71" y="285"/>
                        </a:lnTo>
                        <a:lnTo>
                          <a:pt x="24" y="285"/>
                        </a:lnTo>
                        <a:lnTo>
                          <a:pt x="0" y="285"/>
                        </a:lnTo>
                        <a:lnTo>
                          <a:pt x="0" y="250"/>
                        </a:lnTo>
                        <a:lnTo>
                          <a:pt x="12" y="238"/>
                        </a:lnTo>
                        <a:lnTo>
                          <a:pt x="12" y="190"/>
                        </a:lnTo>
                        <a:lnTo>
                          <a:pt x="59" y="95"/>
                        </a:lnTo>
                        <a:lnTo>
                          <a:pt x="238" y="59"/>
                        </a:lnTo>
                        <a:lnTo>
                          <a:pt x="321" y="36"/>
                        </a:lnTo>
                        <a:lnTo>
                          <a:pt x="392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8" name="Freeform 358"/>
                  <p:cNvSpPr>
                    <a:spLocks/>
                  </p:cNvSpPr>
                  <p:nvPr/>
                </p:nvSpPr>
                <p:spPr bwMode="auto">
                  <a:xfrm>
                    <a:off x="11650663" y="-23142575"/>
                    <a:ext cx="265113" cy="227013"/>
                  </a:xfrm>
                  <a:custGeom>
                    <a:avLst/>
                    <a:gdLst/>
                    <a:ahLst/>
                    <a:cxnLst>
                      <a:cxn ang="0">
                        <a:pos x="143" y="0"/>
                      </a:cxn>
                      <a:cxn ang="0">
                        <a:pos x="167" y="0"/>
                      </a:cxn>
                      <a:cxn ang="0">
                        <a:pos x="167" y="83"/>
                      </a:cxn>
                      <a:cxn ang="0">
                        <a:pos x="143" y="119"/>
                      </a:cxn>
                      <a:cxn ang="0">
                        <a:pos x="131" y="131"/>
                      </a:cxn>
                      <a:cxn ang="0">
                        <a:pos x="72" y="143"/>
                      </a:cxn>
                      <a:cxn ang="0">
                        <a:pos x="12" y="143"/>
                      </a:cxn>
                      <a:cxn ang="0">
                        <a:pos x="0" y="131"/>
                      </a:cxn>
                      <a:cxn ang="0">
                        <a:pos x="0" y="119"/>
                      </a:cxn>
                      <a:cxn ang="0">
                        <a:pos x="12" y="83"/>
                      </a:cxn>
                      <a:cxn ang="0">
                        <a:pos x="83" y="60"/>
                      </a:cxn>
                      <a:cxn ang="0">
                        <a:pos x="143" y="0"/>
                      </a:cxn>
                    </a:cxnLst>
                    <a:rect l="0" t="0" r="r" b="b"/>
                    <a:pathLst>
                      <a:path w="167" h="143">
                        <a:moveTo>
                          <a:pt x="143" y="0"/>
                        </a:moveTo>
                        <a:lnTo>
                          <a:pt x="167" y="0"/>
                        </a:lnTo>
                        <a:lnTo>
                          <a:pt x="167" y="83"/>
                        </a:lnTo>
                        <a:lnTo>
                          <a:pt x="143" y="119"/>
                        </a:lnTo>
                        <a:lnTo>
                          <a:pt x="131" y="131"/>
                        </a:lnTo>
                        <a:lnTo>
                          <a:pt x="72" y="143"/>
                        </a:lnTo>
                        <a:lnTo>
                          <a:pt x="12" y="143"/>
                        </a:lnTo>
                        <a:lnTo>
                          <a:pt x="0" y="131"/>
                        </a:lnTo>
                        <a:lnTo>
                          <a:pt x="0" y="119"/>
                        </a:lnTo>
                        <a:lnTo>
                          <a:pt x="12" y="83"/>
                        </a:lnTo>
                        <a:lnTo>
                          <a:pt x="83" y="60"/>
                        </a:lnTo>
                        <a:lnTo>
                          <a:pt x="143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9" name="Freeform 360"/>
                  <p:cNvSpPr>
                    <a:spLocks/>
                  </p:cNvSpPr>
                  <p:nvPr/>
                </p:nvSpPr>
                <p:spPr bwMode="auto">
                  <a:xfrm>
                    <a:off x="11406188" y="-23123525"/>
                    <a:ext cx="244475" cy="150813"/>
                  </a:xfrm>
                  <a:custGeom>
                    <a:avLst/>
                    <a:gdLst/>
                    <a:ahLst/>
                    <a:cxnLst>
                      <a:cxn ang="0">
                        <a:pos x="47" y="0"/>
                      </a:cxn>
                      <a:cxn ang="0">
                        <a:pos x="83" y="12"/>
                      </a:cxn>
                      <a:cxn ang="0">
                        <a:pos x="107" y="36"/>
                      </a:cxn>
                      <a:cxn ang="0">
                        <a:pos x="154" y="36"/>
                      </a:cxn>
                      <a:cxn ang="0">
                        <a:pos x="154" y="59"/>
                      </a:cxn>
                      <a:cxn ang="0">
                        <a:pos x="130" y="95"/>
                      </a:cxn>
                      <a:cxn ang="0">
                        <a:pos x="95" y="95"/>
                      </a:cxn>
                      <a:cxn ang="0">
                        <a:pos x="83" y="71"/>
                      </a:cxn>
                      <a:cxn ang="0">
                        <a:pos x="35" y="48"/>
                      </a:cxn>
                      <a:cxn ang="0">
                        <a:pos x="0" y="36"/>
                      </a:cxn>
                      <a:cxn ang="0">
                        <a:pos x="0" y="24"/>
                      </a:cxn>
                      <a:cxn ang="0">
                        <a:pos x="0" y="12"/>
                      </a:cxn>
                      <a:cxn ang="0">
                        <a:pos x="47" y="0"/>
                      </a:cxn>
                    </a:cxnLst>
                    <a:rect l="0" t="0" r="r" b="b"/>
                    <a:pathLst>
                      <a:path w="154" h="95">
                        <a:moveTo>
                          <a:pt x="47" y="0"/>
                        </a:moveTo>
                        <a:lnTo>
                          <a:pt x="83" y="12"/>
                        </a:lnTo>
                        <a:lnTo>
                          <a:pt x="107" y="36"/>
                        </a:lnTo>
                        <a:lnTo>
                          <a:pt x="154" y="36"/>
                        </a:lnTo>
                        <a:lnTo>
                          <a:pt x="154" y="59"/>
                        </a:lnTo>
                        <a:lnTo>
                          <a:pt x="130" y="95"/>
                        </a:lnTo>
                        <a:lnTo>
                          <a:pt x="95" y="95"/>
                        </a:lnTo>
                        <a:lnTo>
                          <a:pt x="83" y="71"/>
                        </a:lnTo>
                        <a:lnTo>
                          <a:pt x="35" y="48"/>
                        </a:lnTo>
                        <a:lnTo>
                          <a:pt x="0" y="36"/>
                        </a:lnTo>
                        <a:lnTo>
                          <a:pt x="0" y="24"/>
                        </a:lnTo>
                        <a:lnTo>
                          <a:pt x="0" y="12"/>
                        </a:lnTo>
                        <a:lnTo>
                          <a:pt x="47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0" name="Freeform 362"/>
                  <p:cNvSpPr>
                    <a:spLocks/>
                  </p:cNvSpPr>
                  <p:nvPr/>
                </p:nvSpPr>
                <p:spPr bwMode="auto">
                  <a:xfrm>
                    <a:off x="11461750" y="-22860000"/>
                    <a:ext cx="396875" cy="377825"/>
                  </a:xfrm>
                  <a:custGeom>
                    <a:avLst/>
                    <a:gdLst/>
                    <a:ahLst/>
                    <a:cxnLst>
                      <a:cxn ang="0">
                        <a:pos x="191" y="12"/>
                      </a:cxn>
                      <a:cxn ang="0">
                        <a:pos x="191" y="48"/>
                      </a:cxn>
                      <a:cxn ang="0">
                        <a:pos x="214" y="48"/>
                      </a:cxn>
                      <a:cxn ang="0">
                        <a:pos x="238" y="60"/>
                      </a:cxn>
                      <a:cxn ang="0">
                        <a:pos x="250" y="84"/>
                      </a:cxn>
                      <a:cxn ang="0">
                        <a:pos x="238" y="119"/>
                      </a:cxn>
                      <a:cxn ang="0">
                        <a:pos x="179" y="155"/>
                      </a:cxn>
                      <a:cxn ang="0">
                        <a:pos x="107" y="191"/>
                      </a:cxn>
                      <a:cxn ang="0">
                        <a:pos x="24" y="238"/>
                      </a:cxn>
                      <a:cxn ang="0">
                        <a:pos x="12" y="238"/>
                      </a:cxn>
                      <a:cxn ang="0">
                        <a:pos x="0" y="214"/>
                      </a:cxn>
                      <a:cxn ang="0">
                        <a:pos x="12" y="214"/>
                      </a:cxn>
                      <a:cxn ang="0">
                        <a:pos x="60" y="167"/>
                      </a:cxn>
                      <a:cxn ang="0">
                        <a:pos x="72" y="119"/>
                      </a:cxn>
                      <a:cxn ang="0">
                        <a:pos x="107" y="36"/>
                      </a:cxn>
                      <a:cxn ang="0">
                        <a:pos x="167" y="0"/>
                      </a:cxn>
                      <a:cxn ang="0">
                        <a:pos x="191" y="0"/>
                      </a:cxn>
                      <a:cxn ang="0">
                        <a:pos x="191" y="12"/>
                      </a:cxn>
                    </a:cxnLst>
                    <a:rect l="0" t="0" r="r" b="b"/>
                    <a:pathLst>
                      <a:path w="250" h="238">
                        <a:moveTo>
                          <a:pt x="191" y="12"/>
                        </a:moveTo>
                        <a:lnTo>
                          <a:pt x="191" y="48"/>
                        </a:lnTo>
                        <a:lnTo>
                          <a:pt x="214" y="48"/>
                        </a:lnTo>
                        <a:lnTo>
                          <a:pt x="238" y="60"/>
                        </a:lnTo>
                        <a:lnTo>
                          <a:pt x="250" y="84"/>
                        </a:lnTo>
                        <a:lnTo>
                          <a:pt x="238" y="119"/>
                        </a:lnTo>
                        <a:lnTo>
                          <a:pt x="179" y="155"/>
                        </a:lnTo>
                        <a:lnTo>
                          <a:pt x="107" y="191"/>
                        </a:lnTo>
                        <a:lnTo>
                          <a:pt x="24" y="238"/>
                        </a:lnTo>
                        <a:lnTo>
                          <a:pt x="12" y="238"/>
                        </a:lnTo>
                        <a:lnTo>
                          <a:pt x="0" y="214"/>
                        </a:lnTo>
                        <a:lnTo>
                          <a:pt x="12" y="214"/>
                        </a:lnTo>
                        <a:lnTo>
                          <a:pt x="60" y="167"/>
                        </a:lnTo>
                        <a:lnTo>
                          <a:pt x="72" y="119"/>
                        </a:lnTo>
                        <a:lnTo>
                          <a:pt x="107" y="36"/>
                        </a:lnTo>
                        <a:lnTo>
                          <a:pt x="167" y="0"/>
                        </a:lnTo>
                        <a:lnTo>
                          <a:pt x="191" y="0"/>
                        </a:lnTo>
                        <a:lnTo>
                          <a:pt x="191" y="12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1" name="Freeform 364"/>
                  <p:cNvSpPr>
                    <a:spLocks/>
                  </p:cNvSpPr>
                  <p:nvPr/>
                </p:nvSpPr>
                <p:spPr bwMode="auto">
                  <a:xfrm>
                    <a:off x="11291888" y="-22840950"/>
                    <a:ext cx="284163" cy="284163"/>
                  </a:xfrm>
                  <a:custGeom>
                    <a:avLst/>
                    <a:gdLst/>
                    <a:ahLst/>
                    <a:cxnLst>
                      <a:cxn ang="0">
                        <a:pos x="179" y="0"/>
                      </a:cxn>
                      <a:cxn ang="0">
                        <a:pos x="179" y="24"/>
                      </a:cxn>
                      <a:cxn ang="0">
                        <a:pos x="155" y="83"/>
                      </a:cxn>
                      <a:cxn ang="0">
                        <a:pos x="84" y="95"/>
                      </a:cxn>
                      <a:cxn ang="0">
                        <a:pos x="24" y="179"/>
                      </a:cxn>
                      <a:cxn ang="0">
                        <a:pos x="0" y="179"/>
                      </a:cxn>
                      <a:cxn ang="0">
                        <a:pos x="0" y="155"/>
                      </a:cxn>
                      <a:cxn ang="0">
                        <a:pos x="36" y="107"/>
                      </a:cxn>
                      <a:cxn ang="0">
                        <a:pos x="48" y="83"/>
                      </a:cxn>
                      <a:cxn ang="0">
                        <a:pos x="119" y="12"/>
                      </a:cxn>
                      <a:cxn ang="0">
                        <a:pos x="155" y="0"/>
                      </a:cxn>
                      <a:cxn ang="0">
                        <a:pos x="179" y="0"/>
                      </a:cxn>
                    </a:cxnLst>
                    <a:rect l="0" t="0" r="r" b="b"/>
                    <a:pathLst>
                      <a:path w="179" h="179">
                        <a:moveTo>
                          <a:pt x="179" y="0"/>
                        </a:moveTo>
                        <a:lnTo>
                          <a:pt x="179" y="24"/>
                        </a:lnTo>
                        <a:lnTo>
                          <a:pt x="155" y="83"/>
                        </a:lnTo>
                        <a:lnTo>
                          <a:pt x="84" y="95"/>
                        </a:lnTo>
                        <a:lnTo>
                          <a:pt x="24" y="179"/>
                        </a:lnTo>
                        <a:lnTo>
                          <a:pt x="0" y="179"/>
                        </a:lnTo>
                        <a:lnTo>
                          <a:pt x="0" y="155"/>
                        </a:lnTo>
                        <a:lnTo>
                          <a:pt x="36" y="107"/>
                        </a:lnTo>
                        <a:lnTo>
                          <a:pt x="48" y="83"/>
                        </a:lnTo>
                        <a:lnTo>
                          <a:pt x="119" y="12"/>
                        </a:lnTo>
                        <a:lnTo>
                          <a:pt x="155" y="0"/>
                        </a:lnTo>
                        <a:lnTo>
                          <a:pt x="179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2" name="Freeform 422"/>
                  <p:cNvSpPr>
                    <a:spLocks/>
                  </p:cNvSpPr>
                  <p:nvPr/>
                </p:nvSpPr>
                <p:spPr bwMode="auto">
                  <a:xfrm>
                    <a:off x="11141075" y="-22539325"/>
                    <a:ext cx="698500" cy="755650"/>
                  </a:xfrm>
                  <a:custGeom>
                    <a:avLst/>
                    <a:gdLst/>
                    <a:ahLst/>
                    <a:cxnLst>
                      <a:cxn ang="0">
                        <a:pos x="381" y="0"/>
                      </a:cxn>
                      <a:cxn ang="0">
                        <a:pos x="416" y="12"/>
                      </a:cxn>
                      <a:cxn ang="0">
                        <a:pos x="440" y="36"/>
                      </a:cxn>
                      <a:cxn ang="0">
                        <a:pos x="428" y="60"/>
                      </a:cxn>
                      <a:cxn ang="0">
                        <a:pos x="393" y="167"/>
                      </a:cxn>
                      <a:cxn ang="0">
                        <a:pos x="357" y="191"/>
                      </a:cxn>
                      <a:cxn ang="0">
                        <a:pos x="286" y="202"/>
                      </a:cxn>
                      <a:cxn ang="0">
                        <a:pos x="262" y="214"/>
                      </a:cxn>
                      <a:cxn ang="0">
                        <a:pos x="202" y="274"/>
                      </a:cxn>
                      <a:cxn ang="0">
                        <a:pos x="179" y="309"/>
                      </a:cxn>
                      <a:cxn ang="0">
                        <a:pos x="12" y="476"/>
                      </a:cxn>
                      <a:cxn ang="0">
                        <a:pos x="0" y="476"/>
                      </a:cxn>
                      <a:cxn ang="0">
                        <a:pos x="0" y="464"/>
                      </a:cxn>
                      <a:cxn ang="0">
                        <a:pos x="0" y="428"/>
                      </a:cxn>
                      <a:cxn ang="0">
                        <a:pos x="48" y="369"/>
                      </a:cxn>
                      <a:cxn ang="0">
                        <a:pos x="72" y="321"/>
                      </a:cxn>
                      <a:cxn ang="0">
                        <a:pos x="48" y="309"/>
                      </a:cxn>
                      <a:cxn ang="0">
                        <a:pos x="48" y="298"/>
                      </a:cxn>
                      <a:cxn ang="0">
                        <a:pos x="48" y="274"/>
                      </a:cxn>
                      <a:cxn ang="0">
                        <a:pos x="60" y="238"/>
                      </a:cxn>
                      <a:cxn ang="0">
                        <a:pos x="95" y="155"/>
                      </a:cxn>
                      <a:cxn ang="0">
                        <a:pos x="107" y="143"/>
                      </a:cxn>
                      <a:cxn ang="0">
                        <a:pos x="167" y="143"/>
                      </a:cxn>
                      <a:cxn ang="0">
                        <a:pos x="238" y="48"/>
                      </a:cxn>
                      <a:cxn ang="0">
                        <a:pos x="381" y="0"/>
                      </a:cxn>
                    </a:cxnLst>
                    <a:rect l="0" t="0" r="r" b="b"/>
                    <a:pathLst>
                      <a:path w="440" h="476">
                        <a:moveTo>
                          <a:pt x="381" y="0"/>
                        </a:moveTo>
                        <a:lnTo>
                          <a:pt x="416" y="12"/>
                        </a:lnTo>
                        <a:lnTo>
                          <a:pt x="440" y="36"/>
                        </a:lnTo>
                        <a:lnTo>
                          <a:pt x="428" y="60"/>
                        </a:lnTo>
                        <a:lnTo>
                          <a:pt x="393" y="167"/>
                        </a:lnTo>
                        <a:lnTo>
                          <a:pt x="357" y="191"/>
                        </a:lnTo>
                        <a:lnTo>
                          <a:pt x="286" y="202"/>
                        </a:lnTo>
                        <a:lnTo>
                          <a:pt x="262" y="214"/>
                        </a:lnTo>
                        <a:lnTo>
                          <a:pt x="202" y="274"/>
                        </a:lnTo>
                        <a:lnTo>
                          <a:pt x="179" y="309"/>
                        </a:lnTo>
                        <a:lnTo>
                          <a:pt x="12" y="476"/>
                        </a:lnTo>
                        <a:lnTo>
                          <a:pt x="0" y="476"/>
                        </a:lnTo>
                        <a:lnTo>
                          <a:pt x="0" y="464"/>
                        </a:lnTo>
                        <a:lnTo>
                          <a:pt x="0" y="428"/>
                        </a:lnTo>
                        <a:lnTo>
                          <a:pt x="48" y="369"/>
                        </a:lnTo>
                        <a:lnTo>
                          <a:pt x="72" y="321"/>
                        </a:lnTo>
                        <a:lnTo>
                          <a:pt x="48" y="309"/>
                        </a:lnTo>
                        <a:lnTo>
                          <a:pt x="48" y="298"/>
                        </a:lnTo>
                        <a:lnTo>
                          <a:pt x="48" y="274"/>
                        </a:lnTo>
                        <a:lnTo>
                          <a:pt x="60" y="238"/>
                        </a:lnTo>
                        <a:lnTo>
                          <a:pt x="95" y="155"/>
                        </a:lnTo>
                        <a:lnTo>
                          <a:pt x="107" y="143"/>
                        </a:lnTo>
                        <a:lnTo>
                          <a:pt x="167" y="143"/>
                        </a:lnTo>
                        <a:lnTo>
                          <a:pt x="238" y="48"/>
                        </a:lnTo>
                        <a:lnTo>
                          <a:pt x="381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3" name="Freeform 368"/>
                  <p:cNvSpPr>
                    <a:spLocks/>
                  </p:cNvSpPr>
                  <p:nvPr/>
                </p:nvSpPr>
                <p:spPr bwMode="auto">
                  <a:xfrm>
                    <a:off x="11236325" y="-22501225"/>
                    <a:ext cx="150813" cy="131763"/>
                  </a:xfrm>
                  <a:custGeom>
                    <a:avLst/>
                    <a:gdLst/>
                    <a:ahLst/>
                    <a:cxnLst>
                      <a:cxn ang="0">
                        <a:pos x="83" y="0"/>
                      </a:cxn>
                      <a:cxn ang="0">
                        <a:pos x="95" y="24"/>
                      </a:cxn>
                      <a:cxn ang="0">
                        <a:pos x="95" y="36"/>
                      </a:cxn>
                      <a:cxn ang="0">
                        <a:pos x="59" y="83"/>
                      </a:cxn>
                      <a:cxn ang="0">
                        <a:pos x="12" y="83"/>
                      </a:cxn>
                      <a:cxn ang="0">
                        <a:pos x="0" y="60"/>
                      </a:cxn>
                      <a:cxn ang="0">
                        <a:pos x="47" y="12"/>
                      </a:cxn>
                      <a:cxn ang="0">
                        <a:pos x="83" y="0"/>
                      </a:cxn>
                    </a:cxnLst>
                    <a:rect l="0" t="0" r="r" b="b"/>
                    <a:pathLst>
                      <a:path w="95" h="83">
                        <a:moveTo>
                          <a:pt x="83" y="0"/>
                        </a:moveTo>
                        <a:lnTo>
                          <a:pt x="95" y="24"/>
                        </a:lnTo>
                        <a:lnTo>
                          <a:pt x="95" y="36"/>
                        </a:lnTo>
                        <a:lnTo>
                          <a:pt x="59" y="83"/>
                        </a:lnTo>
                        <a:lnTo>
                          <a:pt x="12" y="83"/>
                        </a:lnTo>
                        <a:lnTo>
                          <a:pt x="0" y="60"/>
                        </a:lnTo>
                        <a:lnTo>
                          <a:pt x="47" y="12"/>
                        </a:lnTo>
                        <a:lnTo>
                          <a:pt x="83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4" name="Freeform 370"/>
                  <p:cNvSpPr>
                    <a:spLocks/>
                  </p:cNvSpPr>
                  <p:nvPr/>
                </p:nvSpPr>
                <p:spPr bwMode="auto">
                  <a:xfrm>
                    <a:off x="11123613" y="-23010813"/>
                    <a:ext cx="395288" cy="454025"/>
                  </a:xfrm>
                  <a:custGeom>
                    <a:avLst/>
                    <a:gdLst/>
                    <a:ahLst/>
                    <a:cxnLst>
                      <a:cxn ang="0">
                        <a:pos x="178" y="0"/>
                      </a:cxn>
                      <a:cxn ang="0">
                        <a:pos x="202" y="12"/>
                      </a:cxn>
                      <a:cxn ang="0">
                        <a:pos x="237" y="48"/>
                      </a:cxn>
                      <a:cxn ang="0">
                        <a:pos x="249" y="72"/>
                      </a:cxn>
                      <a:cxn ang="0">
                        <a:pos x="225" y="84"/>
                      </a:cxn>
                      <a:cxn ang="0">
                        <a:pos x="166" y="95"/>
                      </a:cxn>
                      <a:cxn ang="0">
                        <a:pos x="118" y="119"/>
                      </a:cxn>
                      <a:cxn ang="0">
                        <a:pos x="95" y="167"/>
                      </a:cxn>
                      <a:cxn ang="0">
                        <a:pos x="83" y="262"/>
                      </a:cxn>
                      <a:cxn ang="0">
                        <a:pos x="59" y="286"/>
                      </a:cxn>
                      <a:cxn ang="0">
                        <a:pos x="47" y="286"/>
                      </a:cxn>
                      <a:cxn ang="0">
                        <a:pos x="11" y="262"/>
                      </a:cxn>
                      <a:cxn ang="0">
                        <a:pos x="0" y="250"/>
                      </a:cxn>
                      <a:cxn ang="0">
                        <a:pos x="47" y="202"/>
                      </a:cxn>
                      <a:cxn ang="0">
                        <a:pos x="35" y="143"/>
                      </a:cxn>
                      <a:cxn ang="0">
                        <a:pos x="47" y="95"/>
                      </a:cxn>
                      <a:cxn ang="0">
                        <a:pos x="59" y="72"/>
                      </a:cxn>
                      <a:cxn ang="0">
                        <a:pos x="95" y="60"/>
                      </a:cxn>
                      <a:cxn ang="0">
                        <a:pos x="142" y="60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249" h="286">
                        <a:moveTo>
                          <a:pt x="178" y="0"/>
                        </a:moveTo>
                        <a:lnTo>
                          <a:pt x="202" y="12"/>
                        </a:lnTo>
                        <a:lnTo>
                          <a:pt x="237" y="48"/>
                        </a:lnTo>
                        <a:lnTo>
                          <a:pt x="249" y="72"/>
                        </a:lnTo>
                        <a:lnTo>
                          <a:pt x="225" y="84"/>
                        </a:lnTo>
                        <a:lnTo>
                          <a:pt x="166" y="95"/>
                        </a:lnTo>
                        <a:lnTo>
                          <a:pt x="118" y="119"/>
                        </a:lnTo>
                        <a:lnTo>
                          <a:pt x="95" y="167"/>
                        </a:lnTo>
                        <a:lnTo>
                          <a:pt x="83" y="262"/>
                        </a:lnTo>
                        <a:lnTo>
                          <a:pt x="59" y="286"/>
                        </a:lnTo>
                        <a:lnTo>
                          <a:pt x="47" y="286"/>
                        </a:lnTo>
                        <a:lnTo>
                          <a:pt x="11" y="262"/>
                        </a:lnTo>
                        <a:lnTo>
                          <a:pt x="0" y="250"/>
                        </a:lnTo>
                        <a:lnTo>
                          <a:pt x="47" y="202"/>
                        </a:lnTo>
                        <a:lnTo>
                          <a:pt x="35" y="143"/>
                        </a:lnTo>
                        <a:lnTo>
                          <a:pt x="47" y="95"/>
                        </a:lnTo>
                        <a:lnTo>
                          <a:pt x="59" y="72"/>
                        </a:lnTo>
                        <a:lnTo>
                          <a:pt x="95" y="60"/>
                        </a:lnTo>
                        <a:lnTo>
                          <a:pt x="142" y="6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5" name="Freeform 372"/>
                  <p:cNvSpPr>
                    <a:spLocks/>
                  </p:cNvSpPr>
                  <p:nvPr/>
                </p:nvSpPr>
                <p:spPr bwMode="auto">
                  <a:xfrm>
                    <a:off x="11028363" y="-22934613"/>
                    <a:ext cx="131763" cy="131763"/>
                  </a:xfrm>
                  <a:custGeom>
                    <a:avLst/>
                    <a:gdLst/>
                    <a:ahLst/>
                    <a:cxnLst>
                      <a:cxn ang="0">
                        <a:pos x="36" y="36"/>
                      </a:cxn>
                      <a:cxn ang="0">
                        <a:pos x="71" y="0"/>
                      </a:cxn>
                      <a:cxn ang="0">
                        <a:pos x="83" y="0"/>
                      </a:cxn>
                      <a:cxn ang="0">
                        <a:pos x="83" y="36"/>
                      </a:cxn>
                      <a:cxn ang="0">
                        <a:pos x="48" y="59"/>
                      </a:cxn>
                      <a:cxn ang="0">
                        <a:pos x="0" y="83"/>
                      </a:cxn>
                      <a:cxn ang="0">
                        <a:pos x="0" y="59"/>
                      </a:cxn>
                      <a:cxn ang="0">
                        <a:pos x="36" y="36"/>
                      </a:cxn>
                    </a:cxnLst>
                    <a:rect l="0" t="0" r="r" b="b"/>
                    <a:pathLst>
                      <a:path w="83" h="83">
                        <a:moveTo>
                          <a:pt x="36" y="36"/>
                        </a:moveTo>
                        <a:lnTo>
                          <a:pt x="71" y="0"/>
                        </a:lnTo>
                        <a:lnTo>
                          <a:pt x="83" y="0"/>
                        </a:lnTo>
                        <a:lnTo>
                          <a:pt x="83" y="36"/>
                        </a:lnTo>
                        <a:lnTo>
                          <a:pt x="48" y="59"/>
                        </a:lnTo>
                        <a:lnTo>
                          <a:pt x="0" y="83"/>
                        </a:lnTo>
                        <a:lnTo>
                          <a:pt x="0" y="59"/>
                        </a:lnTo>
                        <a:lnTo>
                          <a:pt x="36" y="3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6" name="Freeform 374"/>
                  <p:cNvSpPr>
                    <a:spLocks/>
                  </p:cNvSpPr>
                  <p:nvPr/>
                </p:nvSpPr>
                <p:spPr bwMode="auto">
                  <a:xfrm>
                    <a:off x="10953750" y="-22764750"/>
                    <a:ext cx="187325" cy="131763"/>
                  </a:xfrm>
                  <a:custGeom>
                    <a:avLst/>
                    <a:gdLst/>
                    <a:ahLst/>
                    <a:cxnLst>
                      <a:cxn ang="0">
                        <a:pos x="118" y="0"/>
                      </a:cxn>
                      <a:cxn ang="0">
                        <a:pos x="118" y="12"/>
                      </a:cxn>
                      <a:cxn ang="0">
                        <a:pos x="118" y="35"/>
                      </a:cxn>
                      <a:cxn ang="0">
                        <a:pos x="95" y="71"/>
                      </a:cxn>
                      <a:cxn ang="0">
                        <a:pos x="71" y="71"/>
                      </a:cxn>
                      <a:cxn ang="0">
                        <a:pos x="35" y="83"/>
                      </a:cxn>
                      <a:cxn ang="0">
                        <a:pos x="11" y="83"/>
                      </a:cxn>
                      <a:cxn ang="0">
                        <a:pos x="0" y="71"/>
                      </a:cxn>
                      <a:cxn ang="0">
                        <a:pos x="11" y="59"/>
                      </a:cxn>
                      <a:cxn ang="0">
                        <a:pos x="59" y="35"/>
                      </a:cxn>
                      <a:cxn ang="0">
                        <a:pos x="95" y="0"/>
                      </a:cxn>
                      <a:cxn ang="0">
                        <a:pos x="118" y="0"/>
                      </a:cxn>
                    </a:cxnLst>
                    <a:rect l="0" t="0" r="r" b="b"/>
                    <a:pathLst>
                      <a:path w="118" h="83">
                        <a:moveTo>
                          <a:pt x="118" y="0"/>
                        </a:moveTo>
                        <a:lnTo>
                          <a:pt x="118" y="12"/>
                        </a:lnTo>
                        <a:lnTo>
                          <a:pt x="118" y="35"/>
                        </a:lnTo>
                        <a:lnTo>
                          <a:pt x="95" y="71"/>
                        </a:lnTo>
                        <a:lnTo>
                          <a:pt x="71" y="71"/>
                        </a:lnTo>
                        <a:lnTo>
                          <a:pt x="35" y="83"/>
                        </a:lnTo>
                        <a:lnTo>
                          <a:pt x="11" y="83"/>
                        </a:lnTo>
                        <a:lnTo>
                          <a:pt x="0" y="71"/>
                        </a:lnTo>
                        <a:lnTo>
                          <a:pt x="11" y="59"/>
                        </a:lnTo>
                        <a:lnTo>
                          <a:pt x="59" y="35"/>
                        </a:lnTo>
                        <a:lnTo>
                          <a:pt x="95" y="0"/>
                        </a:lnTo>
                        <a:lnTo>
                          <a:pt x="118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7" name="Freeform 376"/>
                  <p:cNvSpPr>
                    <a:spLocks/>
                  </p:cNvSpPr>
                  <p:nvPr/>
                </p:nvSpPr>
                <p:spPr bwMode="auto">
                  <a:xfrm>
                    <a:off x="10783888" y="-22745700"/>
                    <a:ext cx="169863" cy="150813"/>
                  </a:xfrm>
                  <a:custGeom>
                    <a:avLst/>
                    <a:gdLst/>
                    <a:ahLst/>
                    <a:cxnLst>
                      <a:cxn ang="0">
                        <a:pos x="107" y="12"/>
                      </a:cxn>
                      <a:cxn ang="0">
                        <a:pos x="107" y="23"/>
                      </a:cxn>
                      <a:cxn ang="0">
                        <a:pos x="71" y="59"/>
                      </a:cxn>
                      <a:cxn ang="0">
                        <a:pos x="11" y="95"/>
                      </a:cxn>
                      <a:cxn ang="0">
                        <a:pos x="0" y="83"/>
                      </a:cxn>
                      <a:cxn ang="0">
                        <a:pos x="0" y="47"/>
                      </a:cxn>
                      <a:cxn ang="0">
                        <a:pos x="0" y="35"/>
                      </a:cxn>
                      <a:cxn ang="0">
                        <a:pos x="47" y="23"/>
                      </a:cxn>
                      <a:cxn ang="0">
                        <a:pos x="83" y="0"/>
                      </a:cxn>
                      <a:cxn ang="0">
                        <a:pos x="107" y="12"/>
                      </a:cxn>
                    </a:cxnLst>
                    <a:rect l="0" t="0" r="r" b="b"/>
                    <a:pathLst>
                      <a:path w="107" h="95">
                        <a:moveTo>
                          <a:pt x="107" y="12"/>
                        </a:moveTo>
                        <a:lnTo>
                          <a:pt x="107" y="23"/>
                        </a:lnTo>
                        <a:lnTo>
                          <a:pt x="71" y="59"/>
                        </a:lnTo>
                        <a:lnTo>
                          <a:pt x="11" y="95"/>
                        </a:lnTo>
                        <a:lnTo>
                          <a:pt x="0" y="83"/>
                        </a:lnTo>
                        <a:lnTo>
                          <a:pt x="0" y="47"/>
                        </a:lnTo>
                        <a:lnTo>
                          <a:pt x="0" y="35"/>
                        </a:lnTo>
                        <a:lnTo>
                          <a:pt x="47" y="23"/>
                        </a:lnTo>
                        <a:lnTo>
                          <a:pt x="83" y="0"/>
                        </a:lnTo>
                        <a:lnTo>
                          <a:pt x="107" y="12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8" name="Freeform 378"/>
                  <p:cNvSpPr>
                    <a:spLocks/>
                  </p:cNvSpPr>
                  <p:nvPr/>
                </p:nvSpPr>
                <p:spPr bwMode="auto">
                  <a:xfrm>
                    <a:off x="10669588" y="-23331488"/>
                    <a:ext cx="528638" cy="641350"/>
                  </a:xfrm>
                  <a:custGeom>
                    <a:avLst/>
                    <a:gdLst/>
                    <a:ahLst/>
                    <a:cxnLst>
                      <a:cxn ang="0">
                        <a:pos x="321" y="0"/>
                      </a:cxn>
                      <a:cxn ang="0">
                        <a:pos x="333" y="0"/>
                      </a:cxn>
                      <a:cxn ang="0">
                        <a:pos x="333" y="36"/>
                      </a:cxn>
                      <a:cxn ang="0">
                        <a:pos x="297" y="202"/>
                      </a:cxn>
                      <a:cxn ang="0">
                        <a:pos x="286" y="226"/>
                      </a:cxn>
                      <a:cxn ang="0">
                        <a:pos x="250" y="250"/>
                      </a:cxn>
                      <a:cxn ang="0">
                        <a:pos x="179" y="321"/>
                      </a:cxn>
                      <a:cxn ang="0">
                        <a:pos x="107" y="345"/>
                      </a:cxn>
                      <a:cxn ang="0">
                        <a:pos x="60" y="381"/>
                      </a:cxn>
                      <a:cxn ang="0">
                        <a:pos x="12" y="404"/>
                      </a:cxn>
                      <a:cxn ang="0">
                        <a:pos x="0" y="392"/>
                      </a:cxn>
                      <a:cxn ang="0">
                        <a:pos x="0" y="369"/>
                      </a:cxn>
                      <a:cxn ang="0">
                        <a:pos x="107" y="274"/>
                      </a:cxn>
                      <a:cxn ang="0">
                        <a:pos x="143" y="179"/>
                      </a:cxn>
                      <a:cxn ang="0">
                        <a:pos x="190" y="84"/>
                      </a:cxn>
                      <a:cxn ang="0">
                        <a:pos x="250" y="24"/>
                      </a:cxn>
                      <a:cxn ang="0">
                        <a:pos x="321" y="0"/>
                      </a:cxn>
                    </a:cxnLst>
                    <a:rect l="0" t="0" r="r" b="b"/>
                    <a:pathLst>
                      <a:path w="333" h="404">
                        <a:moveTo>
                          <a:pt x="321" y="0"/>
                        </a:moveTo>
                        <a:lnTo>
                          <a:pt x="333" y="0"/>
                        </a:lnTo>
                        <a:lnTo>
                          <a:pt x="333" y="36"/>
                        </a:lnTo>
                        <a:lnTo>
                          <a:pt x="297" y="202"/>
                        </a:lnTo>
                        <a:lnTo>
                          <a:pt x="286" y="226"/>
                        </a:lnTo>
                        <a:lnTo>
                          <a:pt x="250" y="250"/>
                        </a:lnTo>
                        <a:lnTo>
                          <a:pt x="179" y="321"/>
                        </a:lnTo>
                        <a:lnTo>
                          <a:pt x="107" y="345"/>
                        </a:lnTo>
                        <a:lnTo>
                          <a:pt x="60" y="381"/>
                        </a:lnTo>
                        <a:lnTo>
                          <a:pt x="12" y="404"/>
                        </a:lnTo>
                        <a:lnTo>
                          <a:pt x="0" y="392"/>
                        </a:lnTo>
                        <a:lnTo>
                          <a:pt x="0" y="369"/>
                        </a:lnTo>
                        <a:lnTo>
                          <a:pt x="107" y="274"/>
                        </a:lnTo>
                        <a:lnTo>
                          <a:pt x="143" y="179"/>
                        </a:lnTo>
                        <a:lnTo>
                          <a:pt x="190" y="84"/>
                        </a:lnTo>
                        <a:lnTo>
                          <a:pt x="250" y="24"/>
                        </a:lnTo>
                        <a:lnTo>
                          <a:pt x="321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9" name="Freeform 380"/>
                  <p:cNvSpPr>
                    <a:spLocks/>
                  </p:cNvSpPr>
                  <p:nvPr/>
                </p:nvSpPr>
                <p:spPr bwMode="auto">
                  <a:xfrm>
                    <a:off x="10783888" y="-23085425"/>
                    <a:ext cx="74613" cy="169863"/>
                  </a:xfrm>
                  <a:custGeom>
                    <a:avLst/>
                    <a:gdLst/>
                    <a:ahLst/>
                    <a:cxnLst>
                      <a:cxn ang="0">
                        <a:pos x="35" y="0"/>
                      </a:cxn>
                      <a:cxn ang="0">
                        <a:pos x="47" y="24"/>
                      </a:cxn>
                      <a:cxn ang="0">
                        <a:pos x="35" y="83"/>
                      </a:cxn>
                      <a:cxn ang="0">
                        <a:pos x="11" y="107"/>
                      </a:cxn>
                      <a:cxn ang="0">
                        <a:pos x="0" y="83"/>
                      </a:cxn>
                      <a:cxn ang="0">
                        <a:pos x="0" y="47"/>
                      </a:cxn>
                      <a:cxn ang="0">
                        <a:pos x="23" y="0"/>
                      </a:cxn>
                      <a:cxn ang="0">
                        <a:pos x="35" y="0"/>
                      </a:cxn>
                    </a:cxnLst>
                    <a:rect l="0" t="0" r="r" b="b"/>
                    <a:pathLst>
                      <a:path w="47" h="107">
                        <a:moveTo>
                          <a:pt x="35" y="0"/>
                        </a:moveTo>
                        <a:lnTo>
                          <a:pt x="47" y="24"/>
                        </a:lnTo>
                        <a:lnTo>
                          <a:pt x="35" y="83"/>
                        </a:lnTo>
                        <a:lnTo>
                          <a:pt x="11" y="107"/>
                        </a:lnTo>
                        <a:lnTo>
                          <a:pt x="0" y="83"/>
                        </a:lnTo>
                        <a:lnTo>
                          <a:pt x="0" y="47"/>
                        </a:lnTo>
                        <a:lnTo>
                          <a:pt x="23" y="0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0" name="Freeform 382"/>
                  <p:cNvSpPr>
                    <a:spLocks/>
                  </p:cNvSpPr>
                  <p:nvPr/>
                </p:nvSpPr>
                <p:spPr bwMode="auto">
                  <a:xfrm>
                    <a:off x="11858625" y="-22501225"/>
                    <a:ext cx="735013" cy="981075"/>
                  </a:xfrm>
                  <a:custGeom>
                    <a:avLst/>
                    <a:gdLst/>
                    <a:ahLst/>
                    <a:cxnLst>
                      <a:cxn ang="0">
                        <a:pos x="36" y="0"/>
                      </a:cxn>
                      <a:cxn ang="0">
                        <a:pos x="59" y="0"/>
                      </a:cxn>
                      <a:cxn ang="0">
                        <a:pos x="119" y="95"/>
                      </a:cxn>
                      <a:cxn ang="0">
                        <a:pos x="131" y="107"/>
                      </a:cxn>
                      <a:cxn ang="0">
                        <a:pos x="190" y="107"/>
                      </a:cxn>
                      <a:cxn ang="0">
                        <a:pos x="238" y="143"/>
                      </a:cxn>
                      <a:cxn ang="0">
                        <a:pos x="297" y="155"/>
                      </a:cxn>
                      <a:cxn ang="0">
                        <a:pos x="356" y="202"/>
                      </a:cxn>
                      <a:cxn ang="0">
                        <a:pos x="356" y="238"/>
                      </a:cxn>
                      <a:cxn ang="0">
                        <a:pos x="333" y="274"/>
                      </a:cxn>
                      <a:cxn ang="0">
                        <a:pos x="380" y="274"/>
                      </a:cxn>
                      <a:cxn ang="0">
                        <a:pos x="416" y="262"/>
                      </a:cxn>
                      <a:cxn ang="0">
                        <a:pos x="440" y="274"/>
                      </a:cxn>
                      <a:cxn ang="0">
                        <a:pos x="452" y="333"/>
                      </a:cxn>
                      <a:cxn ang="0">
                        <a:pos x="463" y="452"/>
                      </a:cxn>
                      <a:cxn ang="0">
                        <a:pos x="392" y="523"/>
                      </a:cxn>
                      <a:cxn ang="0">
                        <a:pos x="356" y="535"/>
                      </a:cxn>
                      <a:cxn ang="0">
                        <a:pos x="309" y="535"/>
                      </a:cxn>
                      <a:cxn ang="0">
                        <a:pos x="226" y="583"/>
                      </a:cxn>
                      <a:cxn ang="0">
                        <a:pos x="178" y="583"/>
                      </a:cxn>
                      <a:cxn ang="0">
                        <a:pos x="154" y="606"/>
                      </a:cxn>
                      <a:cxn ang="0">
                        <a:pos x="119" y="618"/>
                      </a:cxn>
                      <a:cxn ang="0">
                        <a:pos x="83" y="594"/>
                      </a:cxn>
                      <a:cxn ang="0">
                        <a:pos x="59" y="571"/>
                      </a:cxn>
                      <a:cxn ang="0">
                        <a:pos x="95" y="511"/>
                      </a:cxn>
                      <a:cxn ang="0">
                        <a:pos x="95" y="416"/>
                      </a:cxn>
                      <a:cxn ang="0">
                        <a:pos x="83" y="309"/>
                      </a:cxn>
                      <a:cxn ang="0">
                        <a:pos x="48" y="250"/>
                      </a:cxn>
                      <a:cxn ang="0">
                        <a:pos x="12" y="238"/>
                      </a:cxn>
                      <a:cxn ang="0">
                        <a:pos x="0" y="202"/>
                      </a:cxn>
                      <a:cxn ang="0">
                        <a:pos x="12" y="190"/>
                      </a:cxn>
                      <a:cxn ang="0">
                        <a:pos x="36" y="178"/>
                      </a:cxn>
                      <a:cxn ang="0">
                        <a:pos x="83" y="167"/>
                      </a:cxn>
                      <a:cxn ang="0">
                        <a:pos x="119" y="178"/>
                      </a:cxn>
                      <a:cxn ang="0">
                        <a:pos x="143" y="226"/>
                      </a:cxn>
                      <a:cxn ang="0">
                        <a:pos x="131" y="262"/>
                      </a:cxn>
                      <a:cxn ang="0">
                        <a:pos x="71" y="250"/>
                      </a:cxn>
                      <a:cxn ang="0">
                        <a:pos x="95" y="274"/>
                      </a:cxn>
                      <a:cxn ang="0">
                        <a:pos x="119" y="285"/>
                      </a:cxn>
                      <a:cxn ang="0">
                        <a:pos x="154" y="274"/>
                      </a:cxn>
                      <a:cxn ang="0">
                        <a:pos x="166" y="262"/>
                      </a:cxn>
                      <a:cxn ang="0">
                        <a:pos x="166" y="202"/>
                      </a:cxn>
                      <a:cxn ang="0">
                        <a:pos x="166" y="190"/>
                      </a:cxn>
                      <a:cxn ang="0">
                        <a:pos x="154" y="178"/>
                      </a:cxn>
                      <a:cxn ang="0">
                        <a:pos x="131" y="119"/>
                      </a:cxn>
                      <a:cxn ang="0">
                        <a:pos x="119" y="119"/>
                      </a:cxn>
                      <a:cxn ang="0">
                        <a:pos x="107" y="143"/>
                      </a:cxn>
                      <a:cxn ang="0">
                        <a:pos x="48" y="155"/>
                      </a:cxn>
                      <a:cxn ang="0">
                        <a:pos x="24" y="155"/>
                      </a:cxn>
                      <a:cxn ang="0">
                        <a:pos x="12" y="119"/>
                      </a:cxn>
                      <a:cxn ang="0">
                        <a:pos x="24" y="24"/>
                      </a:cxn>
                      <a:cxn ang="0">
                        <a:pos x="36" y="0"/>
                      </a:cxn>
                    </a:cxnLst>
                    <a:rect l="0" t="0" r="r" b="b"/>
                    <a:pathLst>
                      <a:path w="463" h="618">
                        <a:moveTo>
                          <a:pt x="36" y="0"/>
                        </a:moveTo>
                        <a:lnTo>
                          <a:pt x="59" y="0"/>
                        </a:lnTo>
                        <a:lnTo>
                          <a:pt x="119" y="95"/>
                        </a:lnTo>
                        <a:lnTo>
                          <a:pt x="131" y="107"/>
                        </a:lnTo>
                        <a:lnTo>
                          <a:pt x="190" y="107"/>
                        </a:lnTo>
                        <a:lnTo>
                          <a:pt x="238" y="143"/>
                        </a:lnTo>
                        <a:lnTo>
                          <a:pt x="297" y="155"/>
                        </a:lnTo>
                        <a:lnTo>
                          <a:pt x="356" y="202"/>
                        </a:lnTo>
                        <a:lnTo>
                          <a:pt x="356" y="238"/>
                        </a:lnTo>
                        <a:lnTo>
                          <a:pt x="333" y="274"/>
                        </a:lnTo>
                        <a:lnTo>
                          <a:pt x="380" y="274"/>
                        </a:lnTo>
                        <a:lnTo>
                          <a:pt x="416" y="262"/>
                        </a:lnTo>
                        <a:lnTo>
                          <a:pt x="440" y="274"/>
                        </a:lnTo>
                        <a:lnTo>
                          <a:pt x="452" y="333"/>
                        </a:lnTo>
                        <a:lnTo>
                          <a:pt x="463" y="452"/>
                        </a:lnTo>
                        <a:lnTo>
                          <a:pt x="392" y="523"/>
                        </a:lnTo>
                        <a:lnTo>
                          <a:pt x="356" y="535"/>
                        </a:lnTo>
                        <a:lnTo>
                          <a:pt x="309" y="535"/>
                        </a:lnTo>
                        <a:lnTo>
                          <a:pt x="226" y="583"/>
                        </a:lnTo>
                        <a:lnTo>
                          <a:pt x="178" y="583"/>
                        </a:lnTo>
                        <a:lnTo>
                          <a:pt x="154" y="606"/>
                        </a:lnTo>
                        <a:lnTo>
                          <a:pt x="119" y="618"/>
                        </a:lnTo>
                        <a:lnTo>
                          <a:pt x="83" y="594"/>
                        </a:lnTo>
                        <a:lnTo>
                          <a:pt x="59" y="571"/>
                        </a:lnTo>
                        <a:lnTo>
                          <a:pt x="95" y="511"/>
                        </a:lnTo>
                        <a:lnTo>
                          <a:pt x="95" y="416"/>
                        </a:lnTo>
                        <a:lnTo>
                          <a:pt x="83" y="309"/>
                        </a:lnTo>
                        <a:lnTo>
                          <a:pt x="48" y="250"/>
                        </a:lnTo>
                        <a:lnTo>
                          <a:pt x="12" y="238"/>
                        </a:lnTo>
                        <a:lnTo>
                          <a:pt x="0" y="202"/>
                        </a:lnTo>
                        <a:lnTo>
                          <a:pt x="12" y="190"/>
                        </a:lnTo>
                        <a:lnTo>
                          <a:pt x="36" y="178"/>
                        </a:lnTo>
                        <a:lnTo>
                          <a:pt x="83" y="167"/>
                        </a:lnTo>
                        <a:lnTo>
                          <a:pt x="119" y="178"/>
                        </a:lnTo>
                        <a:lnTo>
                          <a:pt x="143" y="226"/>
                        </a:lnTo>
                        <a:lnTo>
                          <a:pt x="131" y="262"/>
                        </a:lnTo>
                        <a:lnTo>
                          <a:pt x="71" y="250"/>
                        </a:lnTo>
                        <a:lnTo>
                          <a:pt x="95" y="274"/>
                        </a:lnTo>
                        <a:lnTo>
                          <a:pt x="119" y="285"/>
                        </a:lnTo>
                        <a:lnTo>
                          <a:pt x="154" y="274"/>
                        </a:lnTo>
                        <a:lnTo>
                          <a:pt x="166" y="262"/>
                        </a:lnTo>
                        <a:lnTo>
                          <a:pt x="166" y="202"/>
                        </a:lnTo>
                        <a:lnTo>
                          <a:pt x="166" y="190"/>
                        </a:lnTo>
                        <a:lnTo>
                          <a:pt x="154" y="178"/>
                        </a:lnTo>
                        <a:lnTo>
                          <a:pt x="131" y="119"/>
                        </a:lnTo>
                        <a:lnTo>
                          <a:pt x="119" y="119"/>
                        </a:lnTo>
                        <a:lnTo>
                          <a:pt x="107" y="143"/>
                        </a:lnTo>
                        <a:lnTo>
                          <a:pt x="48" y="155"/>
                        </a:lnTo>
                        <a:lnTo>
                          <a:pt x="24" y="155"/>
                        </a:lnTo>
                        <a:lnTo>
                          <a:pt x="12" y="119"/>
                        </a:lnTo>
                        <a:lnTo>
                          <a:pt x="24" y="24"/>
                        </a:lnTo>
                        <a:lnTo>
                          <a:pt x="36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1" name="Freeform 384"/>
                  <p:cNvSpPr>
                    <a:spLocks/>
                  </p:cNvSpPr>
                  <p:nvPr/>
                </p:nvSpPr>
                <p:spPr bwMode="auto">
                  <a:xfrm>
                    <a:off x="11839575" y="-22048788"/>
                    <a:ext cx="131763" cy="490538"/>
                  </a:xfrm>
                  <a:custGeom>
                    <a:avLst/>
                    <a:gdLst/>
                    <a:ahLst/>
                    <a:cxnLst>
                      <a:cxn ang="0">
                        <a:pos x="48" y="0"/>
                      </a:cxn>
                      <a:cxn ang="0">
                        <a:pos x="60" y="12"/>
                      </a:cxn>
                      <a:cxn ang="0">
                        <a:pos x="83" y="72"/>
                      </a:cxn>
                      <a:cxn ang="0">
                        <a:pos x="83" y="191"/>
                      </a:cxn>
                      <a:cxn ang="0">
                        <a:pos x="71" y="214"/>
                      </a:cxn>
                      <a:cxn ang="0">
                        <a:pos x="60" y="238"/>
                      </a:cxn>
                      <a:cxn ang="0">
                        <a:pos x="60" y="286"/>
                      </a:cxn>
                      <a:cxn ang="0">
                        <a:pos x="71" y="309"/>
                      </a:cxn>
                      <a:cxn ang="0">
                        <a:pos x="48" y="309"/>
                      </a:cxn>
                      <a:cxn ang="0">
                        <a:pos x="0" y="250"/>
                      </a:cxn>
                      <a:cxn ang="0">
                        <a:pos x="12" y="72"/>
                      </a:cxn>
                      <a:cxn ang="0">
                        <a:pos x="36" y="36"/>
                      </a:cxn>
                      <a:cxn ang="0">
                        <a:pos x="36" y="0"/>
                      </a:cxn>
                      <a:cxn ang="0">
                        <a:pos x="48" y="0"/>
                      </a:cxn>
                    </a:cxnLst>
                    <a:rect l="0" t="0" r="r" b="b"/>
                    <a:pathLst>
                      <a:path w="83" h="309">
                        <a:moveTo>
                          <a:pt x="48" y="0"/>
                        </a:moveTo>
                        <a:lnTo>
                          <a:pt x="60" y="12"/>
                        </a:lnTo>
                        <a:lnTo>
                          <a:pt x="83" y="72"/>
                        </a:lnTo>
                        <a:lnTo>
                          <a:pt x="83" y="191"/>
                        </a:lnTo>
                        <a:lnTo>
                          <a:pt x="71" y="214"/>
                        </a:lnTo>
                        <a:lnTo>
                          <a:pt x="60" y="238"/>
                        </a:lnTo>
                        <a:lnTo>
                          <a:pt x="60" y="286"/>
                        </a:lnTo>
                        <a:lnTo>
                          <a:pt x="71" y="309"/>
                        </a:lnTo>
                        <a:lnTo>
                          <a:pt x="48" y="309"/>
                        </a:lnTo>
                        <a:lnTo>
                          <a:pt x="0" y="250"/>
                        </a:lnTo>
                        <a:lnTo>
                          <a:pt x="12" y="72"/>
                        </a:lnTo>
                        <a:lnTo>
                          <a:pt x="36" y="36"/>
                        </a:lnTo>
                        <a:lnTo>
                          <a:pt x="36" y="0"/>
                        </a:lnTo>
                        <a:lnTo>
                          <a:pt x="48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2" name="Freeform 386"/>
                  <p:cNvSpPr>
                    <a:spLocks/>
                  </p:cNvSpPr>
                  <p:nvPr/>
                </p:nvSpPr>
                <p:spPr bwMode="auto">
                  <a:xfrm>
                    <a:off x="11123613" y="-22180550"/>
                    <a:ext cx="622300" cy="585788"/>
                  </a:xfrm>
                  <a:custGeom>
                    <a:avLst/>
                    <a:gdLst/>
                    <a:ahLst/>
                    <a:cxnLst>
                      <a:cxn ang="0">
                        <a:pos x="332" y="0"/>
                      </a:cxn>
                      <a:cxn ang="0">
                        <a:pos x="368" y="0"/>
                      </a:cxn>
                      <a:cxn ang="0">
                        <a:pos x="380" y="24"/>
                      </a:cxn>
                      <a:cxn ang="0">
                        <a:pos x="392" y="83"/>
                      </a:cxn>
                      <a:cxn ang="0">
                        <a:pos x="380" y="95"/>
                      </a:cxn>
                      <a:cxn ang="0">
                        <a:pos x="356" y="95"/>
                      </a:cxn>
                      <a:cxn ang="0">
                        <a:pos x="261" y="131"/>
                      </a:cxn>
                      <a:cxn ang="0">
                        <a:pos x="273" y="167"/>
                      </a:cxn>
                      <a:cxn ang="0">
                        <a:pos x="261" y="178"/>
                      </a:cxn>
                      <a:cxn ang="0">
                        <a:pos x="237" y="190"/>
                      </a:cxn>
                      <a:cxn ang="0">
                        <a:pos x="190" y="214"/>
                      </a:cxn>
                      <a:cxn ang="0">
                        <a:pos x="178" y="238"/>
                      </a:cxn>
                      <a:cxn ang="0">
                        <a:pos x="166" y="297"/>
                      </a:cxn>
                      <a:cxn ang="0">
                        <a:pos x="154" y="333"/>
                      </a:cxn>
                      <a:cxn ang="0">
                        <a:pos x="118" y="345"/>
                      </a:cxn>
                      <a:cxn ang="0">
                        <a:pos x="59" y="369"/>
                      </a:cxn>
                      <a:cxn ang="0">
                        <a:pos x="23" y="369"/>
                      </a:cxn>
                      <a:cxn ang="0">
                        <a:pos x="0" y="357"/>
                      </a:cxn>
                      <a:cxn ang="0">
                        <a:pos x="0" y="333"/>
                      </a:cxn>
                      <a:cxn ang="0">
                        <a:pos x="0" y="297"/>
                      </a:cxn>
                      <a:cxn ang="0">
                        <a:pos x="118" y="190"/>
                      </a:cxn>
                      <a:cxn ang="0">
                        <a:pos x="166" y="155"/>
                      </a:cxn>
                      <a:cxn ang="0">
                        <a:pos x="225" y="143"/>
                      </a:cxn>
                      <a:cxn ang="0">
                        <a:pos x="213" y="95"/>
                      </a:cxn>
                      <a:cxn ang="0">
                        <a:pos x="237" y="60"/>
                      </a:cxn>
                      <a:cxn ang="0">
                        <a:pos x="273" y="24"/>
                      </a:cxn>
                      <a:cxn ang="0">
                        <a:pos x="332" y="0"/>
                      </a:cxn>
                    </a:cxnLst>
                    <a:rect l="0" t="0" r="r" b="b"/>
                    <a:pathLst>
                      <a:path w="392" h="369">
                        <a:moveTo>
                          <a:pt x="332" y="0"/>
                        </a:moveTo>
                        <a:lnTo>
                          <a:pt x="368" y="0"/>
                        </a:lnTo>
                        <a:lnTo>
                          <a:pt x="380" y="24"/>
                        </a:lnTo>
                        <a:lnTo>
                          <a:pt x="392" y="83"/>
                        </a:lnTo>
                        <a:lnTo>
                          <a:pt x="380" y="95"/>
                        </a:lnTo>
                        <a:lnTo>
                          <a:pt x="356" y="95"/>
                        </a:lnTo>
                        <a:lnTo>
                          <a:pt x="261" y="131"/>
                        </a:lnTo>
                        <a:lnTo>
                          <a:pt x="273" y="167"/>
                        </a:lnTo>
                        <a:lnTo>
                          <a:pt x="261" y="178"/>
                        </a:lnTo>
                        <a:lnTo>
                          <a:pt x="237" y="190"/>
                        </a:lnTo>
                        <a:lnTo>
                          <a:pt x="190" y="214"/>
                        </a:lnTo>
                        <a:lnTo>
                          <a:pt x="178" y="238"/>
                        </a:lnTo>
                        <a:lnTo>
                          <a:pt x="166" y="297"/>
                        </a:lnTo>
                        <a:lnTo>
                          <a:pt x="154" y="333"/>
                        </a:lnTo>
                        <a:lnTo>
                          <a:pt x="118" y="345"/>
                        </a:lnTo>
                        <a:lnTo>
                          <a:pt x="59" y="369"/>
                        </a:lnTo>
                        <a:lnTo>
                          <a:pt x="23" y="369"/>
                        </a:lnTo>
                        <a:lnTo>
                          <a:pt x="0" y="357"/>
                        </a:lnTo>
                        <a:lnTo>
                          <a:pt x="0" y="333"/>
                        </a:lnTo>
                        <a:lnTo>
                          <a:pt x="0" y="297"/>
                        </a:lnTo>
                        <a:lnTo>
                          <a:pt x="118" y="190"/>
                        </a:lnTo>
                        <a:lnTo>
                          <a:pt x="166" y="155"/>
                        </a:lnTo>
                        <a:lnTo>
                          <a:pt x="225" y="143"/>
                        </a:lnTo>
                        <a:lnTo>
                          <a:pt x="213" y="95"/>
                        </a:lnTo>
                        <a:lnTo>
                          <a:pt x="237" y="60"/>
                        </a:lnTo>
                        <a:lnTo>
                          <a:pt x="273" y="24"/>
                        </a:lnTo>
                        <a:lnTo>
                          <a:pt x="332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3" name="Freeform 388"/>
                  <p:cNvSpPr>
                    <a:spLocks/>
                  </p:cNvSpPr>
                  <p:nvPr/>
                </p:nvSpPr>
                <p:spPr bwMode="auto">
                  <a:xfrm>
                    <a:off x="11612563" y="-21991638"/>
                    <a:ext cx="188913" cy="112713"/>
                  </a:xfrm>
                  <a:custGeom>
                    <a:avLst/>
                    <a:gdLst/>
                    <a:ahLst/>
                    <a:cxnLst>
                      <a:cxn ang="0">
                        <a:pos x="96" y="0"/>
                      </a:cxn>
                      <a:cxn ang="0">
                        <a:pos x="119" y="24"/>
                      </a:cxn>
                      <a:cxn ang="0">
                        <a:pos x="107" y="48"/>
                      </a:cxn>
                      <a:cxn ang="0">
                        <a:pos x="24" y="71"/>
                      </a:cxn>
                      <a:cxn ang="0">
                        <a:pos x="0" y="71"/>
                      </a:cxn>
                      <a:cxn ang="0">
                        <a:pos x="0" y="48"/>
                      </a:cxn>
                      <a:cxn ang="0">
                        <a:pos x="0" y="24"/>
                      </a:cxn>
                      <a:cxn ang="0">
                        <a:pos x="96" y="0"/>
                      </a:cxn>
                    </a:cxnLst>
                    <a:rect l="0" t="0" r="r" b="b"/>
                    <a:pathLst>
                      <a:path w="119" h="71">
                        <a:moveTo>
                          <a:pt x="96" y="0"/>
                        </a:moveTo>
                        <a:lnTo>
                          <a:pt x="119" y="24"/>
                        </a:lnTo>
                        <a:lnTo>
                          <a:pt x="107" y="48"/>
                        </a:lnTo>
                        <a:lnTo>
                          <a:pt x="24" y="71"/>
                        </a:lnTo>
                        <a:lnTo>
                          <a:pt x="0" y="71"/>
                        </a:lnTo>
                        <a:lnTo>
                          <a:pt x="0" y="48"/>
                        </a:lnTo>
                        <a:lnTo>
                          <a:pt x="0" y="24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4" name="Freeform 390"/>
                  <p:cNvSpPr>
                    <a:spLocks/>
                  </p:cNvSpPr>
                  <p:nvPr/>
                </p:nvSpPr>
                <p:spPr bwMode="auto">
                  <a:xfrm>
                    <a:off x="11425238" y="-21859875"/>
                    <a:ext cx="357188" cy="284163"/>
                  </a:xfrm>
                  <a:custGeom>
                    <a:avLst/>
                    <a:gdLst/>
                    <a:ahLst/>
                    <a:cxnLst>
                      <a:cxn ang="0">
                        <a:pos x="202" y="12"/>
                      </a:cxn>
                      <a:cxn ang="0">
                        <a:pos x="225" y="48"/>
                      </a:cxn>
                      <a:cxn ang="0">
                        <a:pos x="202" y="95"/>
                      </a:cxn>
                      <a:cxn ang="0">
                        <a:pos x="225" y="167"/>
                      </a:cxn>
                      <a:cxn ang="0">
                        <a:pos x="225" y="179"/>
                      </a:cxn>
                      <a:cxn ang="0">
                        <a:pos x="166" y="155"/>
                      </a:cxn>
                      <a:cxn ang="0">
                        <a:pos x="130" y="95"/>
                      </a:cxn>
                      <a:cxn ang="0">
                        <a:pos x="107" y="72"/>
                      </a:cxn>
                      <a:cxn ang="0">
                        <a:pos x="59" y="107"/>
                      </a:cxn>
                      <a:cxn ang="0">
                        <a:pos x="35" y="119"/>
                      </a:cxn>
                      <a:cxn ang="0">
                        <a:pos x="0" y="119"/>
                      </a:cxn>
                      <a:cxn ang="0">
                        <a:pos x="0" y="95"/>
                      </a:cxn>
                      <a:cxn ang="0">
                        <a:pos x="12" y="95"/>
                      </a:cxn>
                      <a:cxn ang="0">
                        <a:pos x="12" y="48"/>
                      </a:cxn>
                      <a:cxn ang="0">
                        <a:pos x="23" y="36"/>
                      </a:cxn>
                      <a:cxn ang="0">
                        <a:pos x="71" y="36"/>
                      </a:cxn>
                      <a:cxn ang="0">
                        <a:pos x="83" y="12"/>
                      </a:cxn>
                      <a:cxn ang="0">
                        <a:pos x="142" y="24"/>
                      </a:cxn>
                      <a:cxn ang="0">
                        <a:pos x="178" y="0"/>
                      </a:cxn>
                      <a:cxn ang="0">
                        <a:pos x="202" y="12"/>
                      </a:cxn>
                    </a:cxnLst>
                    <a:rect l="0" t="0" r="r" b="b"/>
                    <a:pathLst>
                      <a:path w="225" h="179">
                        <a:moveTo>
                          <a:pt x="202" y="12"/>
                        </a:moveTo>
                        <a:lnTo>
                          <a:pt x="225" y="48"/>
                        </a:lnTo>
                        <a:lnTo>
                          <a:pt x="202" y="95"/>
                        </a:lnTo>
                        <a:lnTo>
                          <a:pt x="225" y="167"/>
                        </a:lnTo>
                        <a:lnTo>
                          <a:pt x="225" y="179"/>
                        </a:lnTo>
                        <a:lnTo>
                          <a:pt x="166" y="155"/>
                        </a:lnTo>
                        <a:lnTo>
                          <a:pt x="130" y="95"/>
                        </a:lnTo>
                        <a:lnTo>
                          <a:pt x="107" y="72"/>
                        </a:lnTo>
                        <a:lnTo>
                          <a:pt x="59" y="107"/>
                        </a:lnTo>
                        <a:lnTo>
                          <a:pt x="35" y="119"/>
                        </a:lnTo>
                        <a:lnTo>
                          <a:pt x="0" y="119"/>
                        </a:lnTo>
                        <a:lnTo>
                          <a:pt x="0" y="95"/>
                        </a:lnTo>
                        <a:lnTo>
                          <a:pt x="12" y="95"/>
                        </a:lnTo>
                        <a:lnTo>
                          <a:pt x="12" y="48"/>
                        </a:lnTo>
                        <a:lnTo>
                          <a:pt x="23" y="36"/>
                        </a:lnTo>
                        <a:lnTo>
                          <a:pt x="71" y="36"/>
                        </a:lnTo>
                        <a:lnTo>
                          <a:pt x="83" y="12"/>
                        </a:lnTo>
                        <a:lnTo>
                          <a:pt x="142" y="24"/>
                        </a:lnTo>
                        <a:lnTo>
                          <a:pt x="178" y="0"/>
                        </a:lnTo>
                        <a:lnTo>
                          <a:pt x="202" y="12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5" name="Freeform 392"/>
                  <p:cNvSpPr>
                    <a:spLocks/>
                  </p:cNvSpPr>
                  <p:nvPr/>
                </p:nvSpPr>
                <p:spPr bwMode="auto">
                  <a:xfrm>
                    <a:off x="11099004" y="-22255163"/>
                    <a:ext cx="80172" cy="263525"/>
                  </a:xfrm>
                  <a:custGeom>
                    <a:avLst/>
                    <a:gdLst>
                      <a:gd name="connsiteX0" fmla="*/ 10745 w 10745"/>
                      <a:gd name="connsiteY0" fmla="*/ 0 h 10000"/>
                      <a:gd name="connsiteX1" fmla="*/ 10745 w 10745"/>
                      <a:gd name="connsiteY1" fmla="*/ 7831 h 10000"/>
                      <a:gd name="connsiteX2" fmla="*/ 5639 w 10745"/>
                      <a:gd name="connsiteY2" fmla="*/ 10000 h 10000"/>
                      <a:gd name="connsiteX3" fmla="*/ 3298 w 10745"/>
                      <a:gd name="connsiteY3" fmla="*/ 10000 h 10000"/>
                      <a:gd name="connsiteX4" fmla="*/ 745 w 10745"/>
                      <a:gd name="connsiteY4" fmla="*/ 8554 h 10000"/>
                      <a:gd name="connsiteX5" fmla="*/ 0 w 10745"/>
                      <a:gd name="connsiteY5" fmla="*/ 6596 h 10000"/>
                      <a:gd name="connsiteX6" fmla="*/ 3298 w 10745"/>
                      <a:gd name="connsiteY6" fmla="*/ 5000 h 10000"/>
                      <a:gd name="connsiteX7" fmla="*/ 5639 w 10745"/>
                      <a:gd name="connsiteY7" fmla="*/ 0 h 10000"/>
                      <a:gd name="connsiteX8" fmla="*/ 5639 w 10745"/>
                      <a:gd name="connsiteY8" fmla="*/ 0 h 10000"/>
                      <a:gd name="connsiteX9" fmla="*/ 10745 w 10745"/>
                      <a:gd name="connsiteY9" fmla="*/ 0 h 10000"/>
                      <a:gd name="connsiteX0" fmla="*/ 10745 w 10745"/>
                      <a:gd name="connsiteY0" fmla="*/ 0 h 10000"/>
                      <a:gd name="connsiteX1" fmla="*/ 8936 w 10745"/>
                      <a:gd name="connsiteY1" fmla="*/ 3253 h 10000"/>
                      <a:gd name="connsiteX2" fmla="*/ 10745 w 10745"/>
                      <a:gd name="connsiteY2" fmla="*/ 7831 h 10000"/>
                      <a:gd name="connsiteX3" fmla="*/ 5639 w 10745"/>
                      <a:gd name="connsiteY3" fmla="*/ 10000 h 10000"/>
                      <a:gd name="connsiteX4" fmla="*/ 3298 w 10745"/>
                      <a:gd name="connsiteY4" fmla="*/ 10000 h 10000"/>
                      <a:gd name="connsiteX5" fmla="*/ 745 w 10745"/>
                      <a:gd name="connsiteY5" fmla="*/ 8554 h 10000"/>
                      <a:gd name="connsiteX6" fmla="*/ 0 w 10745"/>
                      <a:gd name="connsiteY6" fmla="*/ 6596 h 10000"/>
                      <a:gd name="connsiteX7" fmla="*/ 3298 w 10745"/>
                      <a:gd name="connsiteY7" fmla="*/ 5000 h 10000"/>
                      <a:gd name="connsiteX8" fmla="*/ 5639 w 10745"/>
                      <a:gd name="connsiteY8" fmla="*/ 0 h 10000"/>
                      <a:gd name="connsiteX9" fmla="*/ 5639 w 10745"/>
                      <a:gd name="connsiteY9" fmla="*/ 0 h 10000"/>
                      <a:gd name="connsiteX10" fmla="*/ 10745 w 10745"/>
                      <a:gd name="connsiteY10" fmla="*/ 0 h 10000"/>
                      <a:gd name="connsiteX0" fmla="*/ 8511 w 10745"/>
                      <a:gd name="connsiteY0" fmla="*/ 361 h 10000"/>
                      <a:gd name="connsiteX1" fmla="*/ 8936 w 10745"/>
                      <a:gd name="connsiteY1" fmla="*/ 3253 h 10000"/>
                      <a:gd name="connsiteX2" fmla="*/ 10745 w 10745"/>
                      <a:gd name="connsiteY2" fmla="*/ 7831 h 10000"/>
                      <a:gd name="connsiteX3" fmla="*/ 5639 w 10745"/>
                      <a:gd name="connsiteY3" fmla="*/ 10000 h 10000"/>
                      <a:gd name="connsiteX4" fmla="*/ 3298 w 10745"/>
                      <a:gd name="connsiteY4" fmla="*/ 10000 h 10000"/>
                      <a:gd name="connsiteX5" fmla="*/ 745 w 10745"/>
                      <a:gd name="connsiteY5" fmla="*/ 8554 h 10000"/>
                      <a:gd name="connsiteX6" fmla="*/ 0 w 10745"/>
                      <a:gd name="connsiteY6" fmla="*/ 6596 h 10000"/>
                      <a:gd name="connsiteX7" fmla="*/ 3298 w 10745"/>
                      <a:gd name="connsiteY7" fmla="*/ 5000 h 10000"/>
                      <a:gd name="connsiteX8" fmla="*/ 5639 w 10745"/>
                      <a:gd name="connsiteY8" fmla="*/ 0 h 10000"/>
                      <a:gd name="connsiteX9" fmla="*/ 5639 w 10745"/>
                      <a:gd name="connsiteY9" fmla="*/ 0 h 10000"/>
                      <a:gd name="connsiteX10" fmla="*/ 8511 w 10745"/>
                      <a:gd name="connsiteY10" fmla="*/ 361 h 10000"/>
                      <a:gd name="connsiteX0" fmla="*/ 8511 w 10745"/>
                      <a:gd name="connsiteY0" fmla="*/ 361 h 10000"/>
                      <a:gd name="connsiteX1" fmla="*/ 8936 w 10745"/>
                      <a:gd name="connsiteY1" fmla="*/ 3253 h 10000"/>
                      <a:gd name="connsiteX2" fmla="*/ 10745 w 10745"/>
                      <a:gd name="connsiteY2" fmla="*/ 7831 h 10000"/>
                      <a:gd name="connsiteX3" fmla="*/ 7235 w 10745"/>
                      <a:gd name="connsiteY3" fmla="*/ 9367 h 10000"/>
                      <a:gd name="connsiteX4" fmla="*/ 3298 w 10745"/>
                      <a:gd name="connsiteY4" fmla="*/ 10000 h 10000"/>
                      <a:gd name="connsiteX5" fmla="*/ 745 w 10745"/>
                      <a:gd name="connsiteY5" fmla="*/ 8554 h 10000"/>
                      <a:gd name="connsiteX6" fmla="*/ 0 w 10745"/>
                      <a:gd name="connsiteY6" fmla="*/ 6596 h 10000"/>
                      <a:gd name="connsiteX7" fmla="*/ 3298 w 10745"/>
                      <a:gd name="connsiteY7" fmla="*/ 5000 h 10000"/>
                      <a:gd name="connsiteX8" fmla="*/ 5639 w 10745"/>
                      <a:gd name="connsiteY8" fmla="*/ 0 h 10000"/>
                      <a:gd name="connsiteX9" fmla="*/ 5639 w 10745"/>
                      <a:gd name="connsiteY9" fmla="*/ 0 h 10000"/>
                      <a:gd name="connsiteX10" fmla="*/ 8511 w 10745"/>
                      <a:gd name="connsiteY10" fmla="*/ 361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0745" h="10000">
                        <a:moveTo>
                          <a:pt x="8511" y="361"/>
                        </a:moveTo>
                        <a:cubicBezTo>
                          <a:pt x="8653" y="1325"/>
                          <a:pt x="8794" y="2289"/>
                          <a:pt x="8936" y="3253"/>
                        </a:cubicBezTo>
                        <a:lnTo>
                          <a:pt x="10745" y="7831"/>
                        </a:lnTo>
                        <a:lnTo>
                          <a:pt x="7235" y="9367"/>
                        </a:lnTo>
                        <a:lnTo>
                          <a:pt x="3298" y="10000"/>
                        </a:lnTo>
                        <a:lnTo>
                          <a:pt x="745" y="8554"/>
                        </a:lnTo>
                        <a:lnTo>
                          <a:pt x="0" y="6596"/>
                        </a:lnTo>
                        <a:lnTo>
                          <a:pt x="3298" y="5000"/>
                        </a:lnTo>
                        <a:lnTo>
                          <a:pt x="5639" y="0"/>
                        </a:lnTo>
                        <a:lnTo>
                          <a:pt x="5639" y="0"/>
                        </a:lnTo>
                        <a:lnTo>
                          <a:pt x="8511" y="361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6" name="Freeform 394"/>
                  <p:cNvSpPr>
                    <a:spLocks/>
                  </p:cNvSpPr>
                  <p:nvPr/>
                </p:nvSpPr>
                <p:spPr bwMode="auto">
                  <a:xfrm>
                    <a:off x="16292513" y="-21539200"/>
                    <a:ext cx="225425" cy="265113"/>
                  </a:xfrm>
                  <a:custGeom>
                    <a:avLst/>
                    <a:gdLst/>
                    <a:ahLst/>
                    <a:cxnLst>
                      <a:cxn ang="0">
                        <a:pos x="119" y="0"/>
                      </a:cxn>
                      <a:cxn ang="0">
                        <a:pos x="142" y="24"/>
                      </a:cxn>
                      <a:cxn ang="0">
                        <a:pos x="142" y="107"/>
                      </a:cxn>
                      <a:cxn ang="0">
                        <a:pos x="130" y="143"/>
                      </a:cxn>
                      <a:cxn ang="0">
                        <a:pos x="95" y="167"/>
                      </a:cxn>
                      <a:cxn ang="0">
                        <a:pos x="59" y="167"/>
                      </a:cxn>
                      <a:cxn ang="0">
                        <a:pos x="35" y="143"/>
                      </a:cxn>
                      <a:cxn ang="0">
                        <a:pos x="12" y="119"/>
                      </a:cxn>
                      <a:cxn ang="0">
                        <a:pos x="0" y="107"/>
                      </a:cxn>
                      <a:cxn ang="0">
                        <a:pos x="12" y="83"/>
                      </a:cxn>
                      <a:cxn ang="0">
                        <a:pos x="23" y="24"/>
                      </a:cxn>
                      <a:cxn ang="0">
                        <a:pos x="47" y="0"/>
                      </a:cxn>
                      <a:cxn ang="0">
                        <a:pos x="119" y="0"/>
                      </a:cxn>
                    </a:cxnLst>
                    <a:rect l="0" t="0" r="r" b="b"/>
                    <a:pathLst>
                      <a:path w="142" h="167">
                        <a:moveTo>
                          <a:pt x="119" y="0"/>
                        </a:moveTo>
                        <a:lnTo>
                          <a:pt x="142" y="24"/>
                        </a:lnTo>
                        <a:lnTo>
                          <a:pt x="142" y="107"/>
                        </a:lnTo>
                        <a:lnTo>
                          <a:pt x="130" y="143"/>
                        </a:lnTo>
                        <a:lnTo>
                          <a:pt x="95" y="167"/>
                        </a:lnTo>
                        <a:lnTo>
                          <a:pt x="59" y="167"/>
                        </a:lnTo>
                        <a:lnTo>
                          <a:pt x="35" y="143"/>
                        </a:lnTo>
                        <a:lnTo>
                          <a:pt x="12" y="119"/>
                        </a:lnTo>
                        <a:lnTo>
                          <a:pt x="0" y="107"/>
                        </a:lnTo>
                        <a:lnTo>
                          <a:pt x="12" y="83"/>
                        </a:lnTo>
                        <a:lnTo>
                          <a:pt x="23" y="24"/>
                        </a:lnTo>
                        <a:lnTo>
                          <a:pt x="47" y="0"/>
                        </a:lnTo>
                        <a:lnTo>
                          <a:pt x="119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7" name="Freeform 396"/>
                  <p:cNvSpPr>
                    <a:spLocks/>
                  </p:cNvSpPr>
                  <p:nvPr/>
                </p:nvSpPr>
                <p:spPr bwMode="auto">
                  <a:xfrm>
                    <a:off x="16027400" y="-20953413"/>
                    <a:ext cx="131763" cy="244475"/>
                  </a:xfrm>
                  <a:custGeom>
                    <a:avLst/>
                    <a:gdLst/>
                    <a:ahLst/>
                    <a:cxnLst>
                      <a:cxn ang="0">
                        <a:pos x="72" y="12"/>
                      </a:cxn>
                      <a:cxn ang="0">
                        <a:pos x="83" y="130"/>
                      </a:cxn>
                      <a:cxn ang="0">
                        <a:pos x="72" y="154"/>
                      </a:cxn>
                      <a:cxn ang="0">
                        <a:pos x="60" y="154"/>
                      </a:cxn>
                      <a:cxn ang="0">
                        <a:pos x="12" y="107"/>
                      </a:cxn>
                      <a:cxn ang="0">
                        <a:pos x="0" y="83"/>
                      </a:cxn>
                      <a:cxn ang="0">
                        <a:pos x="12" y="59"/>
                      </a:cxn>
                      <a:cxn ang="0">
                        <a:pos x="36" y="12"/>
                      </a:cxn>
                      <a:cxn ang="0">
                        <a:pos x="48" y="0"/>
                      </a:cxn>
                      <a:cxn ang="0">
                        <a:pos x="72" y="12"/>
                      </a:cxn>
                    </a:cxnLst>
                    <a:rect l="0" t="0" r="r" b="b"/>
                    <a:pathLst>
                      <a:path w="83" h="154">
                        <a:moveTo>
                          <a:pt x="72" y="12"/>
                        </a:moveTo>
                        <a:lnTo>
                          <a:pt x="83" y="130"/>
                        </a:lnTo>
                        <a:lnTo>
                          <a:pt x="72" y="154"/>
                        </a:lnTo>
                        <a:lnTo>
                          <a:pt x="60" y="154"/>
                        </a:lnTo>
                        <a:lnTo>
                          <a:pt x="12" y="107"/>
                        </a:lnTo>
                        <a:lnTo>
                          <a:pt x="0" y="83"/>
                        </a:lnTo>
                        <a:lnTo>
                          <a:pt x="12" y="59"/>
                        </a:lnTo>
                        <a:lnTo>
                          <a:pt x="36" y="12"/>
                        </a:lnTo>
                        <a:lnTo>
                          <a:pt x="48" y="0"/>
                        </a:lnTo>
                        <a:lnTo>
                          <a:pt x="72" y="12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8" name="Freeform 398"/>
                  <p:cNvSpPr>
                    <a:spLocks/>
                  </p:cNvSpPr>
                  <p:nvPr/>
                </p:nvSpPr>
                <p:spPr bwMode="auto">
                  <a:xfrm>
                    <a:off x="15160625" y="-20577175"/>
                    <a:ext cx="282575" cy="377825"/>
                  </a:xfrm>
                  <a:custGeom>
                    <a:avLst/>
                    <a:gdLst/>
                    <a:ahLst/>
                    <a:cxnLst>
                      <a:cxn ang="0">
                        <a:pos x="142" y="24"/>
                      </a:cxn>
                      <a:cxn ang="0">
                        <a:pos x="154" y="0"/>
                      </a:cxn>
                      <a:cxn ang="0">
                        <a:pos x="178" y="0"/>
                      </a:cxn>
                      <a:cxn ang="0">
                        <a:pos x="178" y="48"/>
                      </a:cxn>
                      <a:cxn ang="0">
                        <a:pos x="166" y="95"/>
                      </a:cxn>
                      <a:cxn ang="0">
                        <a:pos x="142" y="119"/>
                      </a:cxn>
                      <a:cxn ang="0">
                        <a:pos x="130" y="167"/>
                      </a:cxn>
                      <a:cxn ang="0">
                        <a:pos x="130" y="202"/>
                      </a:cxn>
                      <a:cxn ang="0">
                        <a:pos x="83" y="238"/>
                      </a:cxn>
                      <a:cxn ang="0">
                        <a:pos x="47" y="238"/>
                      </a:cxn>
                      <a:cxn ang="0">
                        <a:pos x="23" y="214"/>
                      </a:cxn>
                      <a:cxn ang="0">
                        <a:pos x="12" y="191"/>
                      </a:cxn>
                      <a:cxn ang="0">
                        <a:pos x="0" y="167"/>
                      </a:cxn>
                      <a:cxn ang="0">
                        <a:pos x="0" y="143"/>
                      </a:cxn>
                      <a:cxn ang="0">
                        <a:pos x="23" y="119"/>
                      </a:cxn>
                      <a:cxn ang="0">
                        <a:pos x="59" y="84"/>
                      </a:cxn>
                      <a:cxn ang="0">
                        <a:pos x="83" y="24"/>
                      </a:cxn>
                      <a:cxn ang="0">
                        <a:pos x="107" y="12"/>
                      </a:cxn>
                      <a:cxn ang="0">
                        <a:pos x="118" y="24"/>
                      </a:cxn>
                      <a:cxn ang="0">
                        <a:pos x="142" y="24"/>
                      </a:cxn>
                    </a:cxnLst>
                    <a:rect l="0" t="0" r="r" b="b"/>
                    <a:pathLst>
                      <a:path w="178" h="238">
                        <a:moveTo>
                          <a:pt x="142" y="24"/>
                        </a:moveTo>
                        <a:lnTo>
                          <a:pt x="154" y="0"/>
                        </a:lnTo>
                        <a:lnTo>
                          <a:pt x="178" y="0"/>
                        </a:lnTo>
                        <a:lnTo>
                          <a:pt x="178" y="48"/>
                        </a:lnTo>
                        <a:lnTo>
                          <a:pt x="166" y="95"/>
                        </a:lnTo>
                        <a:lnTo>
                          <a:pt x="142" y="119"/>
                        </a:lnTo>
                        <a:lnTo>
                          <a:pt x="130" y="167"/>
                        </a:lnTo>
                        <a:lnTo>
                          <a:pt x="130" y="202"/>
                        </a:lnTo>
                        <a:lnTo>
                          <a:pt x="83" y="238"/>
                        </a:lnTo>
                        <a:lnTo>
                          <a:pt x="47" y="238"/>
                        </a:lnTo>
                        <a:lnTo>
                          <a:pt x="23" y="214"/>
                        </a:lnTo>
                        <a:lnTo>
                          <a:pt x="12" y="191"/>
                        </a:lnTo>
                        <a:lnTo>
                          <a:pt x="0" y="167"/>
                        </a:lnTo>
                        <a:lnTo>
                          <a:pt x="0" y="143"/>
                        </a:lnTo>
                        <a:lnTo>
                          <a:pt x="23" y="119"/>
                        </a:lnTo>
                        <a:lnTo>
                          <a:pt x="59" y="84"/>
                        </a:lnTo>
                        <a:lnTo>
                          <a:pt x="83" y="24"/>
                        </a:lnTo>
                        <a:lnTo>
                          <a:pt x="107" y="12"/>
                        </a:lnTo>
                        <a:lnTo>
                          <a:pt x="118" y="24"/>
                        </a:lnTo>
                        <a:lnTo>
                          <a:pt x="142" y="2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9" name="Freeform 400"/>
                  <p:cNvSpPr>
                    <a:spLocks/>
                  </p:cNvSpPr>
                  <p:nvPr/>
                </p:nvSpPr>
                <p:spPr bwMode="auto">
                  <a:xfrm>
                    <a:off x="14009688" y="-20180300"/>
                    <a:ext cx="150813" cy="74613"/>
                  </a:xfrm>
                  <a:custGeom>
                    <a:avLst/>
                    <a:gdLst/>
                    <a:ahLst/>
                    <a:cxnLst>
                      <a:cxn ang="0">
                        <a:pos x="83" y="0"/>
                      </a:cxn>
                      <a:cxn ang="0">
                        <a:pos x="95" y="24"/>
                      </a:cxn>
                      <a:cxn ang="0">
                        <a:pos x="83" y="36"/>
                      </a:cxn>
                      <a:cxn ang="0">
                        <a:pos x="35" y="47"/>
                      </a:cxn>
                      <a:cxn ang="0">
                        <a:pos x="0" y="36"/>
                      </a:cxn>
                      <a:cxn ang="0">
                        <a:pos x="12" y="12"/>
                      </a:cxn>
                      <a:cxn ang="0">
                        <a:pos x="47" y="0"/>
                      </a:cxn>
                      <a:cxn ang="0">
                        <a:pos x="83" y="0"/>
                      </a:cxn>
                    </a:cxnLst>
                    <a:rect l="0" t="0" r="r" b="b"/>
                    <a:pathLst>
                      <a:path w="95" h="47">
                        <a:moveTo>
                          <a:pt x="83" y="0"/>
                        </a:moveTo>
                        <a:lnTo>
                          <a:pt x="95" y="24"/>
                        </a:lnTo>
                        <a:lnTo>
                          <a:pt x="83" y="36"/>
                        </a:lnTo>
                        <a:lnTo>
                          <a:pt x="35" y="47"/>
                        </a:lnTo>
                        <a:lnTo>
                          <a:pt x="0" y="36"/>
                        </a:lnTo>
                        <a:lnTo>
                          <a:pt x="12" y="12"/>
                        </a:lnTo>
                        <a:lnTo>
                          <a:pt x="47" y="0"/>
                        </a:lnTo>
                        <a:lnTo>
                          <a:pt x="83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0" name="Freeform 401"/>
                  <p:cNvSpPr>
                    <a:spLocks/>
                  </p:cNvSpPr>
                  <p:nvPr/>
                </p:nvSpPr>
                <p:spPr bwMode="auto">
                  <a:xfrm>
                    <a:off x="12217400" y="-20142200"/>
                    <a:ext cx="263525" cy="93663"/>
                  </a:xfrm>
                  <a:custGeom>
                    <a:avLst/>
                    <a:gdLst/>
                    <a:ahLst/>
                    <a:cxnLst>
                      <a:cxn ang="0">
                        <a:pos x="83" y="35"/>
                      </a:cxn>
                      <a:cxn ang="0">
                        <a:pos x="166" y="35"/>
                      </a:cxn>
                      <a:cxn ang="0">
                        <a:pos x="166" y="47"/>
                      </a:cxn>
                      <a:cxn ang="0">
                        <a:pos x="142" y="59"/>
                      </a:cxn>
                      <a:cxn ang="0">
                        <a:pos x="83" y="59"/>
                      </a:cxn>
                      <a:cxn ang="0">
                        <a:pos x="12" y="23"/>
                      </a:cxn>
                      <a:cxn ang="0">
                        <a:pos x="0" y="0"/>
                      </a:cxn>
                      <a:cxn ang="0">
                        <a:pos x="24" y="0"/>
                      </a:cxn>
                      <a:cxn ang="0">
                        <a:pos x="83" y="35"/>
                      </a:cxn>
                    </a:cxnLst>
                    <a:rect l="0" t="0" r="r" b="b"/>
                    <a:pathLst>
                      <a:path w="166" h="59">
                        <a:moveTo>
                          <a:pt x="83" y="35"/>
                        </a:moveTo>
                        <a:lnTo>
                          <a:pt x="166" y="35"/>
                        </a:lnTo>
                        <a:lnTo>
                          <a:pt x="166" y="47"/>
                        </a:lnTo>
                        <a:lnTo>
                          <a:pt x="142" y="59"/>
                        </a:lnTo>
                        <a:lnTo>
                          <a:pt x="83" y="59"/>
                        </a:lnTo>
                        <a:lnTo>
                          <a:pt x="12" y="23"/>
                        </a:lnTo>
                        <a:lnTo>
                          <a:pt x="0" y="0"/>
                        </a:lnTo>
                        <a:lnTo>
                          <a:pt x="24" y="0"/>
                        </a:lnTo>
                        <a:lnTo>
                          <a:pt x="83" y="35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1" name="Freeform 403"/>
                  <p:cNvSpPr>
                    <a:spLocks/>
                  </p:cNvSpPr>
                  <p:nvPr/>
                </p:nvSpPr>
                <p:spPr bwMode="auto">
                  <a:xfrm>
                    <a:off x="12480925" y="-20029488"/>
                    <a:ext cx="76200" cy="76200"/>
                  </a:xfrm>
                  <a:custGeom>
                    <a:avLst/>
                    <a:gdLst/>
                    <a:ahLst/>
                    <a:cxnLst>
                      <a:cxn ang="0">
                        <a:pos x="24" y="0"/>
                      </a:cxn>
                      <a:cxn ang="0">
                        <a:pos x="36" y="0"/>
                      </a:cxn>
                      <a:cxn ang="0">
                        <a:pos x="48" y="12"/>
                      </a:cxn>
                      <a:cxn ang="0">
                        <a:pos x="0" y="48"/>
                      </a:cxn>
                      <a:cxn ang="0">
                        <a:pos x="0" y="24"/>
                      </a:cxn>
                      <a:cxn ang="0">
                        <a:pos x="24" y="0"/>
                      </a:cxn>
                    </a:cxnLst>
                    <a:rect l="0" t="0" r="r" b="b"/>
                    <a:pathLst>
                      <a:path w="48" h="48">
                        <a:moveTo>
                          <a:pt x="24" y="0"/>
                        </a:moveTo>
                        <a:lnTo>
                          <a:pt x="36" y="0"/>
                        </a:lnTo>
                        <a:lnTo>
                          <a:pt x="48" y="12"/>
                        </a:lnTo>
                        <a:lnTo>
                          <a:pt x="0" y="48"/>
                        </a:lnTo>
                        <a:lnTo>
                          <a:pt x="0" y="24"/>
                        </a:lnTo>
                        <a:lnTo>
                          <a:pt x="24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2" name="Freeform 405"/>
                  <p:cNvSpPr>
                    <a:spLocks/>
                  </p:cNvSpPr>
                  <p:nvPr/>
                </p:nvSpPr>
                <p:spPr bwMode="auto">
                  <a:xfrm>
                    <a:off x="14311313" y="-19369088"/>
                    <a:ext cx="38100" cy="93663"/>
                  </a:xfrm>
                  <a:custGeom>
                    <a:avLst/>
                    <a:gdLst/>
                    <a:ahLst/>
                    <a:cxnLst>
                      <a:cxn ang="0">
                        <a:pos x="24" y="0"/>
                      </a:cxn>
                      <a:cxn ang="0">
                        <a:pos x="24" y="36"/>
                      </a:cxn>
                      <a:cxn ang="0">
                        <a:pos x="12" y="59"/>
                      </a:cxn>
                      <a:cxn ang="0">
                        <a:pos x="0" y="47"/>
                      </a:cxn>
                      <a:cxn ang="0">
                        <a:pos x="0" y="24"/>
                      </a:cxn>
                      <a:cxn ang="0">
                        <a:pos x="0" y="0"/>
                      </a:cxn>
                      <a:cxn ang="0">
                        <a:pos x="24" y="0"/>
                      </a:cxn>
                    </a:cxnLst>
                    <a:rect l="0" t="0" r="r" b="b"/>
                    <a:pathLst>
                      <a:path w="24" h="59">
                        <a:moveTo>
                          <a:pt x="24" y="0"/>
                        </a:moveTo>
                        <a:lnTo>
                          <a:pt x="24" y="36"/>
                        </a:lnTo>
                        <a:lnTo>
                          <a:pt x="12" y="59"/>
                        </a:lnTo>
                        <a:lnTo>
                          <a:pt x="0" y="47"/>
                        </a:lnTo>
                        <a:lnTo>
                          <a:pt x="0" y="24"/>
                        </a:lnTo>
                        <a:lnTo>
                          <a:pt x="0" y="0"/>
                        </a:lnTo>
                        <a:lnTo>
                          <a:pt x="24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3" name="Freeform 408"/>
                  <p:cNvSpPr>
                    <a:spLocks/>
                  </p:cNvSpPr>
                  <p:nvPr/>
                </p:nvSpPr>
                <p:spPr bwMode="auto">
                  <a:xfrm>
                    <a:off x="14349413" y="-19330988"/>
                    <a:ext cx="74613" cy="169863"/>
                  </a:xfrm>
                  <a:custGeom>
                    <a:avLst/>
                    <a:gdLst/>
                    <a:ahLst/>
                    <a:cxnLst>
                      <a:cxn ang="0">
                        <a:pos x="47" y="0"/>
                      </a:cxn>
                      <a:cxn ang="0">
                        <a:pos x="47" y="35"/>
                      </a:cxn>
                      <a:cxn ang="0">
                        <a:pos x="23" y="71"/>
                      </a:cxn>
                      <a:cxn ang="0">
                        <a:pos x="23" y="107"/>
                      </a:cxn>
                      <a:cxn ang="0">
                        <a:pos x="0" y="107"/>
                      </a:cxn>
                      <a:cxn ang="0">
                        <a:pos x="12" y="59"/>
                      </a:cxn>
                      <a:cxn ang="0">
                        <a:pos x="12" y="12"/>
                      </a:cxn>
                      <a:cxn ang="0">
                        <a:pos x="35" y="0"/>
                      </a:cxn>
                      <a:cxn ang="0">
                        <a:pos x="47" y="0"/>
                      </a:cxn>
                    </a:cxnLst>
                    <a:rect l="0" t="0" r="r" b="b"/>
                    <a:pathLst>
                      <a:path w="47" h="107">
                        <a:moveTo>
                          <a:pt x="47" y="0"/>
                        </a:moveTo>
                        <a:lnTo>
                          <a:pt x="47" y="35"/>
                        </a:lnTo>
                        <a:lnTo>
                          <a:pt x="23" y="71"/>
                        </a:lnTo>
                        <a:lnTo>
                          <a:pt x="23" y="107"/>
                        </a:lnTo>
                        <a:lnTo>
                          <a:pt x="0" y="107"/>
                        </a:lnTo>
                        <a:lnTo>
                          <a:pt x="12" y="59"/>
                        </a:lnTo>
                        <a:lnTo>
                          <a:pt x="12" y="12"/>
                        </a:lnTo>
                        <a:lnTo>
                          <a:pt x="35" y="0"/>
                        </a:lnTo>
                        <a:lnTo>
                          <a:pt x="47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4" name="Freeform 410"/>
                  <p:cNvSpPr>
                    <a:spLocks/>
                  </p:cNvSpPr>
                  <p:nvPr/>
                </p:nvSpPr>
                <p:spPr bwMode="auto">
                  <a:xfrm>
                    <a:off x="14216063" y="-19142075"/>
                    <a:ext cx="114300" cy="225425"/>
                  </a:xfrm>
                  <a:custGeom>
                    <a:avLst/>
                    <a:gdLst/>
                    <a:ahLst/>
                    <a:cxnLst>
                      <a:cxn ang="0">
                        <a:pos x="36" y="0"/>
                      </a:cxn>
                      <a:cxn ang="0">
                        <a:pos x="48" y="11"/>
                      </a:cxn>
                      <a:cxn ang="0">
                        <a:pos x="48" y="47"/>
                      </a:cxn>
                      <a:cxn ang="0">
                        <a:pos x="60" y="59"/>
                      </a:cxn>
                      <a:cxn ang="0">
                        <a:pos x="72" y="71"/>
                      </a:cxn>
                      <a:cxn ang="0">
                        <a:pos x="48" y="106"/>
                      </a:cxn>
                      <a:cxn ang="0">
                        <a:pos x="12" y="142"/>
                      </a:cxn>
                      <a:cxn ang="0">
                        <a:pos x="0" y="130"/>
                      </a:cxn>
                      <a:cxn ang="0">
                        <a:pos x="0" y="59"/>
                      </a:cxn>
                      <a:cxn ang="0">
                        <a:pos x="12" y="23"/>
                      </a:cxn>
                      <a:cxn ang="0">
                        <a:pos x="36" y="0"/>
                      </a:cxn>
                    </a:cxnLst>
                    <a:rect l="0" t="0" r="r" b="b"/>
                    <a:pathLst>
                      <a:path w="72" h="142">
                        <a:moveTo>
                          <a:pt x="36" y="0"/>
                        </a:moveTo>
                        <a:lnTo>
                          <a:pt x="48" y="11"/>
                        </a:lnTo>
                        <a:lnTo>
                          <a:pt x="48" y="47"/>
                        </a:lnTo>
                        <a:lnTo>
                          <a:pt x="60" y="59"/>
                        </a:lnTo>
                        <a:lnTo>
                          <a:pt x="72" y="71"/>
                        </a:lnTo>
                        <a:lnTo>
                          <a:pt x="48" y="106"/>
                        </a:lnTo>
                        <a:lnTo>
                          <a:pt x="12" y="142"/>
                        </a:lnTo>
                        <a:lnTo>
                          <a:pt x="0" y="130"/>
                        </a:lnTo>
                        <a:lnTo>
                          <a:pt x="0" y="59"/>
                        </a:lnTo>
                        <a:lnTo>
                          <a:pt x="12" y="23"/>
                        </a:lnTo>
                        <a:lnTo>
                          <a:pt x="36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5" name="Freeform 412"/>
                  <p:cNvSpPr>
                    <a:spLocks/>
                  </p:cNvSpPr>
                  <p:nvPr/>
                </p:nvSpPr>
                <p:spPr bwMode="auto">
                  <a:xfrm>
                    <a:off x="14160500" y="-18916650"/>
                    <a:ext cx="150813" cy="246063"/>
                  </a:xfrm>
                  <a:custGeom>
                    <a:avLst/>
                    <a:gdLst/>
                    <a:ahLst/>
                    <a:cxnLst>
                      <a:cxn ang="0">
                        <a:pos x="95" y="0"/>
                      </a:cxn>
                      <a:cxn ang="0">
                        <a:pos x="95" y="12"/>
                      </a:cxn>
                      <a:cxn ang="0">
                        <a:pos x="59" y="107"/>
                      </a:cxn>
                      <a:cxn ang="0">
                        <a:pos x="24" y="155"/>
                      </a:cxn>
                      <a:cxn ang="0">
                        <a:pos x="0" y="155"/>
                      </a:cxn>
                      <a:cxn ang="0">
                        <a:pos x="0" y="131"/>
                      </a:cxn>
                      <a:cxn ang="0">
                        <a:pos x="24" y="107"/>
                      </a:cxn>
                      <a:cxn ang="0">
                        <a:pos x="35" y="71"/>
                      </a:cxn>
                      <a:cxn ang="0">
                        <a:pos x="59" y="24"/>
                      </a:cxn>
                      <a:cxn ang="0">
                        <a:pos x="95" y="0"/>
                      </a:cxn>
                    </a:cxnLst>
                    <a:rect l="0" t="0" r="r" b="b"/>
                    <a:pathLst>
                      <a:path w="95" h="155">
                        <a:moveTo>
                          <a:pt x="95" y="0"/>
                        </a:moveTo>
                        <a:lnTo>
                          <a:pt x="95" y="12"/>
                        </a:lnTo>
                        <a:lnTo>
                          <a:pt x="59" y="107"/>
                        </a:lnTo>
                        <a:lnTo>
                          <a:pt x="24" y="155"/>
                        </a:lnTo>
                        <a:lnTo>
                          <a:pt x="0" y="155"/>
                        </a:lnTo>
                        <a:lnTo>
                          <a:pt x="0" y="131"/>
                        </a:lnTo>
                        <a:lnTo>
                          <a:pt x="24" y="107"/>
                        </a:lnTo>
                        <a:lnTo>
                          <a:pt x="35" y="71"/>
                        </a:lnTo>
                        <a:lnTo>
                          <a:pt x="59" y="24"/>
                        </a:lnTo>
                        <a:lnTo>
                          <a:pt x="95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6" name="Freeform 414"/>
                  <p:cNvSpPr>
                    <a:spLocks/>
                  </p:cNvSpPr>
                  <p:nvPr/>
                </p:nvSpPr>
                <p:spPr bwMode="auto">
                  <a:xfrm>
                    <a:off x="13782675" y="-18349913"/>
                    <a:ext cx="131763" cy="452438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48" y="12"/>
                      </a:cxn>
                      <a:cxn ang="0">
                        <a:pos x="71" y="35"/>
                      </a:cxn>
                      <a:cxn ang="0">
                        <a:pos x="83" y="59"/>
                      </a:cxn>
                      <a:cxn ang="0">
                        <a:pos x="71" y="83"/>
                      </a:cxn>
                      <a:cxn ang="0">
                        <a:pos x="71" y="166"/>
                      </a:cxn>
                      <a:cxn ang="0">
                        <a:pos x="83" y="249"/>
                      </a:cxn>
                      <a:cxn ang="0">
                        <a:pos x="83" y="273"/>
                      </a:cxn>
                      <a:cxn ang="0">
                        <a:pos x="71" y="285"/>
                      </a:cxn>
                      <a:cxn ang="0">
                        <a:pos x="48" y="285"/>
                      </a:cxn>
                      <a:cxn ang="0">
                        <a:pos x="36" y="261"/>
                      </a:cxn>
                      <a:cxn ang="0">
                        <a:pos x="36" y="154"/>
                      </a:cxn>
                      <a:cxn ang="0">
                        <a:pos x="0" y="107"/>
                      </a:cxn>
                      <a:cxn ang="0">
                        <a:pos x="12" y="47"/>
                      </a:cxn>
                      <a:cxn ang="0">
                        <a:pos x="0" y="12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83" h="285">
                        <a:moveTo>
                          <a:pt x="12" y="0"/>
                        </a:moveTo>
                        <a:lnTo>
                          <a:pt x="48" y="12"/>
                        </a:lnTo>
                        <a:lnTo>
                          <a:pt x="71" y="35"/>
                        </a:lnTo>
                        <a:lnTo>
                          <a:pt x="83" y="59"/>
                        </a:lnTo>
                        <a:lnTo>
                          <a:pt x="71" y="83"/>
                        </a:lnTo>
                        <a:lnTo>
                          <a:pt x="71" y="166"/>
                        </a:lnTo>
                        <a:lnTo>
                          <a:pt x="83" y="249"/>
                        </a:lnTo>
                        <a:lnTo>
                          <a:pt x="83" y="273"/>
                        </a:lnTo>
                        <a:lnTo>
                          <a:pt x="71" y="285"/>
                        </a:lnTo>
                        <a:lnTo>
                          <a:pt x="48" y="285"/>
                        </a:lnTo>
                        <a:lnTo>
                          <a:pt x="36" y="261"/>
                        </a:lnTo>
                        <a:lnTo>
                          <a:pt x="36" y="154"/>
                        </a:lnTo>
                        <a:lnTo>
                          <a:pt x="0" y="107"/>
                        </a:lnTo>
                        <a:lnTo>
                          <a:pt x="12" y="47"/>
                        </a:lnTo>
                        <a:lnTo>
                          <a:pt x="0" y="12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7" name="Freeform 416"/>
                  <p:cNvSpPr>
                    <a:spLocks/>
                  </p:cNvSpPr>
                  <p:nvPr/>
                </p:nvSpPr>
                <p:spPr bwMode="auto">
                  <a:xfrm>
                    <a:off x="13971588" y="-17708563"/>
                    <a:ext cx="150813" cy="546100"/>
                  </a:xfrm>
                  <a:custGeom>
                    <a:avLst/>
                    <a:gdLst/>
                    <a:ahLst/>
                    <a:cxnLst>
                      <a:cxn ang="0">
                        <a:pos x="24" y="0"/>
                      </a:cxn>
                      <a:cxn ang="0">
                        <a:pos x="36" y="12"/>
                      </a:cxn>
                      <a:cxn ang="0">
                        <a:pos x="83" y="83"/>
                      </a:cxn>
                      <a:cxn ang="0">
                        <a:pos x="83" y="166"/>
                      </a:cxn>
                      <a:cxn ang="0">
                        <a:pos x="95" y="214"/>
                      </a:cxn>
                      <a:cxn ang="0">
                        <a:pos x="71" y="273"/>
                      </a:cxn>
                      <a:cxn ang="0">
                        <a:pos x="71" y="332"/>
                      </a:cxn>
                      <a:cxn ang="0">
                        <a:pos x="59" y="344"/>
                      </a:cxn>
                      <a:cxn ang="0">
                        <a:pos x="36" y="332"/>
                      </a:cxn>
                      <a:cxn ang="0">
                        <a:pos x="12" y="273"/>
                      </a:cxn>
                      <a:cxn ang="0">
                        <a:pos x="0" y="225"/>
                      </a:cxn>
                      <a:cxn ang="0">
                        <a:pos x="12" y="166"/>
                      </a:cxn>
                      <a:cxn ang="0">
                        <a:pos x="0" y="35"/>
                      </a:cxn>
                      <a:cxn ang="0">
                        <a:pos x="0" y="0"/>
                      </a:cxn>
                      <a:cxn ang="0">
                        <a:pos x="24" y="0"/>
                      </a:cxn>
                    </a:cxnLst>
                    <a:rect l="0" t="0" r="r" b="b"/>
                    <a:pathLst>
                      <a:path w="95" h="344">
                        <a:moveTo>
                          <a:pt x="24" y="0"/>
                        </a:moveTo>
                        <a:lnTo>
                          <a:pt x="36" y="12"/>
                        </a:lnTo>
                        <a:lnTo>
                          <a:pt x="83" y="83"/>
                        </a:lnTo>
                        <a:lnTo>
                          <a:pt x="83" y="166"/>
                        </a:lnTo>
                        <a:lnTo>
                          <a:pt x="95" y="214"/>
                        </a:lnTo>
                        <a:lnTo>
                          <a:pt x="71" y="273"/>
                        </a:lnTo>
                        <a:lnTo>
                          <a:pt x="71" y="332"/>
                        </a:lnTo>
                        <a:lnTo>
                          <a:pt x="59" y="344"/>
                        </a:lnTo>
                        <a:lnTo>
                          <a:pt x="36" y="332"/>
                        </a:lnTo>
                        <a:lnTo>
                          <a:pt x="12" y="273"/>
                        </a:lnTo>
                        <a:lnTo>
                          <a:pt x="0" y="225"/>
                        </a:lnTo>
                        <a:lnTo>
                          <a:pt x="12" y="166"/>
                        </a:lnTo>
                        <a:lnTo>
                          <a:pt x="0" y="35"/>
                        </a:lnTo>
                        <a:lnTo>
                          <a:pt x="0" y="0"/>
                        </a:lnTo>
                        <a:lnTo>
                          <a:pt x="24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8" name="Freeform 457"/>
                  <p:cNvSpPr>
                    <a:spLocks/>
                  </p:cNvSpPr>
                  <p:nvPr/>
                </p:nvSpPr>
                <p:spPr bwMode="auto">
                  <a:xfrm>
                    <a:off x="-3649663" y="-28500388"/>
                    <a:ext cx="24450675" cy="23675975"/>
                  </a:xfrm>
                  <a:custGeom>
                    <a:avLst/>
                    <a:gdLst/>
                    <a:ahLst/>
                    <a:cxnLst>
                      <a:cxn ang="0">
                        <a:pos x="15224" y="4433"/>
                      </a:cxn>
                      <a:cxn ang="0">
                        <a:pos x="15057" y="4326"/>
                      </a:cxn>
                      <a:cxn ang="0">
                        <a:pos x="14915" y="4231"/>
                      </a:cxn>
                      <a:cxn ang="0">
                        <a:pos x="14653" y="4255"/>
                      </a:cxn>
                      <a:cxn ang="0">
                        <a:pos x="14487" y="4029"/>
                      </a:cxn>
                      <a:cxn ang="0">
                        <a:pos x="14190" y="4136"/>
                      </a:cxn>
                      <a:cxn ang="0">
                        <a:pos x="14000" y="3898"/>
                      </a:cxn>
                      <a:cxn ang="0">
                        <a:pos x="13821" y="4112"/>
                      </a:cxn>
                      <a:cxn ang="0">
                        <a:pos x="13512" y="3815"/>
                      </a:cxn>
                      <a:cxn ang="0">
                        <a:pos x="13239" y="3922"/>
                      </a:cxn>
                      <a:cxn ang="0">
                        <a:pos x="12918" y="4088"/>
                      </a:cxn>
                      <a:cxn ang="0">
                        <a:pos x="12621" y="4682"/>
                      </a:cxn>
                      <a:cxn ang="0">
                        <a:pos x="13001" y="4932"/>
                      </a:cxn>
                      <a:cxn ang="0">
                        <a:pos x="13096" y="5003"/>
                      </a:cxn>
                      <a:cxn ang="0">
                        <a:pos x="12383" y="4884"/>
                      </a:cxn>
                      <a:cxn ang="0">
                        <a:pos x="11849" y="5324"/>
                      </a:cxn>
                      <a:cxn ang="0">
                        <a:pos x="11350" y="5253"/>
                      </a:cxn>
                      <a:cxn ang="0">
                        <a:pos x="10839" y="5562"/>
                      </a:cxn>
                      <a:cxn ang="0">
                        <a:pos x="10482" y="5336"/>
                      </a:cxn>
                      <a:cxn ang="0">
                        <a:pos x="9864" y="5277"/>
                      </a:cxn>
                      <a:cxn ang="0">
                        <a:pos x="9745" y="5633"/>
                      </a:cxn>
                      <a:cxn ang="0">
                        <a:pos x="9448" y="5799"/>
                      </a:cxn>
                      <a:cxn ang="0">
                        <a:pos x="9698" y="5336"/>
                      </a:cxn>
                      <a:cxn ang="0">
                        <a:pos x="9603" y="4433"/>
                      </a:cxn>
                      <a:cxn ang="0">
                        <a:pos x="8331" y="4837"/>
                      </a:cxn>
                      <a:cxn ang="0">
                        <a:pos x="8129" y="4468"/>
                      </a:cxn>
                      <a:cxn ang="0">
                        <a:pos x="7511" y="3791"/>
                      </a:cxn>
                      <a:cxn ang="0">
                        <a:pos x="6869" y="2662"/>
                      </a:cxn>
                      <a:cxn ang="0">
                        <a:pos x="6572" y="1854"/>
                      </a:cxn>
                      <a:cxn ang="0">
                        <a:pos x="6287" y="1462"/>
                      </a:cxn>
                      <a:cxn ang="0">
                        <a:pos x="5800" y="1295"/>
                      </a:cxn>
                      <a:cxn ang="0">
                        <a:pos x="5111" y="975"/>
                      </a:cxn>
                      <a:cxn ang="0">
                        <a:pos x="4635" y="48"/>
                      </a:cxn>
                      <a:cxn ang="0">
                        <a:pos x="3613" y="143"/>
                      </a:cxn>
                      <a:cxn ang="0">
                        <a:pos x="3423" y="915"/>
                      </a:cxn>
                      <a:cxn ang="0">
                        <a:pos x="2270" y="832"/>
                      </a:cxn>
                      <a:cxn ang="0">
                        <a:pos x="1308" y="1093"/>
                      </a:cxn>
                      <a:cxn ang="0">
                        <a:pos x="618" y="1379"/>
                      </a:cxn>
                      <a:cxn ang="0">
                        <a:pos x="24" y="1664"/>
                      </a:cxn>
                      <a:cxn ang="0">
                        <a:pos x="214" y="3874"/>
                      </a:cxn>
                      <a:cxn ang="0">
                        <a:pos x="939" y="4564"/>
                      </a:cxn>
                      <a:cxn ang="0">
                        <a:pos x="1605" y="5015"/>
                      </a:cxn>
                      <a:cxn ang="0">
                        <a:pos x="2449" y="5479"/>
                      </a:cxn>
                      <a:cxn ang="0">
                        <a:pos x="3399" y="5538"/>
                      </a:cxn>
                      <a:cxn ang="0">
                        <a:pos x="1236" y="9935"/>
                      </a:cxn>
                      <a:cxn ang="0">
                        <a:pos x="654" y="11432"/>
                      </a:cxn>
                      <a:cxn ang="0">
                        <a:pos x="1213" y="12312"/>
                      </a:cxn>
                      <a:cxn ang="0">
                        <a:pos x="1747" y="13607"/>
                      </a:cxn>
                      <a:cxn ang="0">
                        <a:pos x="2627" y="14380"/>
                      </a:cxn>
                      <a:cxn ang="0">
                        <a:pos x="10506" y="14534"/>
                      </a:cxn>
                      <a:cxn ang="0">
                        <a:pos x="11373" y="13251"/>
                      </a:cxn>
                      <a:cxn ang="0">
                        <a:pos x="11409" y="12193"/>
                      </a:cxn>
                      <a:cxn ang="0">
                        <a:pos x="12229" y="11064"/>
                      </a:cxn>
                      <a:cxn ang="0">
                        <a:pos x="12764" y="10232"/>
                      </a:cxn>
                      <a:cxn ang="0">
                        <a:pos x="12276" y="9555"/>
                      </a:cxn>
                      <a:cxn ang="0">
                        <a:pos x="13774" y="8259"/>
                      </a:cxn>
                      <a:cxn ang="0">
                        <a:pos x="14356" y="7154"/>
                      </a:cxn>
                      <a:cxn ang="0">
                        <a:pos x="14653" y="6774"/>
                      </a:cxn>
                      <a:cxn ang="0">
                        <a:pos x="14713" y="6406"/>
                      </a:cxn>
                      <a:cxn ang="0">
                        <a:pos x="14915" y="5954"/>
                      </a:cxn>
                      <a:cxn ang="0">
                        <a:pos x="15224" y="5348"/>
                      </a:cxn>
                      <a:cxn ang="0">
                        <a:pos x="15307" y="4825"/>
                      </a:cxn>
                    </a:cxnLst>
                    <a:rect l="0" t="0" r="r" b="b"/>
                    <a:pathLst>
                      <a:path w="15402" h="14914">
                        <a:moveTo>
                          <a:pt x="15331" y="4801"/>
                        </a:moveTo>
                        <a:lnTo>
                          <a:pt x="15343" y="4766"/>
                        </a:lnTo>
                        <a:lnTo>
                          <a:pt x="15343" y="4742"/>
                        </a:lnTo>
                        <a:lnTo>
                          <a:pt x="15319" y="4659"/>
                        </a:lnTo>
                        <a:lnTo>
                          <a:pt x="15319" y="4623"/>
                        </a:lnTo>
                        <a:lnTo>
                          <a:pt x="15319" y="4575"/>
                        </a:lnTo>
                        <a:lnTo>
                          <a:pt x="15378" y="4492"/>
                        </a:lnTo>
                        <a:lnTo>
                          <a:pt x="15378" y="4409"/>
                        </a:lnTo>
                        <a:lnTo>
                          <a:pt x="15402" y="4373"/>
                        </a:lnTo>
                        <a:lnTo>
                          <a:pt x="15402" y="4362"/>
                        </a:lnTo>
                        <a:lnTo>
                          <a:pt x="15390" y="4350"/>
                        </a:lnTo>
                        <a:lnTo>
                          <a:pt x="15331" y="4385"/>
                        </a:lnTo>
                        <a:lnTo>
                          <a:pt x="15295" y="4480"/>
                        </a:lnTo>
                        <a:lnTo>
                          <a:pt x="15283" y="4504"/>
                        </a:lnTo>
                        <a:lnTo>
                          <a:pt x="15259" y="4504"/>
                        </a:lnTo>
                        <a:lnTo>
                          <a:pt x="15259" y="4468"/>
                        </a:lnTo>
                        <a:lnTo>
                          <a:pt x="15307" y="4373"/>
                        </a:lnTo>
                        <a:lnTo>
                          <a:pt x="15307" y="4350"/>
                        </a:lnTo>
                        <a:lnTo>
                          <a:pt x="15283" y="4350"/>
                        </a:lnTo>
                        <a:lnTo>
                          <a:pt x="15224" y="4433"/>
                        </a:lnTo>
                        <a:lnTo>
                          <a:pt x="15188" y="4528"/>
                        </a:lnTo>
                        <a:lnTo>
                          <a:pt x="15176" y="4552"/>
                        </a:lnTo>
                        <a:lnTo>
                          <a:pt x="15164" y="4564"/>
                        </a:lnTo>
                        <a:lnTo>
                          <a:pt x="15140" y="4552"/>
                        </a:lnTo>
                        <a:lnTo>
                          <a:pt x="15152" y="4528"/>
                        </a:lnTo>
                        <a:lnTo>
                          <a:pt x="15224" y="4385"/>
                        </a:lnTo>
                        <a:lnTo>
                          <a:pt x="15224" y="4326"/>
                        </a:lnTo>
                        <a:lnTo>
                          <a:pt x="15247" y="4290"/>
                        </a:lnTo>
                        <a:lnTo>
                          <a:pt x="15236" y="4207"/>
                        </a:lnTo>
                        <a:lnTo>
                          <a:pt x="15224" y="4207"/>
                        </a:lnTo>
                        <a:lnTo>
                          <a:pt x="15164" y="4255"/>
                        </a:lnTo>
                        <a:lnTo>
                          <a:pt x="15164" y="4290"/>
                        </a:lnTo>
                        <a:lnTo>
                          <a:pt x="15117" y="4350"/>
                        </a:lnTo>
                        <a:lnTo>
                          <a:pt x="15117" y="4421"/>
                        </a:lnTo>
                        <a:lnTo>
                          <a:pt x="15105" y="4421"/>
                        </a:lnTo>
                        <a:lnTo>
                          <a:pt x="15093" y="4421"/>
                        </a:lnTo>
                        <a:lnTo>
                          <a:pt x="15093" y="4338"/>
                        </a:lnTo>
                        <a:lnTo>
                          <a:pt x="15093" y="4326"/>
                        </a:lnTo>
                        <a:lnTo>
                          <a:pt x="15069" y="4338"/>
                        </a:lnTo>
                        <a:lnTo>
                          <a:pt x="15057" y="4326"/>
                        </a:lnTo>
                        <a:lnTo>
                          <a:pt x="15034" y="4326"/>
                        </a:lnTo>
                        <a:lnTo>
                          <a:pt x="15022" y="4373"/>
                        </a:lnTo>
                        <a:lnTo>
                          <a:pt x="14998" y="4397"/>
                        </a:lnTo>
                        <a:lnTo>
                          <a:pt x="14986" y="4397"/>
                        </a:lnTo>
                        <a:lnTo>
                          <a:pt x="14986" y="4373"/>
                        </a:lnTo>
                        <a:lnTo>
                          <a:pt x="15010" y="4338"/>
                        </a:lnTo>
                        <a:lnTo>
                          <a:pt x="14986" y="4326"/>
                        </a:lnTo>
                        <a:lnTo>
                          <a:pt x="14962" y="4326"/>
                        </a:lnTo>
                        <a:lnTo>
                          <a:pt x="14927" y="4362"/>
                        </a:lnTo>
                        <a:lnTo>
                          <a:pt x="14891" y="4362"/>
                        </a:lnTo>
                        <a:lnTo>
                          <a:pt x="14855" y="4373"/>
                        </a:lnTo>
                        <a:lnTo>
                          <a:pt x="14843" y="4373"/>
                        </a:lnTo>
                        <a:lnTo>
                          <a:pt x="14831" y="4350"/>
                        </a:lnTo>
                        <a:lnTo>
                          <a:pt x="14831" y="4326"/>
                        </a:lnTo>
                        <a:lnTo>
                          <a:pt x="14855" y="4314"/>
                        </a:lnTo>
                        <a:lnTo>
                          <a:pt x="14879" y="4326"/>
                        </a:lnTo>
                        <a:lnTo>
                          <a:pt x="14879" y="4326"/>
                        </a:lnTo>
                        <a:lnTo>
                          <a:pt x="14903" y="4326"/>
                        </a:lnTo>
                        <a:lnTo>
                          <a:pt x="14915" y="4278"/>
                        </a:lnTo>
                        <a:lnTo>
                          <a:pt x="14915" y="4231"/>
                        </a:lnTo>
                        <a:lnTo>
                          <a:pt x="14927" y="4207"/>
                        </a:lnTo>
                        <a:lnTo>
                          <a:pt x="14962" y="4195"/>
                        </a:lnTo>
                        <a:lnTo>
                          <a:pt x="14986" y="4159"/>
                        </a:lnTo>
                        <a:lnTo>
                          <a:pt x="14986" y="4136"/>
                        </a:lnTo>
                        <a:lnTo>
                          <a:pt x="14962" y="4136"/>
                        </a:lnTo>
                        <a:lnTo>
                          <a:pt x="14927" y="4159"/>
                        </a:lnTo>
                        <a:lnTo>
                          <a:pt x="14891" y="4148"/>
                        </a:lnTo>
                        <a:lnTo>
                          <a:pt x="14867" y="4171"/>
                        </a:lnTo>
                        <a:lnTo>
                          <a:pt x="14855" y="4219"/>
                        </a:lnTo>
                        <a:lnTo>
                          <a:pt x="14843" y="4243"/>
                        </a:lnTo>
                        <a:lnTo>
                          <a:pt x="14831" y="4243"/>
                        </a:lnTo>
                        <a:lnTo>
                          <a:pt x="14831" y="4195"/>
                        </a:lnTo>
                        <a:lnTo>
                          <a:pt x="14820" y="4195"/>
                        </a:lnTo>
                        <a:lnTo>
                          <a:pt x="14808" y="4243"/>
                        </a:lnTo>
                        <a:lnTo>
                          <a:pt x="14784" y="4266"/>
                        </a:lnTo>
                        <a:lnTo>
                          <a:pt x="14725" y="4255"/>
                        </a:lnTo>
                        <a:lnTo>
                          <a:pt x="14653" y="4278"/>
                        </a:lnTo>
                        <a:lnTo>
                          <a:pt x="14641" y="4266"/>
                        </a:lnTo>
                        <a:lnTo>
                          <a:pt x="14653" y="4255"/>
                        </a:lnTo>
                        <a:lnTo>
                          <a:pt x="14653" y="4255"/>
                        </a:lnTo>
                        <a:lnTo>
                          <a:pt x="14689" y="4231"/>
                        </a:lnTo>
                        <a:lnTo>
                          <a:pt x="14725" y="4195"/>
                        </a:lnTo>
                        <a:lnTo>
                          <a:pt x="14725" y="4171"/>
                        </a:lnTo>
                        <a:lnTo>
                          <a:pt x="14665" y="4148"/>
                        </a:lnTo>
                        <a:lnTo>
                          <a:pt x="14653" y="4124"/>
                        </a:lnTo>
                        <a:lnTo>
                          <a:pt x="14629" y="4136"/>
                        </a:lnTo>
                        <a:lnTo>
                          <a:pt x="14629" y="4171"/>
                        </a:lnTo>
                        <a:lnTo>
                          <a:pt x="14641" y="4207"/>
                        </a:lnTo>
                        <a:lnTo>
                          <a:pt x="14629" y="4231"/>
                        </a:lnTo>
                        <a:lnTo>
                          <a:pt x="14618" y="4219"/>
                        </a:lnTo>
                        <a:lnTo>
                          <a:pt x="14606" y="4171"/>
                        </a:lnTo>
                        <a:lnTo>
                          <a:pt x="14570" y="4159"/>
                        </a:lnTo>
                        <a:lnTo>
                          <a:pt x="14546" y="4171"/>
                        </a:lnTo>
                        <a:lnTo>
                          <a:pt x="14534" y="4207"/>
                        </a:lnTo>
                        <a:lnTo>
                          <a:pt x="14523" y="4231"/>
                        </a:lnTo>
                        <a:lnTo>
                          <a:pt x="14499" y="4231"/>
                        </a:lnTo>
                        <a:lnTo>
                          <a:pt x="14511" y="4159"/>
                        </a:lnTo>
                        <a:lnTo>
                          <a:pt x="14487" y="4112"/>
                        </a:lnTo>
                        <a:lnTo>
                          <a:pt x="14499" y="4064"/>
                        </a:lnTo>
                        <a:lnTo>
                          <a:pt x="14487" y="4029"/>
                        </a:lnTo>
                        <a:lnTo>
                          <a:pt x="14475" y="4029"/>
                        </a:lnTo>
                        <a:lnTo>
                          <a:pt x="14463" y="4076"/>
                        </a:lnTo>
                        <a:lnTo>
                          <a:pt x="14416" y="4112"/>
                        </a:lnTo>
                        <a:lnTo>
                          <a:pt x="14404" y="4171"/>
                        </a:lnTo>
                        <a:lnTo>
                          <a:pt x="14368" y="4183"/>
                        </a:lnTo>
                        <a:lnTo>
                          <a:pt x="14344" y="4171"/>
                        </a:lnTo>
                        <a:lnTo>
                          <a:pt x="14380" y="4148"/>
                        </a:lnTo>
                        <a:lnTo>
                          <a:pt x="14380" y="4136"/>
                        </a:lnTo>
                        <a:lnTo>
                          <a:pt x="14344" y="4064"/>
                        </a:lnTo>
                        <a:lnTo>
                          <a:pt x="14356" y="4005"/>
                        </a:lnTo>
                        <a:lnTo>
                          <a:pt x="14344" y="3993"/>
                        </a:lnTo>
                        <a:lnTo>
                          <a:pt x="14320" y="3981"/>
                        </a:lnTo>
                        <a:lnTo>
                          <a:pt x="14320" y="3993"/>
                        </a:lnTo>
                        <a:lnTo>
                          <a:pt x="14309" y="4041"/>
                        </a:lnTo>
                        <a:lnTo>
                          <a:pt x="14273" y="4076"/>
                        </a:lnTo>
                        <a:lnTo>
                          <a:pt x="14273" y="4100"/>
                        </a:lnTo>
                        <a:lnTo>
                          <a:pt x="14237" y="4124"/>
                        </a:lnTo>
                        <a:lnTo>
                          <a:pt x="14225" y="4159"/>
                        </a:lnTo>
                        <a:lnTo>
                          <a:pt x="14190" y="4171"/>
                        </a:lnTo>
                        <a:lnTo>
                          <a:pt x="14190" y="4136"/>
                        </a:lnTo>
                        <a:lnTo>
                          <a:pt x="14202" y="4088"/>
                        </a:lnTo>
                        <a:lnTo>
                          <a:pt x="14190" y="4053"/>
                        </a:lnTo>
                        <a:lnTo>
                          <a:pt x="14178" y="3946"/>
                        </a:lnTo>
                        <a:lnTo>
                          <a:pt x="14166" y="3934"/>
                        </a:lnTo>
                        <a:lnTo>
                          <a:pt x="14142" y="3946"/>
                        </a:lnTo>
                        <a:lnTo>
                          <a:pt x="14154" y="3993"/>
                        </a:lnTo>
                        <a:lnTo>
                          <a:pt x="14130" y="4029"/>
                        </a:lnTo>
                        <a:lnTo>
                          <a:pt x="14130" y="4076"/>
                        </a:lnTo>
                        <a:lnTo>
                          <a:pt x="14107" y="4076"/>
                        </a:lnTo>
                        <a:lnTo>
                          <a:pt x="14095" y="4029"/>
                        </a:lnTo>
                        <a:lnTo>
                          <a:pt x="14107" y="3969"/>
                        </a:lnTo>
                        <a:lnTo>
                          <a:pt x="14107" y="3957"/>
                        </a:lnTo>
                        <a:lnTo>
                          <a:pt x="14095" y="3957"/>
                        </a:lnTo>
                        <a:lnTo>
                          <a:pt x="14059" y="3993"/>
                        </a:lnTo>
                        <a:lnTo>
                          <a:pt x="14023" y="3981"/>
                        </a:lnTo>
                        <a:lnTo>
                          <a:pt x="14012" y="3969"/>
                        </a:lnTo>
                        <a:lnTo>
                          <a:pt x="14035" y="3946"/>
                        </a:lnTo>
                        <a:lnTo>
                          <a:pt x="14047" y="3934"/>
                        </a:lnTo>
                        <a:lnTo>
                          <a:pt x="14023" y="3910"/>
                        </a:lnTo>
                        <a:lnTo>
                          <a:pt x="14000" y="3898"/>
                        </a:lnTo>
                        <a:lnTo>
                          <a:pt x="13976" y="3886"/>
                        </a:lnTo>
                        <a:lnTo>
                          <a:pt x="13964" y="3851"/>
                        </a:lnTo>
                        <a:lnTo>
                          <a:pt x="13928" y="3839"/>
                        </a:lnTo>
                        <a:lnTo>
                          <a:pt x="13893" y="3862"/>
                        </a:lnTo>
                        <a:lnTo>
                          <a:pt x="13845" y="3910"/>
                        </a:lnTo>
                        <a:lnTo>
                          <a:pt x="13809" y="3922"/>
                        </a:lnTo>
                        <a:lnTo>
                          <a:pt x="13798" y="3898"/>
                        </a:lnTo>
                        <a:lnTo>
                          <a:pt x="13798" y="3874"/>
                        </a:lnTo>
                        <a:lnTo>
                          <a:pt x="13786" y="3851"/>
                        </a:lnTo>
                        <a:lnTo>
                          <a:pt x="13774" y="3839"/>
                        </a:lnTo>
                        <a:lnTo>
                          <a:pt x="13762" y="3851"/>
                        </a:lnTo>
                        <a:lnTo>
                          <a:pt x="13750" y="3874"/>
                        </a:lnTo>
                        <a:lnTo>
                          <a:pt x="13762" y="3910"/>
                        </a:lnTo>
                        <a:lnTo>
                          <a:pt x="13762" y="3957"/>
                        </a:lnTo>
                        <a:lnTo>
                          <a:pt x="13798" y="3981"/>
                        </a:lnTo>
                        <a:lnTo>
                          <a:pt x="13821" y="4029"/>
                        </a:lnTo>
                        <a:lnTo>
                          <a:pt x="13833" y="4053"/>
                        </a:lnTo>
                        <a:lnTo>
                          <a:pt x="13845" y="4112"/>
                        </a:lnTo>
                        <a:lnTo>
                          <a:pt x="13833" y="4124"/>
                        </a:lnTo>
                        <a:lnTo>
                          <a:pt x="13821" y="4112"/>
                        </a:lnTo>
                        <a:lnTo>
                          <a:pt x="13809" y="4076"/>
                        </a:lnTo>
                        <a:lnTo>
                          <a:pt x="13774" y="4041"/>
                        </a:lnTo>
                        <a:lnTo>
                          <a:pt x="13726" y="4017"/>
                        </a:lnTo>
                        <a:lnTo>
                          <a:pt x="13703" y="3934"/>
                        </a:lnTo>
                        <a:lnTo>
                          <a:pt x="13655" y="3886"/>
                        </a:lnTo>
                        <a:lnTo>
                          <a:pt x="13655" y="3862"/>
                        </a:lnTo>
                        <a:lnTo>
                          <a:pt x="13631" y="3827"/>
                        </a:lnTo>
                        <a:lnTo>
                          <a:pt x="13596" y="3827"/>
                        </a:lnTo>
                        <a:lnTo>
                          <a:pt x="13584" y="3910"/>
                        </a:lnTo>
                        <a:lnTo>
                          <a:pt x="13584" y="3934"/>
                        </a:lnTo>
                        <a:lnTo>
                          <a:pt x="13548" y="3946"/>
                        </a:lnTo>
                        <a:lnTo>
                          <a:pt x="13512" y="3981"/>
                        </a:lnTo>
                        <a:lnTo>
                          <a:pt x="13489" y="3993"/>
                        </a:lnTo>
                        <a:lnTo>
                          <a:pt x="13477" y="3993"/>
                        </a:lnTo>
                        <a:lnTo>
                          <a:pt x="13465" y="3993"/>
                        </a:lnTo>
                        <a:lnTo>
                          <a:pt x="13477" y="3969"/>
                        </a:lnTo>
                        <a:lnTo>
                          <a:pt x="13512" y="3957"/>
                        </a:lnTo>
                        <a:lnTo>
                          <a:pt x="13524" y="3910"/>
                        </a:lnTo>
                        <a:lnTo>
                          <a:pt x="13524" y="3839"/>
                        </a:lnTo>
                        <a:lnTo>
                          <a:pt x="13512" y="3815"/>
                        </a:lnTo>
                        <a:lnTo>
                          <a:pt x="13489" y="3815"/>
                        </a:lnTo>
                        <a:lnTo>
                          <a:pt x="13477" y="3839"/>
                        </a:lnTo>
                        <a:lnTo>
                          <a:pt x="13465" y="3839"/>
                        </a:lnTo>
                        <a:lnTo>
                          <a:pt x="13453" y="3755"/>
                        </a:lnTo>
                        <a:lnTo>
                          <a:pt x="13429" y="3767"/>
                        </a:lnTo>
                        <a:lnTo>
                          <a:pt x="13394" y="3803"/>
                        </a:lnTo>
                        <a:lnTo>
                          <a:pt x="13394" y="3862"/>
                        </a:lnTo>
                        <a:lnTo>
                          <a:pt x="13382" y="3874"/>
                        </a:lnTo>
                        <a:lnTo>
                          <a:pt x="13370" y="3874"/>
                        </a:lnTo>
                        <a:lnTo>
                          <a:pt x="13358" y="3839"/>
                        </a:lnTo>
                        <a:lnTo>
                          <a:pt x="13334" y="3827"/>
                        </a:lnTo>
                        <a:lnTo>
                          <a:pt x="13346" y="3791"/>
                        </a:lnTo>
                        <a:lnTo>
                          <a:pt x="13322" y="3779"/>
                        </a:lnTo>
                        <a:lnTo>
                          <a:pt x="13310" y="3791"/>
                        </a:lnTo>
                        <a:lnTo>
                          <a:pt x="13322" y="3839"/>
                        </a:lnTo>
                        <a:lnTo>
                          <a:pt x="13298" y="3862"/>
                        </a:lnTo>
                        <a:lnTo>
                          <a:pt x="13287" y="3910"/>
                        </a:lnTo>
                        <a:lnTo>
                          <a:pt x="13251" y="3934"/>
                        </a:lnTo>
                        <a:lnTo>
                          <a:pt x="13239" y="3934"/>
                        </a:lnTo>
                        <a:lnTo>
                          <a:pt x="13239" y="3922"/>
                        </a:lnTo>
                        <a:lnTo>
                          <a:pt x="13263" y="3862"/>
                        </a:lnTo>
                        <a:lnTo>
                          <a:pt x="13275" y="3839"/>
                        </a:lnTo>
                        <a:lnTo>
                          <a:pt x="13251" y="3827"/>
                        </a:lnTo>
                        <a:lnTo>
                          <a:pt x="13215" y="3839"/>
                        </a:lnTo>
                        <a:lnTo>
                          <a:pt x="13203" y="3862"/>
                        </a:lnTo>
                        <a:lnTo>
                          <a:pt x="13156" y="3898"/>
                        </a:lnTo>
                        <a:lnTo>
                          <a:pt x="13144" y="3910"/>
                        </a:lnTo>
                        <a:lnTo>
                          <a:pt x="13156" y="3969"/>
                        </a:lnTo>
                        <a:lnTo>
                          <a:pt x="13156" y="3993"/>
                        </a:lnTo>
                        <a:lnTo>
                          <a:pt x="13132" y="3957"/>
                        </a:lnTo>
                        <a:lnTo>
                          <a:pt x="13108" y="3957"/>
                        </a:lnTo>
                        <a:lnTo>
                          <a:pt x="13096" y="3993"/>
                        </a:lnTo>
                        <a:lnTo>
                          <a:pt x="13073" y="3993"/>
                        </a:lnTo>
                        <a:lnTo>
                          <a:pt x="13061" y="3922"/>
                        </a:lnTo>
                        <a:lnTo>
                          <a:pt x="13037" y="3910"/>
                        </a:lnTo>
                        <a:lnTo>
                          <a:pt x="13013" y="3910"/>
                        </a:lnTo>
                        <a:lnTo>
                          <a:pt x="12966" y="3993"/>
                        </a:lnTo>
                        <a:lnTo>
                          <a:pt x="12918" y="4029"/>
                        </a:lnTo>
                        <a:lnTo>
                          <a:pt x="12918" y="4064"/>
                        </a:lnTo>
                        <a:lnTo>
                          <a:pt x="12918" y="4088"/>
                        </a:lnTo>
                        <a:lnTo>
                          <a:pt x="12918" y="4100"/>
                        </a:lnTo>
                        <a:lnTo>
                          <a:pt x="12883" y="4100"/>
                        </a:lnTo>
                        <a:lnTo>
                          <a:pt x="12847" y="4112"/>
                        </a:lnTo>
                        <a:lnTo>
                          <a:pt x="12811" y="4148"/>
                        </a:lnTo>
                        <a:lnTo>
                          <a:pt x="12799" y="4183"/>
                        </a:lnTo>
                        <a:lnTo>
                          <a:pt x="12776" y="4219"/>
                        </a:lnTo>
                        <a:lnTo>
                          <a:pt x="12716" y="4266"/>
                        </a:lnTo>
                        <a:lnTo>
                          <a:pt x="12716" y="4302"/>
                        </a:lnTo>
                        <a:lnTo>
                          <a:pt x="12740" y="4338"/>
                        </a:lnTo>
                        <a:lnTo>
                          <a:pt x="12728" y="4362"/>
                        </a:lnTo>
                        <a:lnTo>
                          <a:pt x="12728" y="4397"/>
                        </a:lnTo>
                        <a:lnTo>
                          <a:pt x="12740" y="4433"/>
                        </a:lnTo>
                        <a:lnTo>
                          <a:pt x="12740" y="4516"/>
                        </a:lnTo>
                        <a:lnTo>
                          <a:pt x="12716" y="4540"/>
                        </a:lnTo>
                        <a:lnTo>
                          <a:pt x="12716" y="4575"/>
                        </a:lnTo>
                        <a:lnTo>
                          <a:pt x="12681" y="4611"/>
                        </a:lnTo>
                        <a:lnTo>
                          <a:pt x="12681" y="4694"/>
                        </a:lnTo>
                        <a:lnTo>
                          <a:pt x="12681" y="4694"/>
                        </a:lnTo>
                        <a:lnTo>
                          <a:pt x="12657" y="4694"/>
                        </a:lnTo>
                        <a:lnTo>
                          <a:pt x="12621" y="4682"/>
                        </a:lnTo>
                        <a:lnTo>
                          <a:pt x="12657" y="4611"/>
                        </a:lnTo>
                        <a:lnTo>
                          <a:pt x="12645" y="4575"/>
                        </a:lnTo>
                        <a:lnTo>
                          <a:pt x="12621" y="4552"/>
                        </a:lnTo>
                        <a:lnTo>
                          <a:pt x="12597" y="4564"/>
                        </a:lnTo>
                        <a:lnTo>
                          <a:pt x="12597" y="4540"/>
                        </a:lnTo>
                        <a:lnTo>
                          <a:pt x="12574" y="4540"/>
                        </a:lnTo>
                        <a:lnTo>
                          <a:pt x="12562" y="4552"/>
                        </a:lnTo>
                        <a:lnTo>
                          <a:pt x="12526" y="4611"/>
                        </a:lnTo>
                        <a:lnTo>
                          <a:pt x="12514" y="4718"/>
                        </a:lnTo>
                        <a:lnTo>
                          <a:pt x="12514" y="4742"/>
                        </a:lnTo>
                        <a:lnTo>
                          <a:pt x="12526" y="4777"/>
                        </a:lnTo>
                        <a:lnTo>
                          <a:pt x="12574" y="4813"/>
                        </a:lnTo>
                        <a:lnTo>
                          <a:pt x="12669" y="4849"/>
                        </a:lnTo>
                        <a:lnTo>
                          <a:pt x="12716" y="4849"/>
                        </a:lnTo>
                        <a:lnTo>
                          <a:pt x="12752" y="4837"/>
                        </a:lnTo>
                        <a:lnTo>
                          <a:pt x="12799" y="4849"/>
                        </a:lnTo>
                        <a:lnTo>
                          <a:pt x="12847" y="4884"/>
                        </a:lnTo>
                        <a:lnTo>
                          <a:pt x="12906" y="4932"/>
                        </a:lnTo>
                        <a:lnTo>
                          <a:pt x="12978" y="4944"/>
                        </a:lnTo>
                        <a:lnTo>
                          <a:pt x="13001" y="4932"/>
                        </a:lnTo>
                        <a:lnTo>
                          <a:pt x="13037" y="4873"/>
                        </a:lnTo>
                        <a:lnTo>
                          <a:pt x="13096" y="4873"/>
                        </a:lnTo>
                        <a:lnTo>
                          <a:pt x="13120" y="4896"/>
                        </a:lnTo>
                        <a:lnTo>
                          <a:pt x="13108" y="4932"/>
                        </a:lnTo>
                        <a:lnTo>
                          <a:pt x="13108" y="4968"/>
                        </a:lnTo>
                        <a:lnTo>
                          <a:pt x="13144" y="4968"/>
                        </a:lnTo>
                        <a:lnTo>
                          <a:pt x="13192" y="4956"/>
                        </a:lnTo>
                        <a:lnTo>
                          <a:pt x="13239" y="4979"/>
                        </a:lnTo>
                        <a:lnTo>
                          <a:pt x="13263" y="5003"/>
                        </a:lnTo>
                        <a:lnTo>
                          <a:pt x="13322" y="5015"/>
                        </a:lnTo>
                        <a:lnTo>
                          <a:pt x="13334" y="5039"/>
                        </a:lnTo>
                        <a:lnTo>
                          <a:pt x="13370" y="5086"/>
                        </a:lnTo>
                        <a:lnTo>
                          <a:pt x="13358" y="5098"/>
                        </a:lnTo>
                        <a:lnTo>
                          <a:pt x="13346" y="5110"/>
                        </a:lnTo>
                        <a:lnTo>
                          <a:pt x="13310" y="5063"/>
                        </a:lnTo>
                        <a:lnTo>
                          <a:pt x="13251" y="5063"/>
                        </a:lnTo>
                        <a:lnTo>
                          <a:pt x="13192" y="5003"/>
                        </a:lnTo>
                        <a:lnTo>
                          <a:pt x="13132" y="5015"/>
                        </a:lnTo>
                        <a:lnTo>
                          <a:pt x="13108" y="5015"/>
                        </a:lnTo>
                        <a:lnTo>
                          <a:pt x="13096" y="5003"/>
                        </a:lnTo>
                        <a:lnTo>
                          <a:pt x="13085" y="4944"/>
                        </a:lnTo>
                        <a:lnTo>
                          <a:pt x="13096" y="4908"/>
                        </a:lnTo>
                        <a:lnTo>
                          <a:pt x="13073" y="4884"/>
                        </a:lnTo>
                        <a:lnTo>
                          <a:pt x="13061" y="4884"/>
                        </a:lnTo>
                        <a:lnTo>
                          <a:pt x="13049" y="4932"/>
                        </a:lnTo>
                        <a:lnTo>
                          <a:pt x="13013" y="4968"/>
                        </a:lnTo>
                        <a:lnTo>
                          <a:pt x="12942" y="4979"/>
                        </a:lnTo>
                        <a:lnTo>
                          <a:pt x="12883" y="4956"/>
                        </a:lnTo>
                        <a:lnTo>
                          <a:pt x="12799" y="4884"/>
                        </a:lnTo>
                        <a:lnTo>
                          <a:pt x="12764" y="4873"/>
                        </a:lnTo>
                        <a:lnTo>
                          <a:pt x="12681" y="4908"/>
                        </a:lnTo>
                        <a:lnTo>
                          <a:pt x="12574" y="4920"/>
                        </a:lnTo>
                        <a:lnTo>
                          <a:pt x="12526" y="4944"/>
                        </a:lnTo>
                        <a:lnTo>
                          <a:pt x="12526" y="4991"/>
                        </a:lnTo>
                        <a:lnTo>
                          <a:pt x="12609" y="5110"/>
                        </a:lnTo>
                        <a:lnTo>
                          <a:pt x="12574" y="5122"/>
                        </a:lnTo>
                        <a:lnTo>
                          <a:pt x="12538" y="5051"/>
                        </a:lnTo>
                        <a:lnTo>
                          <a:pt x="12478" y="5015"/>
                        </a:lnTo>
                        <a:lnTo>
                          <a:pt x="12419" y="4920"/>
                        </a:lnTo>
                        <a:lnTo>
                          <a:pt x="12383" y="4884"/>
                        </a:lnTo>
                        <a:lnTo>
                          <a:pt x="12348" y="4777"/>
                        </a:lnTo>
                        <a:lnTo>
                          <a:pt x="12324" y="4777"/>
                        </a:lnTo>
                        <a:lnTo>
                          <a:pt x="12312" y="4801"/>
                        </a:lnTo>
                        <a:lnTo>
                          <a:pt x="12288" y="4813"/>
                        </a:lnTo>
                        <a:lnTo>
                          <a:pt x="12265" y="4837"/>
                        </a:lnTo>
                        <a:lnTo>
                          <a:pt x="12265" y="4873"/>
                        </a:lnTo>
                        <a:lnTo>
                          <a:pt x="12229" y="4908"/>
                        </a:lnTo>
                        <a:lnTo>
                          <a:pt x="12217" y="4944"/>
                        </a:lnTo>
                        <a:lnTo>
                          <a:pt x="12181" y="4968"/>
                        </a:lnTo>
                        <a:lnTo>
                          <a:pt x="12158" y="5003"/>
                        </a:lnTo>
                        <a:lnTo>
                          <a:pt x="12086" y="5063"/>
                        </a:lnTo>
                        <a:lnTo>
                          <a:pt x="12051" y="5122"/>
                        </a:lnTo>
                        <a:lnTo>
                          <a:pt x="12039" y="5158"/>
                        </a:lnTo>
                        <a:lnTo>
                          <a:pt x="11979" y="5229"/>
                        </a:lnTo>
                        <a:lnTo>
                          <a:pt x="11979" y="5265"/>
                        </a:lnTo>
                        <a:lnTo>
                          <a:pt x="11956" y="5277"/>
                        </a:lnTo>
                        <a:lnTo>
                          <a:pt x="11896" y="5265"/>
                        </a:lnTo>
                        <a:lnTo>
                          <a:pt x="11884" y="5277"/>
                        </a:lnTo>
                        <a:lnTo>
                          <a:pt x="11884" y="5300"/>
                        </a:lnTo>
                        <a:lnTo>
                          <a:pt x="11849" y="5324"/>
                        </a:lnTo>
                        <a:lnTo>
                          <a:pt x="11801" y="5300"/>
                        </a:lnTo>
                        <a:lnTo>
                          <a:pt x="11789" y="5253"/>
                        </a:lnTo>
                        <a:lnTo>
                          <a:pt x="11813" y="5205"/>
                        </a:lnTo>
                        <a:lnTo>
                          <a:pt x="11813" y="5182"/>
                        </a:lnTo>
                        <a:lnTo>
                          <a:pt x="11789" y="5182"/>
                        </a:lnTo>
                        <a:lnTo>
                          <a:pt x="11754" y="5217"/>
                        </a:lnTo>
                        <a:lnTo>
                          <a:pt x="11754" y="5253"/>
                        </a:lnTo>
                        <a:lnTo>
                          <a:pt x="11706" y="5312"/>
                        </a:lnTo>
                        <a:lnTo>
                          <a:pt x="11706" y="5336"/>
                        </a:lnTo>
                        <a:lnTo>
                          <a:pt x="11718" y="5348"/>
                        </a:lnTo>
                        <a:lnTo>
                          <a:pt x="11670" y="5384"/>
                        </a:lnTo>
                        <a:lnTo>
                          <a:pt x="11516" y="5300"/>
                        </a:lnTo>
                        <a:lnTo>
                          <a:pt x="11540" y="5277"/>
                        </a:lnTo>
                        <a:lnTo>
                          <a:pt x="11552" y="5241"/>
                        </a:lnTo>
                        <a:lnTo>
                          <a:pt x="11528" y="5205"/>
                        </a:lnTo>
                        <a:lnTo>
                          <a:pt x="11516" y="5170"/>
                        </a:lnTo>
                        <a:lnTo>
                          <a:pt x="11492" y="5158"/>
                        </a:lnTo>
                        <a:lnTo>
                          <a:pt x="11468" y="5170"/>
                        </a:lnTo>
                        <a:lnTo>
                          <a:pt x="11373" y="5241"/>
                        </a:lnTo>
                        <a:lnTo>
                          <a:pt x="11350" y="5253"/>
                        </a:lnTo>
                        <a:lnTo>
                          <a:pt x="11314" y="5229"/>
                        </a:lnTo>
                        <a:lnTo>
                          <a:pt x="11278" y="5229"/>
                        </a:lnTo>
                        <a:lnTo>
                          <a:pt x="11254" y="5253"/>
                        </a:lnTo>
                        <a:lnTo>
                          <a:pt x="11254" y="5312"/>
                        </a:lnTo>
                        <a:lnTo>
                          <a:pt x="11231" y="5324"/>
                        </a:lnTo>
                        <a:lnTo>
                          <a:pt x="11195" y="5300"/>
                        </a:lnTo>
                        <a:lnTo>
                          <a:pt x="11148" y="5336"/>
                        </a:lnTo>
                        <a:lnTo>
                          <a:pt x="11112" y="5336"/>
                        </a:lnTo>
                        <a:lnTo>
                          <a:pt x="11112" y="5384"/>
                        </a:lnTo>
                        <a:lnTo>
                          <a:pt x="11100" y="5395"/>
                        </a:lnTo>
                        <a:lnTo>
                          <a:pt x="11088" y="5395"/>
                        </a:lnTo>
                        <a:lnTo>
                          <a:pt x="11052" y="5372"/>
                        </a:lnTo>
                        <a:lnTo>
                          <a:pt x="10993" y="5360"/>
                        </a:lnTo>
                        <a:lnTo>
                          <a:pt x="10922" y="5360"/>
                        </a:lnTo>
                        <a:lnTo>
                          <a:pt x="10898" y="5372"/>
                        </a:lnTo>
                        <a:lnTo>
                          <a:pt x="10874" y="5407"/>
                        </a:lnTo>
                        <a:lnTo>
                          <a:pt x="10874" y="5455"/>
                        </a:lnTo>
                        <a:lnTo>
                          <a:pt x="10862" y="5479"/>
                        </a:lnTo>
                        <a:lnTo>
                          <a:pt x="10862" y="5538"/>
                        </a:lnTo>
                        <a:lnTo>
                          <a:pt x="10839" y="5562"/>
                        </a:lnTo>
                        <a:lnTo>
                          <a:pt x="10827" y="5562"/>
                        </a:lnTo>
                        <a:lnTo>
                          <a:pt x="10827" y="5526"/>
                        </a:lnTo>
                        <a:lnTo>
                          <a:pt x="10839" y="5479"/>
                        </a:lnTo>
                        <a:lnTo>
                          <a:pt x="10850" y="5443"/>
                        </a:lnTo>
                        <a:lnTo>
                          <a:pt x="10850" y="5407"/>
                        </a:lnTo>
                        <a:lnTo>
                          <a:pt x="10839" y="5372"/>
                        </a:lnTo>
                        <a:lnTo>
                          <a:pt x="10803" y="5372"/>
                        </a:lnTo>
                        <a:lnTo>
                          <a:pt x="10779" y="5348"/>
                        </a:lnTo>
                        <a:lnTo>
                          <a:pt x="10755" y="5348"/>
                        </a:lnTo>
                        <a:lnTo>
                          <a:pt x="10732" y="5348"/>
                        </a:lnTo>
                        <a:lnTo>
                          <a:pt x="10720" y="5336"/>
                        </a:lnTo>
                        <a:lnTo>
                          <a:pt x="10743" y="5324"/>
                        </a:lnTo>
                        <a:lnTo>
                          <a:pt x="10743" y="5312"/>
                        </a:lnTo>
                        <a:lnTo>
                          <a:pt x="10708" y="5277"/>
                        </a:lnTo>
                        <a:lnTo>
                          <a:pt x="10589" y="5288"/>
                        </a:lnTo>
                        <a:lnTo>
                          <a:pt x="10589" y="5336"/>
                        </a:lnTo>
                        <a:lnTo>
                          <a:pt x="10565" y="5336"/>
                        </a:lnTo>
                        <a:lnTo>
                          <a:pt x="10518" y="5324"/>
                        </a:lnTo>
                        <a:lnTo>
                          <a:pt x="10494" y="5324"/>
                        </a:lnTo>
                        <a:lnTo>
                          <a:pt x="10482" y="5336"/>
                        </a:lnTo>
                        <a:lnTo>
                          <a:pt x="10482" y="5384"/>
                        </a:lnTo>
                        <a:lnTo>
                          <a:pt x="10470" y="5407"/>
                        </a:lnTo>
                        <a:lnTo>
                          <a:pt x="10411" y="5372"/>
                        </a:lnTo>
                        <a:lnTo>
                          <a:pt x="10280" y="5384"/>
                        </a:lnTo>
                        <a:lnTo>
                          <a:pt x="10256" y="5407"/>
                        </a:lnTo>
                        <a:lnTo>
                          <a:pt x="10244" y="5431"/>
                        </a:lnTo>
                        <a:lnTo>
                          <a:pt x="10244" y="5502"/>
                        </a:lnTo>
                        <a:lnTo>
                          <a:pt x="10197" y="5514"/>
                        </a:lnTo>
                        <a:lnTo>
                          <a:pt x="10185" y="5550"/>
                        </a:lnTo>
                        <a:lnTo>
                          <a:pt x="10161" y="5538"/>
                        </a:lnTo>
                        <a:lnTo>
                          <a:pt x="10149" y="5526"/>
                        </a:lnTo>
                        <a:lnTo>
                          <a:pt x="10149" y="5467"/>
                        </a:lnTo>
                        <a:lnTo>
                          <a:pt x="10125" y="5431"/>
                        </a:lnTo>
                        <a:lnTo>
                          <a:pt x="10125" y="5395"/>
                        </a:lnTo>
                        <a:lnTo>
                          <a:pt x="10114" y="5384"/>
                        </a:lnTo>
                        <a:lnTo>
                          <a:pt x="10066" y="5384"/>
                        </a:lnTo>
                        <a:lnTo>
                          <a:pt x="10019" y="5348"/>
                        </a:lnTo>
                        <a:lnTo>
                          <a:pt x="9947" y="5277"/>
                        </a:lnTo>
                        <a:lnTo>
                          <a:pt x="9900" y="5265"/>
                        </a:lnTo>
                        <a:lnTo>
                          <a:pt x="9864" y="5277"/>
                        </a:lnTo>
                        <a:lnTo>
                          <a:pt x="9840" y="5324"/>
                        </a:lnTo>
                        <a:lnTo>
                          <a:pt x="9852" y="5372"/>
                        </a:lnTo>
                        <a:lnTo>
                          <a:pt x="9852" y="5395"/>
                        </a:lnTo>
                        <a:lnTo>
                          <a:pt x="9840" y="5395"/>
                        </a:lnTo>
                        <a:lnTo>
                          <a:pt x="9781" y="5395"/>
                        </a:lnTo>
                        <a:lnTo>
                          <a:pt x="9745" y="5407"/>
                        </a:lnTo>
                        <a:lnTo>
                          <a:pt x="9733" y="5419"/>
                        </a:lnTo>
                        <a:lnTo>
                          <a:pt x="9710" y="5443"/>
                        </a:lnTo>
                        <a:lnTo>
                          <a:pt x="9710" y="5467"/>
                        </a:lnTo>
                        <a:lnTo>
                          <a:pt x="9710" y="5479"/>
                        </a:lnTo>
                        <a:lnTo>
                          <a:pt x="9769" y="5597"/>
                        </a:lnTo>
                        <a:lnTo>
                          <a:pt x="9781" y="5657"/>
                        </a:lnTo>
                        <a:lnTo>
                          <a:pt x="9864" y="5681"/>
                        </a:lnTo>
                        <a:lnTo>
                          <a:pt x="9888" y="5704"/>
                        </a:lnTo>
                        <a:lnTo>
                          <a:pt x="9900" y="5716"/>
                        </a:lnTo>
                        <a:lnTo>
                          <a:pt x="9876" y="5728"/>
                        </a:lnTo>
                        <a:lnTo>
                          <a:pt x="9769" y="5704"/>
                        </a:lnTo>
                        <a:lnTo>
                          <a:pt x="9733" y="5681"/>
                        </a:lnTo>
                        <a:lnTo>
                          <a:pt x="9745" y="5657"/>
                        </a:lnTo>
                        <a:lnTo>
                          <a:pt x="9745" y="5633"/>
                        </a:lnTo>
                        <a:lnTo>
                          <a:pt x="9674" y="5502"/>
                        </a:lnTo>
                        <a:lnTo>
                          <a:pt x="9650" y="5490"/>
                        </a:lnTo>
                        <a:lnTo>
                          <a:pt x="9567" y="5467"/>
                        </a:lnTo>
                        <a:lnTo>
                          <a:pt x="9519" y="5502"/>
                        </a:lnTo>
                        <a:lnTo>
                          <a:pt x="9519" y="5597"/>
                        </a:lnTo>
                        <a:lnTo>
                          <a:pt x="9519" y="5657"/>
                        </a:lnTo>
                        <a:lnTo>
                          <a:pt x="9496" y="5704"/>
                        </a:lnTo>
                        <a:lnTo>
                          <a:pt x="9484" y="5728"/>
                        </a:lnTo>
                        <a:lnTo>
                          <a:pt x="9484" y="5776"/>
                        </a:lnTo>
                        <a:lnTo>
                          <a:pt x="9496" y="5883"/>
                        </a:lnTo>
                        <a:lnTo>
                          <a:pt x="9531" y="5978"/>
                        </a:lnTo>
                        <a:lnTo>
                          <a:pt x="9555" y="5990"/>
                        </a:lnTo>
                        <a:lnTo>
                          <a:pt x="9579" y="6013"/>
                        </a:lnTo>
                        <a:lnTo>
                          <a:pt x="9626" y="6049"/>
                        </a:lnTo>
                        <a:lnTo>
                          <a:pt x="9603" y="6061"/>
                        </a:lnTo>
                        <a:lnTo>
                          <a:pt x="9579" y="6073"/>
                        </a:lnTo>
                        <a:lnTo>
                          <a:pt x="9567" y="6037"/>
                        </a:lnTo>
                        <a:lnTo>
                          <a:pt x="9472" y="5930"/>
                        </a:lnTo>
                        <a:lnTo>
                          <a:pt x="9460" y="5847"/>
                        </a:lnTo>
                        <a:lnTo>
                          <a:pt x="9448" y="5799"/>
                        </a:lnTo>
                        <a:lnTo>
                          <a:pt x="9448" y="5764"/>
                        </a:lnTo>
                        <a:lnTo>
                          <a:pt x="9424" y="5716"/>
                        </a:lnTo>
                        <a:lnTo>
                          <a:pt x="9424" y="5704"/>
                        </a:lnTo>
                        <a:lnTo>
                          <a:pt x="9472" y="5669"/>
                        </a:lnTo>
                        <a:lnTo>
                          <a:pt x="9484" y="5645"/>
                        </a:lnTo>
                        <a:lnTo>
                          <a:pt x="9496" y="5526"/>
                        </a:lnTo>
                        <a:lnTo>
                          <a:pt x="9496" y="5455"/>
                        </a:lnTo>
                        <a:lnTo>
                          <a:pt x="9519" y="5443"/>
                        </a:lnTo>
                        <a:lnTo>
                          <a:pt x="9543" y="5431"/>
                        </a:lnTo>
                        <a:lnTo>
                          <a:pt x="9567" y="5431"/>
                        </a:lnTo>
                        <a:lnTo>
                          <a:pt x="9626" y="5455"/>
                        </a:lnTo>
                        <a:lnTo>
                          <a:pt x="9650" y="5455"/>
                        </a:lnTo>
                        <a:lnTo>
                          <a:pt x="9674" y="5443"/>
                        </a:lnTo>
                        <a:lnTo>
                          <a:pt x="9662" y="5395"/>
                        </a:lnTo>
                        <a:lnTo>
                          <a:pt x="9662" y="5372"/>
                        </a:lnTo>
                        <a:lnTo>
                          <a:pt x="9614" y="5372"/>
                        </a:lnTo>
                        <a:lnTo>
                          <a:pt x="9603" y="5336"/>
                        </a:lnTo>
                        <a:lnTo>
                          <a:pt x="9626" y="5312"/>
                        </a:lnTo>
                        <a:lnTo>
                          <a:pt x="9662" y="5312"/>
                        </a:lnTo>
                        <a:lnTo>
                          <a:pt x="9698" y="5336"/>
                        </a:lnTo>
                        <a:lnTo>
                          <a:pt x="9733" y="5336"/>
                        </a:lnTo>
                        <a:lnTo>
                          <a:pt x="9817" y="5288"/>
                        </a:lnTo>
                        <a:lnTo>
                          <a:pt x="9828" y="5241"/>
                        </a:lnTo>
                        <a:lnTo>
                          <a:pt x="9840" y="5229"/>
                        </a:lnTo>
                        <a:lnTo>
                          <a:pt x="9817" y="5193"/>
                        </a:lnTo>
                        <a:lnTo>
                          <a:pt x="9817" y="5170"/>
                        </a:lnTo>
                        <a:lnTo>
                          <a:pt x="9852" y="5003"/>
                        </a:lnTo>
                        <a:lnTo>
                          <a:pt x="9817" y="4956"/>
                        </a:lnTo>
                        <a:lnTo>
                          <a:pt x="9793" y="4944"/>
                        </a:lnTo>
                        <a:lnTo>
                          <a:pt x="9733" y="4837"/>
                        </a:lnTo>
                        <a:lnTo>
                          <a:pt x="9733" y="4766"/>
                        </a:lnTo>
                        <a:lnTo>
                          <a:pt x="9721" y="4718"/>
                        </a:lnTo>
                        <a:lnTo>
                          <a:pt x="9721" y="4659"/>
                        </a:lnTo>
                        <a:lnTo>
                          <a:pt x="9769" y="4540"/>
                        </a:lnTo>
                        <a:lnTo>
                          <a:pt x="9757" y="4480"/>
                        </a:lnTo>
                        <a:lnTo>
                          <a:pt x="9710" y="4397"/>
                        </a:lnTo>
                        <a:lnTo>
                          <a:pt x="9686" y="4385"/>
                        </a:lnTo>
                        <a:lnTo>
                          <a:pt x="9674" y="4373"/>
                        </a:lnTo>
                        <a:lnTo>
                          <a:pt x="9626" y="4433"/>
                        </a:lnTo>
                        <a:lnTo>
                          <a:pt x="9603" y="4433"/>
                        </a:lnTo>
                        <a:lnTo>
                          <a:pt x="9531" y="4433"/>
                        </a:lnTo>
                        <a:lnTo>
                          <a:pt x="9484" y="4373"/>
                        </a:lnTo>
                        <a:lnTo>
                          <a:pt x="9448" y="4362"/>
                        </a:lnTo>
                        <a:lnTo>
                          <a:pt x="9412" y="4362"/>
                        </a:lnTo>
                        <a:lnTo>
                          <a:pt x="9389" y="4373"/>
                        </a:lnTo>
                        <a:lnTo>
                          <a:pt x="9294" y="4445"/>
                        </a:lnTo>
                        <a:lnTo>
                          <a:pt x="9258" y="4457"/>
                        </a:lnTo>
                        <a:lnTo>
                          <a:pt x="9187" y="4540"/>
                        </a:lnTo>
                        <a:lnTo>
                          <a:pt x="9139" y="4575"/>
                        </a:lnTo>
                        <a:lnTo>
                          <a:pt x="9103" y="4587"/>
                        </a:lnTo>
                        <a:lnTo>
                          <a:pt x="9068" y="4575"/>
                        </a:lnTo>
                        <a:lnTo>
                          <a:pt x="9056" y="4587"/>
                        </a:lnTo>
                        <a:lnTo>
                          <a:pt x="8949" y="4706"/>
                        </a:lnTo>
                        <a:lnTo>
                          <a:pt x="8747" y="4777"/>
                        </a:lnTo>
                        <a:lnTo>
                          <a:pt x="8616" y="4861"/>
                        </a:lnTo>
                        <a:lnTo>
                          <a:pt x="8509" y="4920"/>
                        </a:lnTo>
                        <a:lnTo>
                          <a:pt x="8390" y="4979"/>
                        </a:lnTo>
                        <a:lnTo>
                          <a:pt x="8390" y="4920"/>
                        </a:lnTo>
                        <a:lnTo>
                          <a:pt x="8379" y="4884"/>
                        </a:lnTo>
                        <a:lnTo>
                          <a:pt x="8331" y="4837"/>
                        </a:lnTo>
                        <a:lnTo>
                          <a:pt x="8295" y="4825"/>
                        </a:lnTo>
                        <a:lnTo>
                          <a:pt x="8260" y="4789"/>
                        </a:lnTo>
                        <a:lnTo>
                          <a:pt x="8331" y="4754"/>
                        </a:lnTo>
                        <a:lnTo>
                          <a:pt x="8390" y="4706"/>
                        </a:lnTo>
                        <a:lnTo>
                          <a:pt x="8414" y="4682"/>
                        </a:lnTo>
                        <a:lnTo>
                          <a:pt x="8414" y="4659"/>
                        </a:lnTo>
                        <a:lnTo>
                          <a:pt x="8402" y="4635"/>
                        </a:lnTo>
                        <a:lnTo>
                          <a:pt x="8426" y="4516"/>
                        </a:lnTo>
                        <a:lnTo>
                          <a:pt x="8414" y="4492"/>
                        </a:lnTo>
                        <a:lnTo>
                          <a:pt x="8402" y="4480"/>
                        </a:lnTo>
                        <a:lnTo>
                          <a:pt x="8355" y="4480"/>
                        </a:lnTo>
                        <a:lnTo>
                          <a:pt x="8343" y="4468"/>
                        </a:lnTo>
                        <a:lnTo>
                          <a:pt x="8319" y="4457"/>
                        </a:lnTo>
                        <a:lnTo>
                          <a:pt x="8284" y="4492"/>
                        </a:lnTo>
                        <a:lnTo>
                          <a:pt x="8236" y="4516"/>
                        </a:lnTo>
                        <a:lnTo>
                          <a:pt x="8212" y="4564"/>
                        </a:lnTo>
                        <a:lnTo>
                          <a:pt x="8200" y="4564"/>
                        </a:lnTo>
                        <a:lnTo>
                          <a:pt x="8188" y="4552"/>
                        </a:lnTo>
                        <a:lnTo>
                          <a:pt x="8153" y="4492"/>
                        </a:lnTo>
                        <a:lnTo>
                          <a:pt x="8129" y="4468"/>
                        </a:lnTo>
                        <a:lnTo>
                          <a:pt x="7998" y="4445"/>
                        </a:lnTo>
                        <a:lnTo>
                          <a:pt x="7903" y="4409"/>
                        </a:lnTo>
                        <a:lnTo>
                          <a:pt x="7868" y="4385"/>
                        </a:lnTo>
                        <a:lnTo>
                          <a:pt x="7844" y="4350"/>
                        </a:lnTo>
                        <a:lnTo>
                          <a:pt x="7808" y="4338"/>
                        </a:lnTo>
                        <a:lnTo>
                          <a:pt x="7796" y="4302"/>
                        </a:lnTo>
                        <a:lnTo>
                          <a:pt x="7772" y="4231"/>
                        </a:lnTo>
                        <a:lnTo>
                          <a:pt x="7808" y="4171"/>
                        </a:lnTo>
                        <a:lnTo>
                          <a:pt x="7808" y="4136"/>
                        </a:lnTo>
                        <a:lnTo>
                          <a:pt x="7796" y="4112"/>
                        </a:lnTo>
                        <a:lnTo>
                          <a:pt x="7784" y="4100"/>
                        </a:lnTo>
                        <a:lnTo>
                          <a:pt x="7749" y="4088"/>
                        </a:lnTo>
                        <a:lnTo>
                          <a:pt x="7666" y="4112"/>
                        </a:lnTo>
                        <a:lnTo>
                          <a:pt x="7654" y="4088"/>
                        </a:lnTo>
                        <a:lnTo>
                          <a:pt x="7689" y="3969"/>
                        </a:lnTo>
                        <a:lnTo>
                          <a:pt x="7689" y="3898"/>
                        </a:lnTo>
                        <a:lnTo>
                          <a:pt x="7654" y="3791"/>
                        </a:lnTo>
                        <a:lnTo>
                          <a:pt x="7606" y="3779"/>
                        </a:lnTo>
                        <a:lnTo>
                          <a:pt x="7535" y="3791"/>
                        </a:lnTo>
                        <a:lnTo>
                          <a:pt x="7511" y="3791"/>
                        </a:lnTo>
                        <a:lnTo>
                          <a:pt x="7487" y="3767"/>
                        </a:lnTo>
                        <a:lnTo>
                          <a:pt x="7464" y="3696"/>
                        </a:lnTo>
                        <a:lnTo>
                          <a:pt x="7464" y="3542"/>
                        </a:lnTo>
                        <a:lnTo>
                          <a:pt x="7487" y="3494"/>
                        </a:lnTo>
                        <a:lnTo>
                          <a:pt x="7464" y="3446"/>
                        </a:lnTo>
                        <a:lnTo>
                          <a:pt x="7380" y="3387"/>
                        </a:lnTo>
                        <a:lnTo>
                          <a:pt x="7297" y="3292"/>
                        </a:lnTo>
                        <a:lnTo>
                          <a:pt x="7178" y="3244"/>
                        </a:lnTo>
                        <a:lnTo>
                          <a:pt x="7155" y="3221"/>
                        </a:lnTo>
                        <a:lnTo>
                          <a:pt x="7119" y="3102"/>
                        </a:lnTo>
                        <a:lnTo>
                          <a:pt x="7095" y="3054"/>
                        </a:lnTo>
                        <a:lnTo>
                          <a:pt x="7095" y="3042"/>
                        </a:lnTo>
                        <a:lnTo>
                          <a:pt x="7024" y="2912"/>
                        </a:lnTo>
                        <a:lnTo>
                          <a:pt x="7012" y="2888"/>
                        </a:lnTo>
                        <a:lnTo>
                          <a:pt x="6988" y="2864"/>
                        </a:lnTo>
                        <a:lnTo>
                          <a:pt x="6964" y="2769"/>
                        </a:lnTo>
                        <a:lnTo>
                          <a:pt x="6917" y="2686"/>
                        </a:lnTo>
                        <a:lnTo>
                          <a:pt x="6893" y="2686"/>
                        </a:lnTo>
                        <a:lnTo>
                          <a:pt x="6881" y="2686"/>
                        </a:lnTo>
                        <a:lnTo>
                          <a:pt x="6869" y="2662"/>
                        </a:lnTo>
                        <a:lnTo>
                          <a:pt x="6881" y="2591"/>
                        </a:lnTo>
                        <a:lnTo>
                          <a:pt x="6869" y="2579"/>
                        </a:lnTo>
                        <a:lnTo>
                          <a:pt x="6881" y="2555"/>
                        </a:lnTo>
                        <a:lnTo>
                          <a:pt x="6917" y="2436"/>
                        </a:lnTo>
                        <a:lnTo>
                          <a:pt x="6905" y="2401"/>
                        </a:lnTo>
                        <a:lnTo>
                          <a:pt x="6905" y="2389"/>
                        </a:lnTo>
                        <a:lnTo>
                          <a:pt x="6929" y="2377"/>
                        </a:lnTo>
                        <a:lnTo>
                          <a:pt x="6941" y="2353"/>
                        </a:lnTo>
                        <a:lnTo>
                          <a:pt x="6941" y="2341"/>
                        </a:lnTo>
                        <a:lnTo>
                          <a:pt x="6941" y="2318"/>
                        </a:lnTo>
                        <a:lnTo>
                          <a:pt x="6953" y="2306"/>
                        </a:lnTo>
                        <a:lnTo>
                          <a:pt x="6929" y="2282"/>
                        </a:lnTo>
                        <a:lnTo>
                          <a:pt x="6869" y="2234"/>
                        </a:lnTo>
                        <a:lnTo>
                          <a:pt x="6822" y="2163"/>
                        </a:lnTo>
                        <a:lnTo>
                          <a:pt x="6679" y="2056"/>
                        </a:lnTo>
                        <a:lnTo>
                          <a:pt x="6632" y="2032"/>
                        </a:lnTo>
                        <a:lnTo>
                          <a:pt x="6608" y="2009"/>
                        </a:lnTo>
                        <a:lnTo>
                          <a:pt x="6596" y="1985"/>
                        </a:lnTo>
                        <a:lnTo>
                          <a:pt x="6596" y="1949"/>
                        </a:lnTo>
                        <a:lnTo>
                          <a:pt x="6572" y="1854"/>
                        </a:lnTo>
                        <a:lnTo>
                          <a:pt x="6537" y="1783"/>
                        </a:lnTo>
                        <a:lnTo>
                          <a:pt x="6548" y="1747"/>
                        </a:lnTo>
                        <a:lnTo>
                          <a:pt x="6584" y="1735"/>
                        </a:lnTo>
                        <a:lnTo>
                          <a:pt x="6596" y="1723"/>
                        </a:lnTo>
                        <a:lnTo>
                          <a:pt x="6596" y="1700"/>
                        </a:lnTo>
                        <a:lnTo>
                          <a:pt x="6572" y="1628"/>
                        </a:lnTo>
                        <a:lnTo>
                          <a:pt x="6548" y="1616"/>
                        </a:lnTo>
                        <a:lnTo>
                          <a:pt x="6513" y="1628"/>
                        </a:lnTo>
                        <a:lnTo>
                          <a:pt x="6477" y="1652"/>
                        </a:lnTo>
                        <a:lnTo>
                          <a:pt x="6453" y="1652"/>
                        </a:lnTo>
                        <a:lnTo>
                          <a:pt x="6453" y="1640"/>
                        </a:lnTo>
                        <a:lnTo>
                          <a:pt x="6453" y="1604"/>
                        </a:lnTo>
                        <a:lnTo>
                          <a:pt x="6430" y="1521"/>
                        </a:lnTo>
                        <a:lnTo>
                          <a:pt x="6382" y="1498"/>
                        </a:lnTo>
                        <a:lnTo>
                          <a:pt x="6323" y="1509"/>
                        </a:lnTo>
                        <a:lnTo>
                          <a:pt x="6311" y="1509"/>
                        </a:lnTo>
                        <a:lnTo>
                          <a:pt x="6335" y="1486"/>
                        </a:lnTo>
                        <a:lnTo>
                          <a:pt x="6323" y="1450"/>
                        </a:lnTo>
                        <a:lnTo>
                          <a:pt x="6299" y="1450"/>
                        </a:lnTo>
                        <a:lnTo>
                          <a:pt x="6287" y="1462"/>
                        </a:lnTo>
                        <a:lnTo>
                          <a:pt x="6263" y="1450"/>
                        </a:lnTo>
                        <a:lnTo>
                          <a:pt x="6228" y="1402"/>
                        </a:lnTo>
                        <a:lnTo>
                          <a:pt x="6216" y="1414"/>
                        </a:lnTo>
                        <a:lnTo>
                          <a:pt x="6216" y="1438"/>
                        </a:lnTo>
                        <a:lnTo>
                          <a:pt x="6204" y="1450"/>
                        </a:lnTo>
                        <a:lnTo>
                          <a:pt x="6156" y="1438"/>
                        </a:lnTo>
                        <a:lnTo>
                          <a:pt x="6109" y="1414"/>
                        </a:lnTo>
                        <a:lnTo>
                          <a:pt x="6109" y="1438"/>
                        </a:lnTo>
                        <a:lnTo>
                          <a:pt x="6097" y="1450"/>
                        </a:lnTo>
                        <a:lnTo>
                          <a:pt x="6073" y="1426"/>
                        </a:lnTo>
                        <a:lnTo>
                          <a:pt x="6037" y="1426"/>
                        </a:lnTo>
                        <a:lnTo>
                          <a:pt x="6014" y="1391"/>
                        </a:lnTo>
                        <a:lnTo>
                          <a:pt x="5990" y="1391"/>
                        </a:lnTo>
                        <a:lnTo>
                          <a:pt x="5966" y="1367"/>
                        </a:lnTo>
                        <a:lnTo>
                          <a:pt x="5931" y="1355"/>
                        </a:lnTo>
                        <a:lnTo>
                          <a:pt x="5895" y="1295"/>
                        </a:lnTo>
                        <a:lnTo>
                          <a:pt x="5859" y="1295"/>
                        </a:lnTo>
                        <a:lnTo>
                          <a:pt x="5824" y="1319"/>
                        </a:lnTo>
                        <a:lnTo>
                          <a:pt x="5812" y="1319"/>
                        </a:lnTo>
                        <a:lnTo>
                          <a:pt x="5800" y="1295"/>
                        </a:lnTo>
                        <a:lnTo>
                          <a:pt x="5812" y="1272"/>
                        </a:lnTo>
                        <a:lnTo>
                          <a:pt x="5776" y="1236"/>
                        </a:lnTo>
                        <a:lnTo>
                          <a:pt x="5776" y="1212"/>
                        </a:lnTo>
                        <a:lnTo>
                          <a:pt x="5752" y="1189"/>
                        </a:lnTo>
                        <a:lnTo>
                          <a:pt x="5752" y="1165"/>
                        </a:lnTo>
                        <a:lnTo>
                          <a:pt x="5717" y="1129"/>
                        </a:lnTo>
                        <a:lnTo>
                          <a:pt x="5693" y="1129"/>
                        </a:lnTo>
                        <a:lnTo>
                          <a:pt x="5669" y="1165"/>
                        </a:lnTo>
                        <a:lnTo>
                          <a:pt x="5657" y="1153"/>
                        </a:lnTo>
                        <a:lnTo>
                          <a:pt x="5598" y="1093"/>
                        </a:lnTo>
                        <a:lnTo>
                          <a:pt x="5562" y="1058"/>
                        </a:lnTo>
                        <a:lnTo>
                          <a:pt x="5526" y="1022"/>
                        </a:lnTo>
                        <a:lnTo>
                          <a:pt x="5491" y="1010"/>
                        </a:lnTo>
                        <a:lnTo>
                          <a:pt x="5467" y="987"/>
                        </a:lnTo>
                        <a:lnTo>
                          <a:pt x="5443" y="998"/>
                        </a:lnTo>
                        <a:lnTo>
                          <a:pt x="5420" y="1010"/>
                        </a:lnTo>
                        <a:lnTo>
                          <a:pt x="5360" y="998"/>
                        </a:lnTo>
                        <a:lnTo>
                          <a:pt x="5289" y="1010"/>
                        </a:lnTo>
                        <a:lnTo>
                          <a:pt x="5194" y="963"/>
                        </a:lnTo>
                        <a:lnTo>
                          <a:pt x="5111" y="975"/>
                        </a:lnTo>
                        <a:lnTo>
                          <a:pt x="5039" y="975"/>
                        </a:lnTo>
                        <a:lnTo>
                          <a:pt x="5015" y="963"/>
                        </a:lnTo>
                        <a:lnTo>
                          <a:pt x="5004" y="939"/>
                        </a:lnTo>
                        <a:lnTo>
                          <a:pt x="4980" y="749"/>
                        </a:lnTo>
                        <a:lnTo>
                          <a:pt x="4944" y="678"/>
                        </a:lnTo>
                        <a:lnTo>
                          <a:pt x="4932" y="642"/>
                        </a:lnTo>
                        <a:lnTo>
                          <a:pt x="4944" y="582"/>
                        </a:lnTo>
                        <a:lnTo>
                          <a:pt x="4968" y="523"/>
                        </a:lnTo>
                        <a:lnTo>
                          <a:pt x="4980" y="487"/>
                        </a:lnTo>
                        <a:lnTo>
                          <a:pt x="4944" y="404"/>
                        </a:lnTo>
                        <a:lnTo>
                          <a:pt x="4944" y="321"/>
                        </a:lnTo>
                        <a:lnTo>
                          <a:pt x="4920" y="285"/>
                        </a:lnTo>
                        <a:lnTo>
                          <a:pt x="4885" y="250"/>
                        </a:lnTo>
                        <a:lnTo>
                          <a:pt x="4861" y="214"/>
                        </a:lnTo>
                        <a:lnTo>
                          <a:pt x="4849" y="214"/>
                        </a:lnTo>
                        <a:lnTo>
                          <a:pt x="4778" y="119"/>
                        </a:lnTo>
                        <a:lnTo>
                          <a:pt x="4730" y="0"/>
                        </a:lnTo>
                        <a:lnTo>
                          <a:pt x="4659" y="24"/>
                        </a:lnTo>
                        <a:lnTo>
                          <a:pt x="4659" y="36"/>
                        </a:lnTo>
                        <a:lnTo>
                          <a:pt x="4635" y="48"/>
                        </a:lnTo>
                        <a:lnTo>
                          <a:pt x="4635" y="60"/>
                        </a:lnTo>
                        <a:lnTo>
                          <a:pt x="4552" y="60"/>
                        </a:lnTo>
                        <a:lnTo>
                          <a:pt x="4504" y="83"/>
                        </a:lnTo>
                        <a:lnTo>
                          <a:pt x="4445" y="131"/>
                        </a:lnTo>
                        <a:lnTo>
                          <a:pt x="4421" y="143"/>
                        </a:lnTo>
                        <a:lnTo>
                          <a:pt x="4326" y="131"/>
                        </a:lnTo>
                        <a:lnTo>
                          <a:pt x="4291" y="167"/>
                        </a:lnTo>
                        <a:lnTo>
                          <a:pt x="4302" y="178"/>
                        </a:lnTo>
                        <a:lnTo>
                          <a:pt x="4267" y="238"/>
                        </a:lnTo>
                        <a:lnTo>
                          <a:pt x="4160" y="214"/>
                        </a:lnTo>
                        <a:lnTo>
                          <a:pt x="4148" y="214"/>
                        </a:lnTo>
                        <a:lnTo>
                          <a:pt x="4089" y="214"/>
                        </a:lnTo>
                        <a:lnTo>
                          <a:pt x="4029" y="226"/>
                        </a:lnTo>
                        <a:lnTo>
                          <a:pt x="3958" y="214"/>
                        </a:lnTo>
                        <a:lnTo>
                          <a:pt x="3910" y="226"/>
                        </a:lnTo>
                        <a:lnTo>
                          <a:pt x="3839" y="262"/>
                        </a:lnTo>
                        <a:lnTo>
                          <a:pt x="3815" y="250"/>
                        </a:lnTo>
                        <a:lnTo>
                          <a:pt x="3744" y="190"/>
                        </a:lnTo>
                        <a:lnTo>
                          <a:pt x="3684" y="178"/>
                        </a:lnTo>
                        <a:lnTo>
                          <a:pt x="3613" y="143"/>
                        </a:lnTo>
                        <a:lnTo>
                          <a:pt x="3578" y="131"/>
                        </a:lnTo>
                        <a:lnTo>
                          <a:pt x="3530" y="131"/>
                        </a:lnTo>
                        <a:lnTo>
                          <a:pt x="3494" y="155"/>
                        </a:lnTo>
                        <a:lnTo>
                          <a:pt x="3506" y="238"/>
                        </a:lnTo>
                        <a:lnTo>
                          <a:pt x="3494" y="262"/>
                        </a:lnTo>
                        <a:lnTo>
                          <a:pt x="3435" y="333"/>
                        </a:lnTo>
                        <a:lnTo>
                          <a:pt x="3399" y="333"/>
                        </a:lnTo>
                        <a:lnTo>
                          <a:pt x="3364" y="357"/>
                        </a:lnTo>
                        <a:lnTo>
                          <a:pt x="3352" y="416"/>
                        </a:lnTo>
                        <a:lnTo>
                          <a:pt x="3399" y="464"/>
                        </a:lnTo>
                        <a:lnTo>
                          <a:pt x="3423" y="464"/>
                        </a:lnTo>
                        <a:lnTo>
                          <a:pt x="3459" y="535"/>
                        </a:lnTo>
                        <a:lnTo>
                          <a:pt x="3494" y="547"/>
                        </a:lnTo>
                        <a:lnTo>
                          <a:pt x="3518" y="606"/>
                        </a:lnTo>
                        <a:lnTo>
                          <a:pt x="3578" y="630"/>
                        </a:lnTo>
                        <a:lnTo>
                          <a:pt x="3601" y="713"/>
                        </a:lnTo>
                        <a:lnTo>
                          <a:pt x="3578" y="856"/>
                        </a:lnTo>
                        <a:lnTo>
                          <a:pt x="3554" y="891"/>
                        </a:lnTo>
                        <a:lnTo>
                          <a:pt x="3530" y="903"/>
                        </a:lnTo>
                        <a:lnTo>
                          <a:pt x="3423" y="915"/>
                        </a:lnTo>
                        <a:lnTo>
                          <a:pt x="3375" y="903"/>
                        </a:lnTo>
                        <a:lnTo>
                          <a:pt x="3292" y="856"/>
                        </a:lnTo>
                        <a:lnTo>
                          <a:pt x="3185" y="844"/>
                        </a:lnTo>
                        <a:lnTo>
                          <a:pt x="3150" y="832"/>
                        </a:lnTo>
                        <a:lnTo>
                          <a:pt x="3102" y="796"/>
                        </a:lnTo>
                        <a:lnTo>
                          <a:pt x="3055" y="784"/>
                        </a:lnTo>
                        <a:lnTo>
                          <a:pt x="2995" y="784"/>
                        </a:lnTo>
                        <a:lnTo>
                          <a:pt x="2971" y="796"/>
                        </a:lnTo>
                        <a:lnTo>
                          <a:pt x="2912" y="796"/>
                        </a:lnTo>
                        <a:lnTo>
                          <a:pt x="2888" y="820"/>
                        </a:lnTo>
                        <a:lnTo>
                          <a:pt x="2853" y="832"/>
                        </a:lnTo>
                        <a:lnTo>
                          <a:pt x="2746" y="820"/>
                        </a:lnTo>
                        <a:lnTo>
                          <a:pt x="2698" y="832"/>
                        </a:lnTo>
                        <a:lnTo>
                          <a:pt x="2579" y="903"/>
                        </a:lnTo>
                        <a:lnTo>
                          <a:pt x="2520" y="891"/>
                        </a:lnTo>
                        <a:lnTo>
                          <a:pt x="2484" y="891"/>
                        </a:lnTo>
                        <a:lnTo>
                          <a:pt x="2449" y="891"/>
                        </a:lnTo>
                        <a:lnTo>
                          <a:pt x="2413" y="856"/>
                        </a:lnTo>
                        <a:lnTo>
                          <a:pt x="2365" y="844"/>
                        </a:lnTo>
                        <a:lnTo>
                          <a:pt x="2270" y="832"/>
                        </a:lnTo>
                        <a:lnTo>
                          <a:pt x="2270" y="844"/>
                        </a:lnTo>
                        <a:lnTo>
                          <a:pt x="2223" y="784"/>
                        </a:lnTo>
                        <a:lnTo>
                          <a:pt x="2223" y="761"/>
                        </a:lnTo>
                        <a:lnTo>
                          <a:pt x="2175" y="725"/>
                        </a:lnTo>
                        <a:lnTo>
                          <a:pt x="2116" y="737"/>
                        </a:lnTo>
                        <a:lnTo>
                          <a:pt x="2068" y="773"/>
                        </a:lnTo>
                        <a:lnTo>
                          <a:pt x="1985" y="784"/>
                        </a:lnTo>
                        <a:lnTo>
                          <a:pt x="1938" y="761"/>
                        </a:lnTo>
                        <a:lnTo>
                          <a:pt x="1890" y="784"/>
                        </a:lnTo>
                        <a:lnTo>
                          <a:pt x="1854" y="820"/>
                        </a:lnTo>
                        <a:lnTo>
                          <a:pt x="1807" y="844"/>
                        </a:lnTo>
                        <a:lnTo>
                          <a:pt x="1771" y="951"/>
                        </a:lnTo>
                        <a:lnTo>
                          <a:pt x="1771" y="963"/>
                        </a:lnTo>
                        <a:lnTo>
                          <a:pt x="1617" y="1093"/>
                        </a:lnTo>
                        <a:lnTo>
                          <a:pt x="1545" y="1117"/>
                        </a:lnTo>
                        <a:lnTo>
                          <a:pt x="1510" y="1117"/>
                        </a:lnTo>
                        <a:lnTo>
                          <a:pt x="1415" y="1070"/>
                        </a:lnTo>
                        <a:lnTo>
                          <a:pt x="1367" y="1082"/>
                        </a:lnTo>
                        <a:lnTo>
                          <a:pt x="1343" y="1093"/>
                        </a:lnTo>
                        <a:lnTo>
                          <a:pt x="1308" y="1093"/>
                        </a:lnTo>
                        <a:lnTo>
                          <a:pt x="1308" y="1105"/>
                        </a:lnTo>
                        <a:lnTo>
                          <a:pt x="1189" y="1153"/>
                        </a:lnTo>
                        <a:lnTo>
                          <a:pt x="1165" y="1141"/>
                        </a:lnTo>
                        <a:lnTo>
                          <a:pt x="1165" y="1153"/>
                        </a:lnTo>
                        <a:lnTo>
                          <a:pt x="1118" y="1189"/>
                        </a:lnTo>
                        <a:lnTo>
                          <a:pt x="1118" y="1284"/>
                        </a:lnTo>
                        <a:lnTo>
                          <a:pt x="1118" y="1319"/>
                        </a:lnTo>
                        <a:lnTo>
                          <a:pt x="1106" y="1331"/>
                        </a:lnTo>
                        <a:lnTo>
                          <a:pt x="1070" y="1331"/>
                        </a:lnTo>
                        <a:lnTo>
                          <a:pt x="1046" y="1319"/>
                        </a:lnTo>
                        <a:lnTo>
                          <a:pt x="963" y="1307"/>
                        </a:lnTo>
                        <a:lnTo>
                          <a:pt x="892" y="1260"/>
                        </a:lnTo>
                        <a:lnTo>
                          <a:pt x="797" y="1260"/>
                        </a:lnTo>
                        <a:lnTo>
                          <a:pt x="737" y="1224"/>
                        </a:lnTo>
                        <a:lnTo>
                          <a:pt x="690" y="1224"/>
                        </a:lnTo>
                        <a:lnTo>
                          <a:pt x="666" y="1248"/>
                        </a:lnTo>
                        <a:lnTo>
                          <a:pt x="654" y="1260"/>
                        </a:lnTo>
                        <a:lnTo>
                          <a:pt x="666" y="1319"/>
                        </a:lnTo>
                        <a:lnTo>
                          <a:pt x="654" y="1343"/>
                        </a:lnTo>
                        <a:lnTo>
                          <a:pt x="618" y="1379"/>
                        </a:lnTo>
                        <a:lnTo>
                          <a:pt x="583" y="1391"/>
                        </a:lnTo>
                        <a:lnTo>
                          <a:pt x="535" y="1355"/>
                        </a:lnTo>
                        <a:lnTo>
                          <a:pt x="523" y="1355"/>
                        </a:lnTo>
                        <a:lnTo>
                          <a:pt x="500" y="1343"/>
                        </a:lnTo>
                        <a:lnTo>
                          <a:pt x="452" y="1355"/>
                        </a:lnTo>
                        <a:lnTo>
                          <a:pt x="464" y="1402"/>
                        </a:lnTo>
                        <a:lnTo>
                          <a:pt x="523" y="1462"/>
                        </a:lnTo>
                        <a:lnTo>
                          <a:pt x="523" y="1486"/>
                        </a:lnTo>
                        <a:lnTo>
                          <a:pt x="523" y="1533"/>
                        </a:lnTo>
                        <a:lnTo>
                          <a:pt x="476" y="1604"/>
                        </a:lnTo>
                        <a:lnTo>
                          <a:pt x="440" y="1604"/>
                        </a:lnTo>
                        <a:lnTo>
                          <a:pt x="393" y="1581"/>
                        </a:lnTo>
                        <a:lnTo>
                          <a:pt x="262" y="1593"/>
                        </a:lnTo>
                        <a:lnTo>
                          <a:pt x="226" y="1664"/>
                        </a:lnTo>
                        <a:lnTo>
                          <a:pt x="191" y="1688"/>
                        </a:lnTo>
                        <a:lnTo>
                          <a:pt x="155" y="1700"/>
                        </a:lnTo>
                        <a:lnTo>
                          <a:pt x="107" y="1700"/>
                        </a:lnTo>
                        <a:lnTo>
                          <a:pt x="36" y="1676"/>
                        </a:lnTo>
                        <a:lnTo>
                          <a:pt x="24" y="1664"/>
                        </a:lnTo>
                        <a:lnTo>
                          <a:pt x="24" y="1664"/>
                        </a:lnTo>
                        <a:lnTo>
                          <a:pt x="12" y="2020"/>
                        </a:lnTo>
                        <a:lnTo>
                          <a:pt x="24" y="2068"/>
                        </a:lnTo>
                        <a:lnTo>
                          <a:pt x="12" y="2199"/>
                        </a:lnTo>
                        <a:lnTo>
                          <a:pt x="0" y="2840"/>
                        </a:lnTo>
                        <a:lnTo>
                          <a:pt x="0" y="3007"/>
                        </a:lnTo>
                        <a:lnTo>
                          <a:pt x="12" y="3031"/>
                        </a:lnTo>
                        <a:lnTo>
                          <a:pt x="12" y="3173"/>
                        </a:lnTo>
                        <a:lnTo>
                          <a:pt x="60" y="3197"/>
                        </a:lnTo>
                        <a:lnTo>
                          <a:pt x="96" y="3233"/>
                        </a:lnTo>
                        <a:lnTo>
                          <a:pt x="96" y="3256"/>
                        </a:lnTo>
                        <a:lnTo>
                          <a:pt x="60" y="3351"/>
                        </a:lnTo>
                        <a:lnTo>
                          <a:pt x="60" y="3530"/>
                        </a:lnTo>
                        <a:lnTo>
                          <a:pt x="96" y="3565"/>
                        </a:lnTo>
                        <a:lnTo>
                          <a:pt x="191" y="3613"/>
                        </a:lnTo>
                        <a:lnTo>
                          <a:pt x="214" y="3648"/>
                        </a:lnTo>
                        <a:lnTo>
                          <a:pt x="250" y="3767"/>
                        </a:lnTo>
                        <a:lnTo>
                          <a:pt x="250" y="3779"/>
                        </a:lnTo>
                        <a:lnTo>
                          <a:pt x="226" y="3791"/>
                        </a:lnTo>
                        <a:lnTo>
                          <a:pt x="214" y="3815"/>
                        </a:lnTo>
                        <a:lnTo>
                          <a:pt x="214" y="3874"/>
                        </a:lnTo>
                        <a:lnTo>
                          <a:pt x="226" y="3910"/>
                        </a:lnTo>
                        <a:lnTo>
                          <a:pt x="262" y="3946"/>
                        </a:lnTo>
                        <a:lnTo>
                          <a:pt x="286" y="3957"/>
                        </a:lnTo>
                        <a:lnTo>
                          <a:pt x="440" y="4100"/>
                        </a:lnTo>
                        <a:lnTo>
                          <a:pt x="476" y="4112"/>
                        </a:lnTo>
                        <a:lnTo>
                          <a:pt x="488" y="4100"/>
                        </a:lnTo>
                        <a:lnTo>
                          <a:pt x="523" y="4148"/>
                        </a:lnTo>
                        <a:lnTo>
                          <a:pt x="583" y="4171"/>
                        </a:lnTo>
                        <a:lnTo>
                          <a:pt x="583" y="4183"/>
                        </a:lnTo>
                        <a:lnTo>
                          <a:pt x="559" y="4219"/>
                        </a:lnTo>
                        <a:lnTo>
                          <a:pt x="583" y="4255"/>
                        </a:lnTo>
                        <a:lnTo>
                          <a:pt x="595" y="4362"/>
                        </a:lnTo>
                        <a:lnTo>
                          <a:pt x="618" y="4385"/>
                        </a:lnTo>
                        <a:lnTo>
                          <a:pt x="678" y="4421"/>
                        </a:lnTo>
                        <a:lnTo>
                          <a:pt x="714" y="4468"/>
                        </a:lnTo>
                        <a:lnTo>
                          <a:pt x="761" y="4468"/>
                        </a:lnTo>
                        <a:lnTo>
                          <a:pt x="785" y="4480"/>
                        </a:lnTo>
                        <a:lnTo>
                          <a:pt x="856" y="4564"/>
                        </a:lnTo>
                        <a:lnTo>
                          <a:pt x="904" y="4575"/>
                        </a:lnTo>
                        <a:lnTo>
                          <a:pt x="939" y="4564"/>
                        </a:lnTo>
                        <a:lnTo>
                          <a:pt x="987" y="4492"/>
                        </a:lnTo>
                        <a:lnTo>
                          <a:pt x="1022" y="4480"/>
                        </a:lnTo>
                        <a:lnTo>
                          <a:pt x="1034" y="4468"/>
                        </a:lnTo>
                        <a:lnTo>
                          <a:pt x="1034" y="4433"/>
                        </a:lnTo>
                        <a:lnTo>
                          <a:pt x="1046" y="4433"/>
                        </a:lnTo>
                        <a:lnTo>
                          <a:pt x="1070" y="4433"/>
                        </a:lnTo>
                        <a:lnTo>
                          <a:pt x="1106" y="4504"/>
                        </a:lnTo>
                        <a:lnTo>
                          <a:pt x="1129" y="4528"/>
                        </a:lnTo>
                        <a:lnTo>
                          <a:pt x="1141" y="4575"/>
                        </a:lnTo>
                        <a:lnTo>
                          <a:pt x="1106" y="4730"/>
                        </a:lnTo>
                        <a:lnTo>
                          <a:pt x="1153" y="4777"/>
                        </a:lnTo>
                        <a:lnTo>
                          <a:pt x="1189" y="4801"/>
                        </a:lnTo>
                        <a:lnTo>
                          <a:pt x="1272" y="4825"/>
                        </a:lnTo>
                        <a:lnTo>
                          <a:pt x="1355" y="4908"/>
                        </a:lnTo>
                        <a:lnTo>
                          <a:pt x="1438" y="4944"/>
                        </a:lnTo>
                        <a:lnTo>
                          <a:pt x="1462" y="4991"/>
                        </a:lnTo>
                        <a:lnTo>
                          <a:pt x="1474" y="5003"/>
                        </a:lnTo>
                        <a:lnTo>
                          <a:pt x="1545" y="5003"/>
                        </a:lnTo>
                        <a:lnTo>
                          <a:pt x="1581" y="4979"/>
                        </a:lnTo>
                        <a:lnTo>
                          <a:pt x="1605" y="5015"/>
                        </a:lnTo>
                        <a:lnTo>
                          <a:pt x="1629" y="5027"/>
                        </a:lnTo>
                        <a:lnTo>
                          <a:pt x="1664" y="5075"/>
                        </a:lnTo>
                        <a:lnTo>
                          <a:pt x="1747" y="5110"/>
                        </a:lnTo>
                        <a:lnTo>
                          <a:pt x="1759" y="5110"/>
                        </a:lnTo>
                        <a:lnTo>
                          <a:pt x="1807" y="5110"/>
                        </a:lnTo>
                        <a:lnTo>
                          <a:pt x="1854" y="5170"/>
                        </a:lnTo>
                        <a:lnTo>
                          <a:pt x="1997" y="5170"/>
                        </a:lnTo>
                        <a:lnTo>
                          <a:pt x="2033" y="5158"/>
                        </a:lnTo>
                        <a:lnTo>
                          <a:pt x="2068" y="5158"/>
                        </a:lnTo>
                        <a:lnTo>
                          <a:pt x="2128" y="5217"/>
                        </a:lnTo>
                        <a:lnTo>
                          <a:pt x="2211" y="5253"/>
                        </a:lnTo>
                        <a:lnTo>
                          <a:pt x="2223" y="5288"/>
                        </a:lnTo>
                        <a:lnTo>
                          <a:pt x="2235" y="5336"/>
                        </a:lnTo>
                        <a:lnTo>
                          <a:pt x="2235" y="5348"/>
                        </a:lnTo>
                        <a:lnTo>
                          <a:pt x="2258" y="5384"/>
                        </a:lnTo>
                        <a:lnTo>
                          <a:pt x="2282" y="5407"/>
                        </a:lnTo>
                        <a:lnTo>
                          <a:pt x="2318" y="5419"/>
                        </a:lnTo>
                        <a:lnTo>
                          <a:pt x="2330" y="5419"/>
                        </a:lnTo>
                        <a:lnTo>
                          <a:pt x="2377" y="5455"/>
                        </a:lnTo>
                        <a:lnTo>
                          <a:pt x="2449" y="5479"/>
                        </a:lnTo>
                        <a:lnTo>
                          <a:pt x="2472" y="5502"/>
                        </a:lnTo>
                        <a:lnTo>
                          <a:pt x="2567" y="5514"/>
                        </a:lnTo>
                        <a:lnTo>
                          <a:pt x="2615" y="5550"/>
                        </a:lnTo>
                        <a:lnTo>
                          <a:pt x="2627" y="5574"/>
                        </a:lnTo>
                        <a:lnTo>
                          <a:pt x="2627" y="5597"/>
                        </a:lnTo>
                        <a:lnTo>
                          <a:pt x="2603" y="5669"/>
                        </a:lnTo>
                        <a:lnTo>
                          <a:pt x="2603" y="5704"/>
                        </a:lnTo>
                        <a:lnTo>
                          <a:pt x="2686" y="5740"/>
                        </a:lnTo>
                        <a:lnTo>
                          <a:pt x="2758" y="5740"/>
                        </a:lnTo>
                        <a:lnTo>
                          <a:pt x="2817" y="5704"/>
                        </a:lnTo>
                        <a:lnTo>
                          <a:pt x="2876" y="5693"/>
                        </a:lnTo>
                        <a:lnTo>
                          <a:pt x="2995" y="5716"/>
                        </a:lnTo>
                        <a:lnTo>
                          <a:pt x="3055" y="5704"/>
                        </a:lnTo>
                        <a:lnTo>
                          <a:pt x="3090" y="5681"/>
                        </a:lnTo>
                        <a:lnTo>
                          <a:pt x="3126" y="5669"/>
                        </a:lnTo>
                        <a:lnTo>
                          <a:pt x="3138" y="5645"/>
                        </a:lnTo>
                        <a:lnTo>
                          <a:pt x="3162" y="5645"/>
                        </a:lnTo>
                        <a:lnTo>
                          <a:pt x="3185" y="5586"/>
                        </a:lnTo>
                        <a:lnTo>
                          <a:pt x="3209" y="5574"/>
                        </a:lnTo>
                        <a:lnTo>
                          <a:pt x="3399" y="5538"/>
                        </a:lnTo>
                        <a:lnTo>
                          <a:pt x="3340" y="5657"/>
                        </a:lnTo>
                        <a:lnTo>
                          <a:pt x="3292" y="5693"/>
                        </a:lnTo>
                        <a:lnTo>
                          <a:pt x="3197" y="5752"/>
                        </a:lnTo>
                        <a:lnTo>
                          <a:pt x="3162" y="5776"/>
                        </a:lnTo>
                        <a:lnTo>
                          <a:pt x="3055" y="5811"/>
                        </a:lnTo>
                        <a:lnTo>
                          <a:pt x="3019" y="5871"/>
                        </a:lnTo>
                        <a:lnTo>
                          <a:pt x="3019" y="5954"/>
                        </a:lnTo>
                        <a:lnTo>
                          <a:pt x="3031" y="5978"/>
                        </a:lnTo>
                        <a:lnTo>
                          <a:pt x="3031" y="6013"/>
                        </a:lnTo>
                        <a:lnTo>
                          <a:pt x="2472" y="7249"/>
                        </a:lnTo>
                        <a:lnTo>
                          <a:pt x="2437" y="7297"/>
                        </a:lnTo>
                        <a:lnTo>
                          <a:pt x="2437" y="7344"/>
                        </a:lnTo>
                        <a:lnTo>
                          <a:pt x="2401" y="7392"/>
                        </a:lnTo>
                        <a:lnTo>
                          <a:pt x="1771" y="8782"/>
                        </a:lnTo>
                        <a:lnTo>
                          <a:pt x="1724" y="8854"/>
                        </a:lnTo>
                        <a:lnTo>
                          <a:pt x="1724" y="8889"/>
                        </a:lnTo>
                        <a:lnTo>
                          <a:pt x="1355" y="9674"/>
                        </a:lnTo>
                        <a:lnTo>
                          <a:pt x="1320" y="9745"/>
                        </a:lnTo>
                        <a:lnTo>
                          <a:pt x="1320" y="9769"/>
                        </a:lnTo>
                        <a:lnTo>
                          <a:pt x="1236" y="9935"/>
                        </a:lnTo>
                        <a:lnTo>
                          <a:pt x="1225" y="9971"/>
                        </a:lnTo>
                        <a:lnTo>
                          <a:pt x="1225" y="9983"/>
                        </a:lnTo>
                        <a:lnTo>
                          <a:pt x="1189" y="10018"/>
                        </a:lnTo>
                        <a:lnTo>
                          <a:pt x="1058" y="10339"/>
                        </a:lnTo>
                        <a:lnTo>
                          <a:pt x="1011" y="10410"/>
                        </a:lnTo>
                        <a:lnTo>
                          <a:pt x="999" y="10470"/>
                        </a:lnTo>
                        <a:lnTo>
                          <a:pt x="975" y="10494"/>
                        </a:lnTo>
                        <a:lnTo>
                          <a:pt x="844" y="10803"/>
                        </a:lnTo>
                        <a:lnTo>
                          <a:pt x="773" y="10838"/>
                        </a:lnTo>
                        <a:lnTo>
                          <a:pt x="749" y="10874"/>
                        </a:lnTo>
                        <a:lnTo>
                          <a:pt x="725" y="10921"/>
                        </a:lnTo>
                        <a:lnTo>
                          <a:pt x="607" y="11005"/>
                        </a:lnTo>
                        <a:lnTo>
                          <a:pt x="583" y="11064"/>
                        </a:lnTo>
                        <a:lnTo>
                          <a:pt x="535" y="11112"/>
                        </a:lnTo>
                        <a:lnTo>
                          <a:pt x="535" y="11135"/>
                        </a:lnTo>
                        <a:lnTo>
                          <a:pt x="535" y="11183"/>
                        </a:lnTo>
                        <a:lnTo>
                          <a:pt x="547" y="11266"/>
                        </a:lnTo>
                        <a:lnTo>
                          <a:pt x="583" y="11314"/>
                        </a:lnTo>
                        <a:lnTo>
                          <a:pt x="595" y="11361"/>
                        </a:lnTo>
                        <a:lnTo>
                          <a:pt x="654" y="11432"/>
                        </a:lnTo>
                        <a:lnTo>
                          <a:pt x="678" y="11444"/>
                        </a:lnTo>
                        <a:lnTo>
                          <a:pt x="690" y="11444"/>
                        </a:lnTo>
                        <a:lnTo>
                          <a:pt x="714" y="11480"/>
                        </a:lnTo>
                        <a:lnTo>
                          <a:pt x="749" y="11504"/>
                        </a:lnTo>
                        <a:lnTo>
                          <a:pt x="785" y="11563"/>
                        </a:lnTo>
                        <a:lnTo>
                          <a:pt x="868" y="11623"/>
                        </a:lnTo>
                        <a:lnTo>
                          <a:pt x="916" y="11706"/>
                        </a:lnTo>
                        <a:lnTo>
                          <a:pt x="927" y="11765"/>
                        </a:lnTo>
                        <a:lnTo>
                          <a:pt x="939" y="11813"/>
                        </a:lnTo>
                        <a:lnTo>
                          <a:pt x="939" y="11884"/>
                        </a:lnTo>
                        <a:lnTo>
                          <a:pt x="951" y="11908"/>
                        </a:lnTo>
                        <a:lnTo>
                          <a:pt x="975" y="11932"/>
                        </a:lnTo>
                        <a:lnTo>
                          <a:pt x="975" y="11943"/>
                        </a:lnTo>
                        <a:lnTo>
                          <a:pt x="975" y="11943"/>
                        </a:lnTo>
                        <a:lnTo>
                          <a:pt x="1011" y="11967"/>
                        </a:lnTo>
                        <a:lnTo>
                          <a:pt x="1034" y="11979"/>
                        </a:lnTo>
                        <a:lnTo>
                          <a:pt x="1094" y="12122"/>
                        </a:lnTo>
                        <a:lnTo>
                          <a:pt x="1165" y="12181"/>
                        </a:lnTo>
                        <a:lnTo>
                          <a:pt x="1201" y="12288"/>
                        </a:lnTo>
                        <a:lnTo>
                          <a:pt x="1213" y="12312"/>
                        </a:lnTo>
                        <a:lnTo>
                          <a:pt x="1296" y="12478"/>
                        </a:lnTo>
                        <a:lnTo>
                          <a:pt x="1331" y="12573"/>
                        </a:lnTo>
                        <a:lnTo>
                          <a:pt x="1343" y="12633"/>
                        </a:lnTo>
                        <a:lnTo>
                          <a:pt x="1486" y="12847"/>
                        </a:lnTo>
                        <a:lnTo>
                          <a:pt x="1498" y="12894"/>
                        </a:lnTo>
                        <a:lnTo>
                          <a:pt x="1557" y="12965"/>
                        </a:lnTo>
                        <a:lnTo>
                          <a:pt x="1557" y="13013"/>
                        </a:lnTo>
                        <a:lnTo>
                          <a:pt x="1533" y="13108"/>
                        </a:lnTo>
                        <a:lnTo>
                          <a:pt x="1533" y="13156"/>
                        </a:lnTo>
                        <a:lnTo>
                          <a:pt x="1522" y="13203"/>
                        </a:lnTo>
                        <a:lnTo>
                          <a:pt x="1557" y="13274"/>
                        </a:lnTo>
                        <a:lnTo>
                          <a:pt x="1569" y="13346"/>
                        </a:lnTo>
                        <a:lnTo>
                          <a:pt x="1581" y="13405"/>
                        </a:lnTo>
                        <a:lnTo>
                          <a:pt x="1581" y="13441"/>
                        </a:lnTo>
                        <a:lnTo>
                          <a:pt x="1593" y="13476"/>
                        </a:lnTo>
                        <a:lnTo>
                          <a:pt x="1605" y="13560"/>
                        </a:lnTo>
                        <a:lnTo>
                          <a:pt x="1629" y="13583"/>
                        </a:lnTo>
                        <a:lnTo>
                          <a:pt x="1664" y="13595"/>
                        </a:lnTo>
                        <a:lnTo>
                          <a:pt x="1712" y="13583"/>
                        </a:lnTo>
                        <a:lnTo>
                          <a:pt x="1747" y="13607"/>
                        </a:lnTo>
                        <a:lnTo>
                          <a:pt x="1819" y="13607"/>
                        </a:lnTo>
                        <a:lnTo>
                          <a:pt x="1831" y="13643"/>
                        </a:lnTo>
                        <a:lnTo>
                          <a:pt x="1831" y="13690"/>
                        </a:lnTo>
                        <a:lnTo>
                          <a:pt x="1878" y="13738"/>
                        </a:lnTo>
                        <a:lnTo>
                          <a:pt x="2080" y="13797"/>
                        </a:lnTo>
                        <a:lnTo>
                          <a:pt x="2116" y="13821"/>
                        </a:lnTo>
                        <a:lnTo>
                          <a:pt x="2140" y="13857"/>
                        </a:lnTo>
                        <a:lnTo>
                          <a:pt x="2199" y="13904"/>
                        </a:lnTo>
                        <a:lnTo>
                          <a:pt x="2247" y="13928"/>
                        </a:lnTo>
                        <a:lnTo>
                          <a:pt x="2282" y="13976"/>
                        </a:lnTo>
                        <a:lnTo>
                          <a:pt x="2306" y="14023"/>
                        </a:lnTo>
                        <a:lnTo>
                          <a:pt x="2282" y="14082"/>
                        </a:lnTo>
                        <a:lnTo>
                          <a:pt x="2306" y="14142"/>
                        </a:lnTo>
                        <a:lnTo>
                          <a:pt x="2342" y="14154"/>
                        </a:lnTo>
                        <a:lnTo>
                          <a:pt x="2389" y="14166"/>
                        </a:lnTo>
                        <a:lnTo>
                          <a:pt x="2472" y="14166"/>
                        </a:lnTo>
                        <a:lnTo>
                          <a:pt x="2532" y="14189"/>
                        </a:lnTo>
                        <a:lnTo>
                          <a:pt x="2567" y="14237"/>
                        </a:lnTo>
                        <a:lnTo>
                          <a:pt x="2603" y="14356"/>
                        </a:lnTo>
                        <a:lnTo>
                          <a:pt x="2627" y="14380"/>
                        </a:lnTo>
                        <a:lnTo>
                          <a:pt x="2651" y="14368"/>
                        </a:lnTo>
                        <a:lnTo>
                          <a:pt x="2662" y="14356"/>
                        </a:lnTo>
                        <a:lnTo>
                          <a:pt x="2746" y="14308"/>
                        </a:lnTo>
                        <a:lnTo>
                          <a:pt x="3815" y="14391"/>
                        </a:lnTo>
                        <a:lnTo>
                          <a:pt x="4718" y="14451"/>
                        </a:lnTo>
                        <a:lnTo>
                          <a:pt x="5550" y="14510"/>
                        </a:lnTo>
                        <a:lnTo>
                          <a:pt x="6002" y="14546"/>
                        </a:lnTo>
                        <a:lnTo>
                          <a:pt x="6085" y="14546"/>
                        </a:lnTo>
                        <a:lnTo>
                          <a:pt x="6239" y="14558"/>
                        </a:lnTo>
                        <a:lnTo>
                          <a:pt x="6964" y="14617"/>
                        </a:lnTo>
                        <a:lnTo>
                          <a:pt x="7523" y="14665"/>
                        </a:lnTo>
                        <a:lnTo>
                          <a:pt x="8260" y="14724"/>
                        </a:lnTo>
                        <a:lnTo>
                          <a:pt x="9389" y="14831"/>
                        </a:lnTo>
                        <a:lnTo>
                          <a:pt x="10316" y="14914"/>
                        </a:lnTo>
                        <a:lnTo>
                          <a:pt x="10363" y="14831"/>
                        </a:lnTo>
                        <a:lnTo>
                          <a:pt x="10399" y="14772"/>
                        </a:lnTo>
                        <a:lnTo>
                          <a:pt x="10434" y="14724"/>
                        </a:lnTo>
                        <a:lnTo>
                          <a:pt x="10458" y="14617"/>
                        </a:lnTo>
                        <a:lnTo>
                          <a:pt x="10494" y="14570"/>
                        </a:lnTo>
                        <a:lnTo>
                          <a:pt x="10506" y="14534"/>
                        </a:lnTo>
                        <a:lnTo>
                          <a:pt x="10506" y="14487"/>
                        </a:lnTo>
                        <a:lnTo>
                          <a:pt x="10518" y="14403"/>
                        </a:lnTo>
                        <a:lnTo>
                          <a:pt x="10530" y="14391"/>
                        </a:lnTo>
                        <a:lnTo>
                          <a:pt x="10553" y="14344"/>
                        </a:lnTo>
                        <a:lnTo>
                          <a:pt x="10553" y="14308"/>
                        </a:lnTo>
                        <a:lnTo>
                          <a:pt x="10577" y="14225"/>
                        </a:lnTo>
                        <a:lnTo>
                          <a:pt x="10648" y="14154"/>
                        </a:lnTo>
                        <a:lnTo>
                          <a:pt x="10743" y="14082"/>
                        </a:lnTo>
                        <a:lnTo>
                          <a:pt x="10755" y="14047"/>
                        </a:lnTo>
                        <a:lnTo>
                          <a:pt x="10803" y="13952"/>
                        </a:lnTo>
                        <a:lnTo>
                          <a:pt x="10850" y="13892"/>
                        </a:lnTo>
                        <a:lnTo>
                          <a:pt x="10886" y="13809"/>
                        </a:lnTo>
                        <a:lnTo>
                          <a:pt x="10945" y="13738"/>
                        </a:lnTo>
                        <a:lnTo>
                          <a:pt x="11088" y="13690"/>
                        </a:lnTo>
                        <a:lnTo>
                          <a:pt x="11148" y="13655"/>
                        </a:lnTo>
                        <a:lnTo>
                          <a:pt x="11171" y="13595"/>
                        </a:lnTo>
                        <a:lnTo>
                          <a:pt x="11207" y="13560"/>
                        </a:lnTo>
                        <a:lnTo>
                          <a:pt x="11278" y="13405"/>
                        </a:lnTo>
                        <a:lnTo>
                          <a:pt x="11361" y="13286"/>
                        </a:lnTo>
                        <a:lnTo>
                          <a:pt x="11373" y="13251"/>
                        </a:lnTo>
                        <a:lnTo>
                          <a:pt x="11409" y="13191"/>
                        </a:lnTo>
                        <a:lnTo>
                          <a:pt x="11456" y="13156"/>
                        </a:lnTo>
                        <a:lnTo>
                          <a:pt x="11468" y="13156"/>
                        </a:lnTo>
                        <a:lnTo>
                          <a:pt x="11468" y="13144"/>
                        </a:lnTo>
                        <a:lnTo>
                          <a:pt x="11504" y="13120"/>
                        </a:lnTo>
                        <a:lnTo>
                          <a:pt x="11575" y="12930"/>
                        </a:lnTo>
                        <a:lnTo>
                          <a:pt x="11587" y="12858"/>
                        </a:lnTo>
                        <a:lnTo>
                          <a:pt x="11635" y="12728"/>
                        </a:lnTo>
                        <a:lnTo>
                          <a:pt x="11635" y="12656"/>
                        </a:lnTo>
                        <a:lnTo>
                          <a:pt x="11647" y="12597"/>
                        </a:lnTo>
                        <a:lnTo>
                          <a:pt x="11647" y="12549"/>
                        </a:lnTo>
                        <a:lnTo>
                          <a:pt x="11647" y="12514"/>
                        </a:lnTo>
                        <a:lnTo>
                          <a:pt x="11659" y="12466"/>
                        </a:lnTo>
                        <a:lnTo>
                          <a:pt x="11659" y="12419"/>
                        </a:lnTo>
                        <a:lnTo>
                          <a:pt x="11659" y="12407"/>
                        </a:lnTo>
                        <a:lnTo>
                          <a:pt x="11575" y="12371"/>
                        </a:lnTo>
                        <a:lnTo>
                          <a:pt x="11516" y="12324"/>
                        </a:lnTo>
                        <a:lnTo>
                          <a:pt x="11468" y="12276"/>
                        </a:lnTo>
                        <a:lnTo>
                          <a:pt x="11433" y="12229"/>
                        </a:lnTo>
                        <a:lnTo>
                          <a:pt x="11409" y="12193"/>
                        </a:lnTo>
                        <a:lnTo>
                          <a:pt x="11409" y="12086"/>
                        </a:lnTo>
                        <a:lnTo>
                          <a:pt x="11421" y="12038"/>
                        </a:lnTo>
                        <a:lnTo>
                          <a:pt x="11480" y="11955"/>
                        </a:lnTo>
                        <a:lnTo>
                          <a:pt x="11552" y="11884"/>
                        </a:lnTo>
                        <a:lnTo>
                          <a:pt x="11623" y="11729"/>
                        </a:lnTo>
                        <a:lnTo>
                          <a:pt x="11623" y="11706"/>
                        </a:lnTo>
                        <a:lnTo>
                          <a:pt x="11623" y="11551"/>
                        </a:lnTo>
                        <a:lnTo>
                          <a:pt x="11599" y="11432"/>
                        </a:lnTo>
                        <a:lnTo>
                          <a:pt x="11611" y="11397"/>
                        </a:lnTo>
                        <a:lnTo>
                          <a:pt x="11647" y="11349"/>
                        </a:lnTo>
                        <a:lnTo>
                          <a:pt x="11742" y="11302"/>
                        </a:lnTo>
                        <a:lnTo>
                          <a:pt x="11789" y="11254"/>
                        </a:lnTo>
                        <a:lnTo>
                          <a:pt x="11849" y="11218"/>
                        </a:lnTo>
                        <a:lnTo>
                          <a:pt x="11872" y="11207"/>
                        </a:lnTo>
                        <a:lnTo>
                          <a:pt x="11967" y="11171"/>
                        </a:lnTo>
                        <a:lnTo>
                          <a:pt x="12015" y="11147"/>
                        </a:lnTo>
                        <a:lnTo>
                          <a:pt x="12039" y="11147"/>
                        </a:lnTo>
                        <a:lnTo>
                          <a:pt x="12086" y="11123"/>
                        </a:lnTo>
                        <a:lnTo>
                          <a:pt x="12158" y="11100"/>
                        </a:lnTo>
                        <a:lnTo>
                          <a:pt x="12229" y="11064"/>
                        </a:lnTo>
                        <a:lnTo>
                          <a:pt x="12253" y="11028"/>
                        </a:lnTo>
                        <a:lnTo>
                          <a:pt x="12288" y="10886"/>
                        </a:lnTo>
                        <a:lnTo>
                          <a:pt x="12336" y="10850"/>
                        </a:lnTo>
                        <a:lnTo>
                          <a:pt x="12372" y="10779"/>
                        </a:lnTo>
                        <a:lnTo>
                          <a:pt x="12431" y="10719"/>
                        </a:lnTo>
                        <a:lnTo>
                          <a:pt x="12467" y="10696"/>
                        </a:lnTo>
                        <a:lnTo>
                          <a:pt x="12562" y="10707"/>
                        </a:lnTo>
                        <a:lnTo>
                          <a:pt x="12574" y="10707"/>
                        </a:lnTo>
                        <a:lnTo>
                          <a:pt x="12574" y="10684"/>
                        </a:lnTo>
                        <a:lnTo>
                          <a:pt x="12550" y="10612"/>
                        </a:lnTo>
                        <a:lnTo>
                          <a:pt x="12550" y="10482"/>
                        </a:lnTo>
                        <a:lnTo>
                          <a:pt x="12574" y="10458"/>
                        </a:lnTo>
                        <a:lnTo>
                          <a:pt x="12585" y="10446"/>
                        </a:lnTo>
                        <a:lnTo>
                          <a:pt x="12681" y="10434"/>
                        </a:lnTo>
                        <a:lnTo>
                          <a:pt x="12704" y="10410"/>
                        </a:lnTo>
                        <a:lnTo>
                          <a:pt x="12704" y="10375"/>
                        </a:lnTo>
                        <a:lnTo>
                          <a:pt x="12681" y="10315"/>
                        </a:lnTo>
                        <a:lnTo>
                          <a:pt x="12681" y="10268"/>
                        </a:lnTo>
                        <a:lnTo>
                          <a:pt x="12704" y="10268"/>
                        </a:lnTo>
                        <a:lnTo>
                          <a:pt x="12764" y="10232"/>
                        </a:lnTo>
                        <a:lnTo>
                          <a:pt x="12787" y="10220"/>
                        </a:lnTo>
                        <a:lnTo>
                          <a:pt x="12787" y="10196"/>
                        </a:lnTo>
                        <a:lnTo>
                          <a:pt x="12787" y="10173"/>
                        </a:lnTo>
                        <a:lnTo>
                          <a:pt x="12728" y="10101"/>
                        </a:lnTo>
                        <a:lnTo>
                          <a:pt x="12716" y="10030"/>
                        </a:lnTo>
                        <a:lnTo>
                          <a:pt x="12728" y="9994"/>
                        </a:lnTo>
                        <a:lnTo>
                          <a:pt x="12752" y="9959"/>
                        </a:lnTo>
                        <a:lnTo>
                          <a:pt x="12835" y="9947"/>
                        </a:lnTo>
                        <a:lnTo>
                          <a:pt x="12894" y="9864"/>
                        </a:lnTo>
                        <a:lnTo>
                          <a:pt x="12859" y="9769"/>
                        </a:lnTo>
                        <a:lnTo>
                          <a:pt x="12799" y="9745"/>
                        </a:lnTo>
                        <a:lnTo>
                          <a:pt x="12716" y="9721"/>
                        </a:lnTo>
                        <a:lnTo>
                          <a:pt x="12692" y="9697"/>
                        </a:lnTo>
                        <a:lnTo>
                          <a:pt x="12681" y="9685"/>
                        </a:lnTo>
                        <a:lnTo>
                          <a:pt x="12645" y="9602"/>
                        </a:lnTo>
                        <a:lnTo>
                          <a:pt x="12621" y="9579"/>
                        </a:lnTo>
                        <a:lnTo>
                          <a:pt x="12550" y="9567"/>
                        </a:lnTo>
                        <a:lnTo>
                          <a:pt x="12383" y="9579"/>
                        </a:lnTo>
                        <a:lnTo>
                          <a:pt x="12324" y="9579"/>
                        </a:lnTo>
                        <a:lnTo>
                          <a:pt x="12276" y="9555"/>
                        </a:lnTo>
                        <a:lnTo>
                          <a:pt x="12229" y="9531"/>
                        </a:lnTo>
                        <a:lnTo>
                          <a:pt x="12229" y="9495"/>
                        </a:lnTo>
                        <a:lnTo>
                          <a:pt x="12253" y="9483"/>
                        </a:lnTo>
                        <a:lnTo>
                          <a:pt x="12348" y="9495"/>
                        </a:lnTo>
                        <a:lnTo>
                          <a:pt x="12253" y="9472"/>
                        </a:lnTo>
                        <a:lnTo>
                          <a:pt x="12288" y="9460"/>
                        </a:lnTo>
                        <a:lnTo>
                          <a:pt x="12288" y="9460"/>
                        </a:lnTo>
                        <a:lnTo>
                          <a:pt x="12288" y="9448"/>
                        </a:lnTo>
                        <a:lnTo>
                          <a:pt x="12490" y="9305"/>
                        </a:lnTo>
                        <a:lnTo>
                          <a:pt x="13358" y="8663"/>
                        </a:lnTo>
                        <a:lnTo>
                          <a:pt x="13405" y="8628"/>
                        </a:lnTo>
                        <a:lnTo>
                          <a:pt x="13441" y="8652"/>
                        </a:lnTo>
                        <a:lnTo>
                          <a:pt x="13477" y="8652"/>
                        </a:lnTo>
                        <a:lnTo>
                          <a:pt x="13512" y="8592"/>
                        </a:lnTo>
                        <a:lnTo>
                          <a:pt x="13572" y="8557"/>
                        </a:lnTo>
                        <a:lnTo>
                          <a:pt x="13607" y="8473"/>
                        </a:lnTo>
                        <a:lnTo>
                          <a:pt x="13655" y="8438"/>
                        </a:lnTo>
                        <a:lnTo>
                          <a:pt x="13703" y="8307"/>
                        </a:lnTo>
                        <a:lnTo>
                          <a:pt x="13738" y="8283"/>
                        </a:lnTo>
                        <a:lnTo>
                          <a:pt x="13774" y="8259"/>
                        </a:lnTo>
                        <a:lnTo>
                          <a:pt x="13857" y="8141"/>
                        </a:lnTo>
                        <a:lnTo>
                          <a:pt x="13857" y="8057"/>
                        </a:lnTo>
                        <a:lnTo>
                          <a:pt x="13869" y="8034"/>
                        </a:lnTo>
                        <a:lnTo>
                          <a:pt x="13893" y="7962"/>
                        </a:lnTo>
                        <a:lnTo>
                          <a:pt x="13940" y="7939"/>
                        </a:lnTo>
                        <a:lnTo>
                          <a:pt x="13976" y="7891"/>
                        </a:lnTo>
                        <a:lnTo>
                          <a:pt x="14035" y="7867"/>
                        </a:lnTo>
                        <a:lnTo>
                          <a:pt x="14095" y="7760"/>
                        </a:lnTo>
                        <a:lnTo>
                          <a:pt x="14166" y="7701"/>
                        </a:lnTo>
                        <a:lnTo>
                          <a:pt x="14202" y="7641"/>
                        </a:lnTo>
                        <a:lnTo>
                          <a:pt x="14214" y="7594"/>
                        </a:lnTo>
                        <a:lnTo>
                          <a:pt x="14225" y="7439"/>
                        </a:lnTo>
                        <a:lnTo>
                          <a:pt x="14237" y="7368"/>
                        </a:lnTo>
                        <a:lnTo>
                          <a:pt x="14261" y="7344"/>
                        </a:lnTo>
                        <a:lnTo>
                          <a:pt x="14285" y="7332"/>
                        </a:lnTo>
                        <a:lnTo>
                          <a:pt x="14309" y="7285"/>
                        </a:lnTo>
                        <a:lnTo>
                          <a:pt x="14344" y="7261"/>
                        </a:lnTo>
                        <a:lnTo>
                          <a:pt x="14332" y="7214"/>
                        </a:lnTo>
                        <a:lnTo>
                          <a:pt x="14356" y="7178"/>
                        </a:lnTo>
                        <a:lnTo>
                          <a:pt x="14356" y="7154"/>
                        </a:lnTo>
                        <a:lnTo>
                          <a:pt x="14380" y="7142"/>
                        </a:lnTo>
                        <a:lnTo>
                          <a:pt x="14404" y="7107"/>
                        </a:lnTo>
                        <a:lnTo>
                          <a:pt x="14427" y="7095"/>
                        </a:lnTo>
                        <a:lnTo>
                          <a:pt x="14451" y="7071"/>
                        </a:lnTo>
                        <a:lnTo>
                          <a:pt x="14475" y="7059"/>
                        </a:lnTo>
                        <a:lnTo>
                          <a:pt x="14475" y="7035"/>
                        </a:lnTo>
                        <a:lnTo>
                          <a:pt x="14499" y="7012"/>
                        </a:lnTo>
                        <a:lnTo>
                          <a:pt x="14511" y="6988"/>
                        </a:lnTo>
                        <a:lnTo>
                          <a:pt x="14546" y="6964"/>
                        </a:lnTo>
                        <a:lnTo>
                          <a:pt x="14546" y="6928"/>
                        </a:lnTo>
                        <a:lnTo>
                          <a:pt x="14570" y="6928"/>
                        </a:lnTo>
                        <a:lnTo>
                          <a:pt x="14582" y="6905"/>
                        </a:lnTo>
                        <a:lnTo>
                          <a:pt x="14606" y="6905"/>
                        </a:lnTo>
                        <a:lnTo>
                          <a:pt x="14606" y="6881"/>
                        </a:lnTo>
                        <a:lnTo>
                          <a:pt x="14582" y="6869"/>
                        </a:lnTo>
                        <a:lnTo>
                          <a:pt x="14582" y="6845"/>
                        </a:lnTo>
                        <a:lnTo>
                          <a:pt x="14606" y="6845"/>
                        </a:lnTo>
                        <a:lnTo>
                          <a:pt x="14629" y="6833"/>
                        </a:lnTo>
                        <a:lnTo>
                          <a:pt x="14653" y="6821"/>
                        </a:lnTo>
                        <a:lnTo>
                          <a:pt x="14653" y="6774"/>
                        </a:lnTo>
                        <a:lnTo>
                          <a:pt x="14665" y="6762"/>
                        </a:lnTo>
                        <a:lnTo>
                          <a:pt x="14677" y="6726"/>
                        </a:lnTo>
                        <a:lnTo>
                          <a:pt x="14689" y="6715"/>
                        </a:lnTo>
                        <a:lnTo>
                          <a:pt x="14701" y="6679"/>
                        </a:lnTo>
                        <a:lnTo>
                          <a:pt x="14725" y="6655"/>
                        </a:lnTo>
                        <a:lnTo>
                          <a:pt x="14713" y="6608"/>
                        </a:lnTo>
                        <a:lnTo>
                          <a:pt x="14665" y="6596"/>
                        </a:lnTo>
                        <a:lnTo>
                          <a:pt x="14665" y="6572"/>
                        </a:lnTo>
                        <a:lnTo>
                          <a:pt x="14701" y="6560"/>
                        </a:lnTo>
                        <a:lnTo>
                          <a:pt x="14713" y="6536"/>
                        </a:lnTo>
                        <a:lnTo>
                          <a:pt x="14748" y="6524"/>
                        </a:lnTo>
                        <a:lnTo>
                          <a:pt x="14748" y="6512"/>
                        </a:lnTo>
                        <a:lnTo>
                          <a:pt x="14760" y="6501"/>
                        </a:lnTo>
                        <a:lnTo>
                          <a:pt x="14748" y="6453"/>
                        </a:lnTo>
                        <a:lnTo>
                          <a:pt x="14736" y="6453"/>
                        </a:lnTo>
                        <a:lnTo>
                          <a:pt x="14725" y="6477"/>
                        </a:lnTo>
                        <a:lnTo>
                          <a:pt x="14701" y="6465"/>
                        </a:lnTo>
                        <a:lnTo>
                          <a:pt x="14701" y="6441"/>
                        </a:lnTo>
                        <a:lnTo>
                          <a:pt x="14713" y="6417"/>
                        </a:lnTo>
                        <a:lnTo>
                          <a:pt x="14713" y="6406"/>
                        </a:lnTo>
                        <a:lnTo>
                          <a:pt x="14677" y="6394"/>
                        </a:lnTo>
                        <a:lnTo>
                          <a:pt x="14665" y="6370"/>
                        </a:lnTo>
                        <a:lnTo>
                          <a:pt x="14689" y="6334"/>
                        </a:lnTo>
                        <a:lnTo>
                          <a:pt x="14725" y="6322"/>
                        </a:lnTo>
                        <a:lnTo>
                          <a:pt x="14736" y="6287"/>
                        </a:lnTo>
                        <a:lnTo>
                          <a:pt x="14760" y="6299"/>
                        </a:lnTo>
                        <a:lnTo>
                          <a:pt x="14796" y="6263"/>
                        </a:lnTo>
                        <a:lnTo>
                          <a:pt x="14843" y="6263"/>
                        </a:lnTo>
                        <a:lnTo>
                          <a:pt x="14855" y="6215"/>
                        </a:lnTo>
                        <a:lnTo>
                          <a:pt x="14879" y="6215"/>
                        </a:lnTo>
                        <a:lnTo>
                          <a:pt x="14891" y="6204"/>
                        </a:lnTo>
                        <a:lnTo>
                          <a:pt x="14891" y="6180"/>
                        </a:lnTo>
                        <a:lnTo>
                          <a:pt x="14903" y="6156"/>
                        </a:lnTo>
                        <a:lnTo>
                          <a:pt x="14962" y="6144"/>
                        </a:lnTo>
                        <a:lnTo>
                          <a:pt x="14986" y="6144"/>
                        </a:lnTo>
                        <a:lnTo>
                          <a:pt x="14950" y="6037"/>
                        </a:lnTo>
                        <a:lnTo>
                          <a:pt x="14986" y="5942"/>
                        </a:lnTo>
                        <a:lnTo>
                          <a:pt x="14962" y="5942"/>
                        </a:lnTo>
                        <a:lnTo>
                          <a:pt x="14938" y="5966"/>
                        </a:lnTo>
                        <a:lnTo>
                          <a:pt x="14915" y="5954"/>
                        </a:lnTo>
                        <a:lnTo>
                          <a:pt x="14962" y="5906"/>
                        </a:lnTo>
                        <a:lnTo>
                          <a:pt x="14962" y="5871"/>
                        </a:lnTo>
                        <a:lnTo>
                          <a:pt x="14986" y="5847"/>
                        </a:lnTo>
                        <a:lnTo>
                          <a:pt x="14974" y="5799"/>
                        </a:lnTo>
                        <a:lnTo>
                          <a:pt x="14974" y="5788"/>
                        </a:lnTo>
                        <a:lnTo>
                          <a:pt x="14998" y="5788"/>
                        </a:lnTo>
                        <a:lnTo>
                          <a:pt x="15022" y="5811"/>
                        </a:lnTo>
                        <a:lnTo>
                          <a:pt x="15034" y="5799"/>
                        </a:lnTo>
                        <a:lnTo>
                          <a:pt x="15081" y="5764"/>
                        </a:lnTo>
                        <a:lnTo>
                          <a:pt x="15093" y="5740"/>
                        </a:lnTo>
                        <a:lnTo>
                          <a:pt x="15140" y="5716"/>
                        </a:lnTo>
                        <a:lnTo>
                          <a:pt x="15140" y="5681"/>
                        </a:lnTo>
                        <a:lnTo>
                          <a:pt x="15164" y="5645"/>
                        </a:lnTo>
                        <a:lnTo>
                          <a:pt x="15164" y="5562"/>
                        </a:lnTo>
                        <a:lnTo>
                          <a:pt x="15200" y="5502"/>
                        </a:lnTo>
                        <a:lnTo>
                          <a:pt x="15212" y="5455"/>
                        </a:lnTo>
                        <a:lnTo>
                          <a:pt x="15224" y="5431"/>
                        </a:lnTo>
                        <a:lnTo>
                          <a:pt x="15224" y="5407"/>
                        </a:lnTo>
                        <a:lnTo>
                          <a:pt x="15236" y="5384"/>
                        </a:lnTo>
                        <a:lnTo>
                          <a:pt x="15224" y="5348"/>
                        </a:lnTo>
                        <a:lnTo>
                          <a:pt x="15236" y="5312"/>
                        </a:lnTo>
                        <a:lnTo>
                          <a:pt x="15236" y="5288"/>
                        </a:lnTo>
                        <a:lnTo>
                          <a:pt x="15152" y="5253"/>
                        </a:lnTo>
                        <a:lnTo>
                          <a:pt x="15105" y="5253"/>
                        </a:lnTo>
                        <a:lnTo>
                          <a:pt x="15105" y="5241"/>
                        </a:lnTo>
                        <a:lnTo>
                          <a:pt x="15117" y="5182"/>
                        </a:lnTo>
                        <a:lnTo>
                          <a:pt x="15140" y="5182"/>
                        </a:lnTo>
                        <a:lnTo>
                          <a:pt x="15164" y="5205"/>
                        </a:lnTo>
                        <a:lnTo>
                          <a:pt x="15176" y="5193"/>
                        </a:lnTo>
                        <a:lnTo>
                          <a:pt x="15200" y="5170"/>
                        </a:lnTo>
                        <a:lnTo>
                          <a:pt x="15236" y="5182"/>
                        </a:lnTo>
                        <a:lnTo>
                          <a:pt x="15259" y="5146"/>
                        </a:lnTo>
                        <a:lnTo>
                          <a:pt x="15295" y="5146"/>
                        </a:lnTo>
                        <a:lnTo>
                          <a:pt x="15295" y="5110"/>
                        </a:lnTo>
                        <a:lnTo>
                          <a:pt x="15295" y="5063"/>
                        </a:lnTo>
                        <a:lnTo>
                          <a:pt x="15307" y="5039"/>
                        </a:lnTo>
                        <a:lnTo>
                          <a:pt x="15319" y="5003"/>
                        </a:lnTo>
                        <a:lnTo>
                          <a:pt x="15283" y="4908"/>
                        </a:lnTo>
                        <a:lnTo>
                          <a:pt x="15283" y="4884"/>
                        </a:lnTo>
                        <a:lnTo>
                          <a:pt x="15307" y="4825"/>
                        </a:lnTo>
                        <a:lnTo>
                          <a:pt x="15331" y="4813"/>
                        </a:lnTo>
                        <a:lnTo>
                          <a:pt x="15331" y="4801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9" name="Freeform 459"/>
                  <p:cNvSpPr>
                    <a:spLocks/>
                  </p:cNvSpPr>
                  <p:nvPr/>
                </p:nvSpPr>
                <p:spPr bwMode="auto">
                  <a:xfrm>
                    <a:off x="11971337" y="-23425150"/>
                    <a:ext cx="4471988" cy="3244850"/>
                  </a:xfrm>
                  <a:custGeom>
                    <a:avLst/>
                    <a:gdLst/>
                    <a:ahLst/>
                    <a:cxnLst>
                      <a:cxn ang="0">
                        <a:pos x="2793" y="249"/>
                      </a:cxn>
                      <a:cxn ang="0">
                        <a:pos x="2722" y="440"/>
                      </a:cxn>
                      <a:cxn ang="0">
                        <a:pos x="2638" y="820"/>
                      </a:cxn>
                      <a:cxn ang="0">
                        <a:pos x="2603" y="1022"/>
                      </a:cxn>
                      <a:cxn ang="0">
                        <a:pos x="2484" y="1105"/>
                      </a:cxn>
                      <a:cxn ang="0">
                        <a:pos x="2496" y="1200"/>
                      </a:cxn>
                      <a:cxn ang="0">
                        <a:pos x="2282" y="1343"/>
                      </a:cxn>
                      <a:cxn ang="0">
                        <a:pos x="2294" y="1426"/>
                      </a:cxn>
                      <a:cxn ang="0">
                        <a:pos x="2282" y="1533"/>
                      </a:cxn>
                      <a:cxn ang="0">
                        <a:pos x="2092" y="1711"/>
                      </a:cxn>
                      <a:cxn ang="0">
                        <a:pos x="1961" y="1723"/>
                      </a:cxn>
                      <a:cxn ang="0">
                        <a:pos x="1866" y="1782"/>
                      </a:cxn>
                      <a:cxn ang="0">
                        <a:pos x="1795" y="1830"/>
                      </a:cxn>
                      <a:cxn ang="0">
                        <a:pos x="1664" y="1771"/>
                      </a:cxn>
                      <a:cxn ang="0">
                        <a:pos x="1640" y="1842"/>
                      </a:cxn>
                      <a:cxn ang="0">
                        <a:pos x="1498" y="1842"/>
                      </a:cxn>
                      <a:cxn ang="0">
                        <a:pos x="1438" y="1830"/>
                      </a:cxn>
                      <a:cxn ang="0">
                        <a:pos x="1331" y="1949"/>
                      </a:cxn>
                      <a:cxn ang="0">
                        <a:pos x="1189" y="1949"/>
                      </a:cxn>
                      <a:cxn ang="0">
                        <a:pos x="1165" y="1985"/>
                      </a:cxn>
                      <a:cxn ang="0">
                        <a:pos x="1082" y="2044"/>
                      </a:cxn>
                      <a:cxn ang="0">
                        <a:pos x="820" y="1973"/>
                      </a:cxn>
                      <a:cxn ang="0">
                        <a:pos x="749" y="1961"/>
                      </a:cxn>
                      <a:cxn ang="0">
                        <a:pos x="571" y="1985"/>
                      </a:cxn>
                      <a:cxn ang="0">
                        <a:pos x="440" y="2008"/>
                      </a:cxn>
                      <a:cxn ang="0">
                        <a:pos x="274" y="1878"/>
                      </a:cxn>
                      <a:cxn ang="0">
                        <a:pos x="214" y="1652"/>
                      </a:cxn>
                      <a:cxn ang="0">
                        <a:pos x="416" y="1521"/>
                      </a:cxn>
                      <a:cxn ang="0">
                        <a:pos x="357" y="1378"/>
                      </a:cxn>
                      <a:cxn ang="0">
                        <a:pos x="190" y="1283"/>
                      </a:cxn>
                      <a:cxn ang="0">
                        <a:pos x="190" y="1200"/>
                      </a:cxn>
                      <a:cxn ang="0">
                        <a:pos x="381" y="1081"/>
                      </a:cxn>
                      <a:cxn ang="0">
                        <a:pos x="488" y="1034"/>
                      </a:cxn>
                      <a:cxn ang="0">
                        <a:pos x="428" y="796"/>
                      </a:cxn>
                      <a:cxn ang="0">
                        <a:pos x="547" y="689"/>
                      </a:cxn>
                      <a:cxn ang="0">
                        <a:pos x="678" y="725"/>
                      </a:cxn>
                      <a:cxn ang="0">
                        <a:pos x="701" y="974"/>
                      </a:cxn>
                      <a:cxn ang="0">
                        <a:pos x="892" y="1069"/>
                      </a:cxn>
                      <a:cxn ang="0">
                        <a:pos x="725" y="903"/>
                      </a:cxn>
                      <a:cxn ang="0">
                        <a:pos x="678" y="701"/>
                      </a:cxn>
                      <a:cxn ang="0">
                        <a:pos x="523" y="689"/>
                      </a:cxn>
                      <a:cxn ang="0">
                        <a:pos x="392" y="820"/>
                      </a:cxn>
                      <a:cxn ang="0">
                        <a:pos x="250" y="713"/>
                      </a:cxn>
                      <a:cxn ang="0">
                        <a:pos x="226" y="689"/>
                      </a:cxn>
                      <a:cxn ang="0">
                        <a:pos x="48" y="618"/>
                      </a:cxn>
                      <a:cxn ang="0">
                        <a:pos x="83" y="511"/>
                      </a:cxn>
                      <a:cxn ang="0">
                        <a:pos x="202" y="618"/>
                      </a:cxn>
                      <a:cxn ang="0">
                        <a:pos x="309" y="570"/>
                      </a:cxn>
                      <a:cxn ang="0">
                        <a:pos x="488" y="428"/>
                      </a:cxn>
                      <a:cxn ang="0">
                        <a:pos x="404" y="214"/>
                      </a:cxn>
                      <a:cxn ang="0">
                        <a:pos x="476" y="12"/>
                      </a:cxn>
                      <a:cxn ang="0">
                        <a:pos x="630" y="47"/>
                      </a:cxn>
                      <a:cxn ang="0">
                        <a:pos x="1248" y="214"/>
                      </a:cxn>
                      <a:cxn ang="0">
                        <a:pos x="1676" y="107"/>
                      </a:cxn>
                      <a:cxn ang="0">
                        <a:pos x="2056" y="107"/>
                      </a:cxn>
                      <a:cxn ang="0">
                        <a:pos x="2282" y="154"/>
                      </a:cxn>
                      <a:cxn ang="0">
                        <a:pos x="2448" y="226"/>
                      </a:cxn>
                    </a:cxnLst>
                    <a:rect l="0" t="0" r="r" b="b"/>
                    <a:pathLst>
                      <a:path w="2817" h="2044">
                        <a:moveTo>
                          <a:pt x="2520" y="190"/>
                        </a:moveTo>
                        <a:lnTo>
                          <a:pt x="2686" y="190"/>
                        </a:lnTo>
                        <a:lnTo>
                          <a:pt x="2745" y="214"/>
                        </a:lnTo>
                        <a:lnTo>
                          <a:pt x="2793" y="249"/>
                        </a:lnTo>
                        <a:lnTo>
                          <a:pt x="2805" y="273"/>
                        </a:lnTo>
                        <a:lnTo>
                          <a:pt x="2817" y="321"/>
                        </a:lnTo>
                        <a:lnTo>
                          <a:pt x="2781" y="380"/>
                        </a:lnTo>
                        <a:lnTo>
                          <a:pt x="2722" y="440"/>
                        </a:lnTo>
                        <a:lnTo>
                          <a:pt x="2674" y="665"/>
                        </a:lnTo>
                        <a:lnTo>
                          <a:pt x="2662" y="760"/>
                        </a:lnTo>
                        <a:lnTo>
                          <a:pt x="2650" y="796"/>
                        </a:lnTo>
                        <a:lnTo>
                          <a:pt x="2638" y="820"/>
                        </a:lnTo>
                        <a:lnTo>
                          <a:pt x="2627" y="903"/>
                        </a:lnTo>
                        <a:lnTo>
                          <a:pt x="2638" y="962"/>
                        </a:lnTo>
                        <a:lnTo>
                          <a:pt x="2638" y="998"/>
                        </a:lnTo>
                        <a:lnTo>
                          <a:pt x="2603" y="1022"/>
                        </a:lnTo>
                        <a:lnTo>
                          <a:pt x="2555" y="1022"/>
                        </a:lnTo>
                        <a:lnTo>
                          <a:pt x="2532" y="1058"/>
                        </a:lnTo>
                        <a:lnTo>
                          <a:pt x="2496" y="1069"/>
                        </a:lnTo>
                        <a:lnTo>
                          <a:pt x="2484" y="1105"/>
                        </a:lnTo>
                        <a:lnTo>
                          <a:pt x="2532" y="1129"/>
                        </a:lnTo>
                        <a:lnTo>
                          <a:pt x="2543" y="1165"/>
                        </a:lnTo>
                        <a:lnTo>
                          <a:pt x="2532" y="1188"/>
                        </a:lnTo>
                        <a:lnTo>
                          <a:pt x="2496" y="1200"/>
                        </a:lnTo>
                        <a:lnTo>
                          <a:pt x="2460" y="1248"/>
                        </a:lnTo>
                        <a:lnTo>
                          <a:pt x="2413" y="1271"/>
                        </a:lnTo>
                        <a:lnTo>
                          <a:pt x="2341" y="1331"/>
                        </a:lnTo>
                        <a:lnTo>
                          <a:pt x="2282" y="1343"/>
                        </a:lnTo>
                        <a:lnTo>
                          <a:pt x="2258" y="1355"/>
                        </a:lnTo>
                        <a:lnTo>
                          <a:pt x="2258" y="1378"/>
                        </a:lnTo>
                        <a:lnTo>
                          <a:pt x="2270" y="1402"/>
                        </a:lnTo>
                        <a:lnTo>
                          <a:pt x="2294" y="1426"/>
                        </a:lnTo>
                        <a:lnTo>
                          <a:pt x="2318" y="1462"/>
                        </a:lnTo>
                        <a:lnTo>
                          <a:pt x="2306" y="1485"/>
                        </a:lnTo>
                        <a:lnTo>
                          <a:pt x="2306" y="1497"/>
                        </a:lnTo>
                        <a:lnTo>
                          <a:pt x="2282" y="1533"/>
                        </a:lnTo>
                        <a:lnTo>
                          <a:pt x="2258" y="1628"/>
                        </a:lnTo>
                        <a:lnTo>
                          <a:pt x="2211" y="1664"/>
                        </a:lnTo>
                        <a:lnTo>
                          <a:pt x="2163" y="1723"/>
                        </a:lnTo>
                        <a:lnTo>
                          <a:pt x="2092" y="1711"/>
                        </a:lnTo>
                        <a:lnTo>
                          <a:pt x="2032" y="1735"/>
                        </a:lnTo>
                        <a:lnTo>
                          <a:pt x="2009" y="1735"/>
                        </a:lnTo>
                        <a:lnTo>
                          <a:pt x="1961" y="1711"/>
                        </a:lnTo>
                        <a:lnTo>
                          <a:pt x="1961" y="1723"/>
                        </a:lnTo>
                        <a:lnTo>
                          <a:pt x="1973" y="1747"/>
                        </a:lnTo>
                        <a:lnTo>
                          <a:pt x="1973" y="1759"/>
                        </a:lnTo>
                        <a:lnTo>
                          <a:pt x="1949" y="1782"/>
                        </a:lnTo>
                        <a:lnTo>
                          <a:pt x="1866" y="1782"/>
                        </a:lnTo>
                        <a:lnTo>
                          <a:pt x="1854" y="1794"/>
                        </a:lnTo>
                        <a:lnTo>
                          <a:pt x="1866" y="1830"/>
                        </a:lnTo>
                        <a:lnTo>
                          <a:pt x="1854" y="1842"/>
                        </a:lnTo>
                        <a:lnTo>
                          <a:pt x="1795" y="1830"/>
                        </a:lnTo>
                        <a:lnTo>
                          <a:pt x="1771" y="1842"/>
                        </a:lnTo>
                        <a:lnTo>
                          <a:pt x="1735" y="1842"/>
                        </a:lnTo>
                        <a:lnTo>
                          <a:pt x="1700" y="1782"/>
                        </a:lnTo>
                        <a:lnTo>
                          <a:pt x="1664" y="1771"/>
                        </a:lnTo>
                        <a:lnTo>
                          <a:pt x="1652" y="1771"/>
                        </a:lnTo>
                        <a:lnTo>
                          <a:pt x="1628" y="1806"/>
                        </a:lnTo>
                        <a:lnTo>
                          <a:pt x="1605" y="1806"/>
                        </a:lnTo>
                        <a:lnTo>
                          <a:pt x="1640" y="1842"/>
                        </a:lnTo>
                        <a:lnTo>
                          <a:pt x="1640" y="1854"/>
                        </a:lnTo>
                        <a:lnTo>
                          <a:pt x="1628" y="1866"/>
                        </a:lnTo>
                        <a:lnTo>
                          <a:pt x="1581" y="1866"/>
                        </a:lnTo>
                        <a:lnTo>
                          <a:pt x="1498" y="1842"/>
                        </a:lnTo>
                        <a:lnTo>
                          <a:pt x="1474" y="1830"/>
                        </a:lnTo>
                        <a:lnTo>
                          <a:pt x="1474" y="1806"/>
                        </a:lnTo>
                        <a:lnTo>
                          <a:pt x="1462" y="1806"/>
                        </a:lnTo>
                        <a:lnTo>
                          <a:pt x="1438" y="1830"/>
                        </a:lnTo>
                        <a:lnTo>
                          <a:pt x="1426" y="1878"/>
                        </a:lnTo>
                        <a:lnTo>
                          <a:pt x="1403" y="1901"/>
                        </a:lnTo>
                        <a:lnTo>
                          <a:pt x="1379" y="1949"/>
                        </a:lnTo>
                        <a:lnTo>
                          <a:pt x="1331" y="1949"/>
                        </a:lnTo>
                        <a:lnTo>
                          <a:pt x="1260" y="2008"/>
                        </a:lnTo>
                        <a:lnTo>
                          <a:pt x="1224" y="2020"/>
                        </a:lnTo>
                        <a:lnTo>
                          <a:pt x="1212" y="2008"/>
                        </a:lnTo>
                        <a:lnTo>
                          <a:pt x="1189" y="1949"/>
                        </a:lnTo>
                        <a:lnTo>
                          <a:pt x="1177" y="1925"/>
                        </a:lnTo>
                        <a:lnTo>
                          <a:pt x="1153" y="1925"/>
                        </a:lnTo>
                        <a:lnTo>
                          <a:pt x="1141" y="1949"/>
                        </a:lnTo>
                        <a:lnTo>
                          <a:pt x="1165" y="1985"/>
                        </a:lnTo>
                        <a:lnTo>
                          <a:pt x="1165" y="2008"/>
                        </a:lnTo>
                        <a:lnTo>
                          <a:pt x="1129" y="2044"/>
                        </a:lnTo>
                        <a:lnTo>
                          <a:pt x="1117" y="2044"/>
                        </a:lnTo>
                        <a:lnTo>
                          <a:pt x="1082" y="2044"/>
                        </a:lnTo>
                        <a:lnTo>
                          <a:pt x="1010" y="2020"/>
                        </a:lnTo>
                        <a:lnTo>
                          <a:pt x="915" y="2008"/>
                        </a:lnTo>
                        <a:lnTo>
                          <a:pt x="844" y="1996"/>
                        </a:lnTo>
                        <a:lnTo>
                          <a:pt x="820" y="1973"/>
                        </a:lnTo>
                        <a:lnTo>
                          <a:pt x="820" y="1913"/>
                        </a:lnTo>
                        <a:lnTo>
                          <a:pt x="808" y="1901"/>
                        </a:lnTo>
                        <a:lnTo>
                          <a:pt x="785" y="1901"/>
                        </a:lnTo>
                        <a:lnTo>
                          <a:pt x="749" y="1961"/>
                        </a:lnTo>
                        <a:lnTo>
                          <a:pt x="725" y="1985"/>
                        </a:lnTo>
                        <a:lnTo>
                          <a:pt x="690" y="2008"/>
                        </a:lnTo>
                        <a:lnTo>
                          <a:pt x="630" y="2008"/>
                        </a:lnTo>
                        <a:lnTo>
                          <a:pt x="571" y="1985"/>
                        </a:lnTo>
                        <a:lnTo>
                          <a:pt x="535" y="1913"/>
                        </a:lnTo>
                        <a:lnTo>
                          <a:pt x="523" y="1925"/>
                        </a:lnTo>
                        <a:lnTo>
                          <a:pt x="499" y="1996"/>
                        </a:lnTo>
                        <a:lnTo>
                          <a:pt x="440" y="2008"/>
                        </a:lnTo>
                        <a:lnTo>
                          <a:pt x="428" y="2008"/>
                        </a:lnTo>
                        <a:lnTo>
                          <a:pt x="345" y="1996"/>
                        </a:lnTo>
                        <a:lnTo>
                          <a:pt x="321" y="1973"/>
                        </a:lnTo>
                        <a:lnTo>
                          <a:pt x="274" y="1878"/>
                        </a:lnTo>
                        <a:lnTo>
                          <a:pt x="226" y="1866"/>
                        </a:lnTo>
                        <a:lnTo>
                          <a:pt x="155" y="1759"/>
                        </a:lnTo>
                        <a:lnTo>
                          <a:pt x="179" y="1747"/>
                        </a:lnTo>
                        <a:lnTo>
                          <a:pt x="214" y="1652"/>
                        </a:lnTo>
                        <a:lnTo>
                          <a:pt x="274" y="1616"/>
                        </a:lnTo>
                        <a:lnTo>
                          <a:pt x="309" y="1545"/>
                        </a:lnTo>
                        <a:lnTo>
                          <a:pt x="357" y="1521"/>
                        </a:lnTo>
                        <a:lnTo>
                          <a:pt x="416" y="1521"/>
                        </a:lnTo>
                        <a:lnTo>
                          <a:pt x="428" y="1497"/>
                        </a:lnTo>
                        <a:lnTo>
                          <a:pt x="428" y="1462"/>
                        </a:lnTo>
                        <a:lnTo>
                          <a:pt x="404" y="1426"/>
                        </a:lnTo>
                        <a:lnTo>
                          <a:pt x="357" y="1378"/>
                        </a:lnTo>
                        <a:lnTo>
                          <a:pt x="297" y="1319"/>
                        </a:lnTo>
                        <a:lnTo>
                          <a:pt x="274" y="1295"/>
                        </a:lnTo>
                        <a:lnTo>
                          <a:pt x="226" y="1307"/>
                        </a:lnTo>
                        <a:lnTo>
                          <a:pt x="190" y="1283"/>
                        </a:lnTo>
                        <a:lnTo>
                          <a:pt x="131" y="1236"/>
                        </a:lnTo>
                        <a:lnTo>
                          <a:pt x="119" y="1224"/>
                        </a:lnTo>
                        <a:lnTo>
                          <a:pt x="119" y="1212"/>
                        </a:lnTo>
                        <a:lnTo>
                          <a:pt x="190" y="1200"/>
                        </a:lnTo>
                        <a:lnTo>
                          <a:pt x="238" y="1153"/>
                        </a:lnTo>
                        <a:lnTo>
                          <a:pt x="262" y="1141"/>
                        </a:lnTo>
                        <a:lnTo>
                          <a:pt x="333" y="1141"/>
                        </a:lnTo>
                        <a:lnTo>
                          <a:pt x="381" y="1081"/>
                        </a:lnTo>
                        <a:lnTo>
                          <a:pt x="440" y="1081"/>
                        </a:lnTo>
                        <a:lnTo>
                          <a:pt x="488" y="1058"/>
                        </a:lnTo>
                        <a:lnTo>
                          <a:pt x="499" y="1046"/>
                        </a:lnTo>
                        <a:lnTo>
                          <a:pt x="488" y="1034"/>
                        </a:lnTo>
                        <a:lnTo>
                          <a:pt x="452" y="1046"/>
                        </a:lnTo>
                        <a:lnTo>
                          <a:pt x="440" y="1034"/>
                        </a:lnTo>
                        <a:lnTo>
                          <a:pt x="404" y="903"/>
                        </a:lnTo>
                        <a:lnTo>
                          <a:pt x="428" y="796"/>
                        </a:lnTo>
                        <a:lnTo>
                          <a:pt x="464" y="784"/>
                        </a:lnTo>
                        <a:lnTo>
                          <a:pt x="464" y="749"/>
                        </a:lnTo>
                        <a:lnTo>
                          <a:pt x="488" y="725"/>
                        </a:lnTo>
                        <a:lnTo>
                          <a:pt x="547" y="689"/>
                        </a:lnTo>
                        <a:lnTo>
                          <a:pt x="571" y="665"/>
                        </a:lnTo>
                        <a:lnTo>
                          <a:pt x="583" y="665"/>
                        </a:lnTo>
                        <a:lnTo>
                          <a:pt x="630" y="713"/>
                        </a:lnTo>
                        <a:lnTo>
                          <a:pt x="678" y="725"/>
                        </a:lnTo>
                        <a:lnTo>
                          <a:pt x="701" y="760"/>
                        </a:lnTo>
                        <a:lnTo>
                          <a:pt x="690" y="856"/>
                        </a:lnTo>
                        <a:lnTo>
                          <a:pt x="701" y="951"/>
                        </a:lnTo>
                        <a:lnTo>
                          <a:pt x="701" y="974"/>
                        </a:lnTo>
                        <a:lnTo>
                          <a:pt x="725" y="1010"/>
                        </a:lnTo>
                        <a:lnTo>
                          <a:pt x="773" y="1046"/>
                        </a:lnTo>
                        <a:lnTo>
                          <a:pt x="832" y="1069"/>
                        </a:lnTo>
                        <a:lnTo>
                          <a:pt x="892" y="1069"/>
                        </a:lnTo>
                        <a:lnTo>
                          <a:pt x="868" y="1046"/>
                        </a:lnTo>
                        <a:lnTo>
                          <a:pt x="773" y="974"/>
                        </a:lnTo>
                        <a:lnTo>
                          <a:pt x="725" y="927"/>
                        </a:lnTo>
                        <a:lnTo>
                          <a:pt x="725" y="903"/>
                        </a:lnTo>
                        <a:lnTo>
                          <a:pt x="713" y="844"/>
                        </a:lnTo>
                        <a:lnTo>
                          <a:pt x="725" y="749"/>
                        </a:lnTo>
                        <a:lnTo>
                          <a:pt x="713" y="725"/>
                        </a:lnTo>
                        <a:lnTo>
                          <a:pt x="678" y="701"/>
                        </a:lnTo>
                        <a:lnTo>
                          <a:pt x="642" y="677"/>
                        </a:lnTo>
                        <a:lnTo>
                          <a:pt x="571" y="630"/>
                        </a:lnTo>
                        <a:lnTo>
                          <a:pt x="559" y="630"/>
                        </a:lnTo>
                        <a:lnTo>
                          <a:pt x="523" y="689"/>
                        </a:lnTo>
                        <a:lnTo>
                          <a:pt x="476" y="689"/>
                        </a:lnTo>
                        <a:lnTo>
                          <a:pt x="440" y="701"/>
                        </a:lnTo>
                        <a:lnTo>
                          <a:pt x="416" y="784"/>
                        </a:lnTo>
                        <a:lnTo>
                          <a:pt x="392" y="820"/>
                        </a:lnTo>
                        <a:lnTo>
                          <a:pt x="333" y="832"/>
                        </a:lnTo>
                        <a:lnTo>
                          <a:pt x="309" y="808"/>
                        </a:lnTo>
                        <a:lnTo>
                          <a:pt x="321" y="772"/>
                        </a:lnTo>
                        <a:lnTo>
                          <a:pt x="250" y="713"/>
                        </a:lnTo>
                        <a:lnTo>
                          <a:pt x="250" y="701"/>
                        </a:lnTo>
                        <a:lnTo>
                          <a:pt x="274" y="689"/>
                        </a:lnTo>
                        <a:lnTo>
                          <a:pt x="285" y="654"/>
                        </a:lnTo>
                        <a:lnTo>
                          <a:pt x="226" y="689"/>
                        </a:lnTo>
                        <a:lnTo>
                          <a:pt x="155" y="665"/>
                        </a:lnTo>
                        <a:lnTo>
                          <a:pt x="107" y="665"/>
                        </a:lnTo>
                        <a:lnTo>
                          <a:pt x="72" y="654"/>
                        </a:lnTo>
                        <a:lnTo>
                          <a:pt x="48" y="618"/>
                        </a:lnTo>
                        <a:lnTo>
                          <a:pt x="0" y="499"/>
                        </a:lnTo>
                        <a:lnTo>
                          <a:pt x="0" y="451"/>
                        </a:lnTo>
                        <a:lnTo>
                          <a:pt x="24" y="451"/>
                        </a:lnTo>
                        <a:lnTo>
                          <a:pt x="83" y="511"/>
                        </a:lnTo>
                        <a:lnTo>
                          <a:pt x="107" y="582"/>
                        </a:lnTo>
                        <a:lnTo>
                          <a:pt x="143" y="582"/>
                        </a:lnTo>
                        <a:lnTo>
                          <a:pt x="190" y="618"/>
                        </a:lnTo>
                        <a:lnTo>
                          <a:pt x="202" y="618"/>
                        </a:lnTo>
                        <a:lnTo>
                          <a:pt x="238" y="606"/>
                        </a:lnTo>
                        <a:lnTo>
                          <a:pt x="238" y="582"/>
                        </a:lnTo>
                        <a:lnTo>
                          <a:pt x="262" y="570"/>
                        </a:lnTo>
                        <a:lnTo>
                          <a:pt x="309" y="570"/>
                        </a:lnTo>
                        <a:lnTo>
                          <a:pt x="369" y="535"/>
                        </a:lnTo>
                        <a:lnTo>
                          <a:pt x="416" y="535"/>
                        </a:lnTo>
                        <a:lnTo>
                          <a:pt x="464" y="487"/>
                        </a:lnTo>
                        <a:lnTo>
                          <a:pt x="488" y="428"/>
                        </a:lnTo>
                        <a:lnTo>
                          <a:pt x="476" y="345"/>
                        </a:lnTo>
                        <a:lnTo>
                          <a:pt x="452" y="285"/>
                        </a:lnTo>
                        <a:lnTo>
                          <a:pt x="404" y="249"/>
                        </a:lnTo>
                        <a:lnTo>
                          <a:pt x="404" y="214"/>
                        </a:lnTo>
                        <a:lnTo>
                          <a:pt x="428" y="131"/>
                        </a:lnTo>
                        <a:lnTo>
                          <a:pt x="416" y="83"/>
                        </a:lnTo>
                        <a:lnTo>
                          <a:pt x="464" y="0"/>
                        </a:lnTo>
                        <a:lnTo>
                          <a:pt x="476" y="12"/>
                        </a:lnTo>
                        <a:lnTo>
                          <a:pt x="488" y="36"/>
                        </a:lnTo>
                        <a:lnTo>
                          <a:pt x="499" y="47"/>
                        </a:lnTo>
                        <a:lnTo>
                          <a:pt x="523" y="36"/>
                        </a:lnTo>
                        <a:lnTo>
                          <a:pt x="630" y="47"/>
                        </a:lnTo>
                        <a:lnTo>
                          <a:pt x="844" y="107"/>
                        </a:lnTo>
                        <a:lnTo>
                          <a:pt x="1034" y="131"/>
                        </a:lnTo>
                        <a:lnTo>
                          <a:pt x="1105" y="143"/>
                        </a:lnTo>
                        <a:lnTo>
                          <a:pt x="1248" y="214"/>
                        </a:lnTo>
                        <a:lnTo>
                          <a:pt x="1510" y="166"/>
                        </a:lnTo>
                        <a:lnTo>
                          <a:pt x="1569" y="190"/>
                        </a:lnTo>
                        <a:lnTo>
                          <a:pt x="1628" y="131"/>
                        </a:lnTo>
                        <a:lnTo>
                          <a:pt x="1676" y="107"/>
                        </a:lnTo>
                        <a:lnTo>
                          <a:pt x="1807" y="83"/>
                        </a:lnTo>
                        <a:lnTo>
                          <a:pt x="1842" y="83"/>
                        </a:lnTo>
                        <a:lnTo>
                          <a:pt x="1925" y="107"/>
                        </a:lnTo>
                        <a:lnTo>
                          <a:pt x="2056" y="107"/>
                        </a:lnTo>
                        <a:lnTo>
                          <a:pt x="2092" y="131"/>
                        </a:lnTo>
                        <a:lnTo>
                          <a:pt x="2127" y="166"/>
                        </a:lnTo>
                        <a:lnTo>
                          <a:pt x="2175" y="178"/>
                        </a:lnTo>
                        <a:lnTo>
                          <a:pt x="2282" y="154"/>
                        </a:lnTo>
                        <a:lnTo>
                          <a:pt x="2306" y="166"/>
                        </a:lnTo>
                        <a:lnTo>
                          <a:pt x="2353" y="190"/>
                        </a:lnTo>
                        <a:lnTo>
                          <a:pt x="2413" y="214"/>
                        </a:lnTo>
                        <a:lnTo>
                          <a:pt x="2448" y="226"/>
                        </a:lnTo>
                        <a:lnTo>
                          <a:pt x="2520" y="19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0" name="Freeform 461"/>
                  <p:cNvSpPr>
                    <a:spLocks/>
                  </p:cNvSpPr>
                  <p:nvPr/>
                </p:nvSpPr>
                <p:spPr bwMode="auto">
                  <a:xfrm>
                    <a:off x="9669462" y="-22539325"/>
                    <a:ext cx="1377950" cy="1755775"/>
                  </a:xfrm>
                  <a:custGeom>
                    <a:avLst/>
                    <a:gdLst/>
                    <a:ahLst/>
                    <a:cxnLst>
                      <a:cxn ang="0">
                        <a:pos x="868" y="226"/>
                      </a:cxn>
                      <a:cxn ang="0">
                        <a:pos x="820" y="381"/>
                      </a:cxn>
                      <a:cxn ang="0">
                        <a:pos x="809" y="428"/>
                      </a:cxn>
                      <a:cxn ang="0">
                        <a:pos x="809" y="523"/>
                      </a:cxn>
                      <a:cxn ang="0">
                        <a:pos x="797" y="547"/>
                      </a:cxn>
                      <a:cxn ang="0">
                        <a:pos x="773" y="559"/>
                      </a:cxn>
                      <a:cxn ang="0">
                        <a:pos x="725" y="547"/>
                      </a:cxn>
                      <a:cxn ang="0">
                        <a:pos x="690" y="583"/>
                      </a:cxn>
                      <a:cxn ang="0">
                        <a:pos x="654" y="666"/>
                      </a:cxn>
                      <a:cxn ang="0">
                        <a:pos x="607" y="737"/>
                      </a:cxn>
                      <a:cxn ang="0">
                        <a:pos x="607" y="773"/>
                      </a:cxn>
                      <a:cxn ang="0">
                        <a:pos x="583" y="797"/>
                      </a:cxn>
                      <a:cxn ang="0">
                        <a:pos x="464" y="868"/>
                      </a:cxn>
                      <a:cxn ang="0">
                        <a:pos x="405" y="915"/>
                      </a:cxn>
                      <a:cxn ang="0">
                        <a:pos x="381" y="939"/>
                      </a:cxn>
                      <a:cxn ang="0">
                        <a:pos x="298" y="927"/>
                      </a:cxn>
                      <a:cxn ang="0">
                        <a:pos x="238" y="927"/>
                      </a:cxn>
                      <a:cxn ang="0">
                        <a:pos x="107" y="1022"/>
                      </a:cxn>
                      <a:cxn ang="0">
                        <a:pos x="72" y="1034"/>
                      </a:cxn>
                      <a:cxn ang="0">
                        <a:pos x="72" y="1046"/>
                      </a:cxn>
                      <a:cxn ang="0">
                        <a:pos x="96" y="1058"/>
                      </a:cxn>
                      <a:cxn ang="0">
                        <a:pos x="191" y="1011"/>
                      </a:cxn>
                      <a:cxn ang="0">
                        <a:pos x="238" y="963"/>
                      </a:cxn>
                      <a:cxn ang="0">
                        <a:pos x="274" y="951"/>
                      </a:cxn>
                      <a:cxn ang="0">
                        <a:pos x="309" y="951"/>
                      </a:cxn>
                      <a:cxn ang="0">
                        <a:pos x="321" y="963"/>
                      </a:cxn>
                      <a:cxn ang="0">
                        <a:pos x="309" y="987"/>
                      </a:cxn>
                      <a:cxn ang="0">
                        <a:pos x="262" y="1011"/>
                      </a:cxn>
                      <a:cxn ang="0">
                        <a:pos x="179" y="1082"/>
                      </a:cxn>
                      <a:cxn ang="0">
                        <a:pos x="107" y="1106"/>
                      </a:cxn>
                      <a:cxn ang="0">
                        <a:pos x="48" y="1106"/>
                      </a:cxn>
                      <a:cxn ang="0">
                        <a:pos x="24" y="1106"/>
                      </a:cxn>
                      <a:cxn ang="0">
                        <a:pos x="0" y="1070"/>
                      </a:cxn>
                      <a:cxn ang="0">
                        <a:pos x="0" y="1034"/>
                      </a:cxn>
                      <a:cxn ang="0">
                        <a:pos x="48" y="939"/>
                      </a:cxn>
                      <a:cxn ang="0">
                        <a:pos x="60" y="868"/>
                      </a:cxn>
                      <a:cxn ang="0">
                        <a:pos x="72" y="844"/>
                      </a:cxn>
                      <a:cxn ang="0">
                        <a:pos x="96" y="820"/>
                      </a:cxn>
                      <a:cxn ang="0">
                        <a:pos x="143" y="797"/>
                      </a:cxn>
                      <a:cxn ang="0">
                        <a:pos x="202" y="725"/>
                      </a:cxn>
                      <a:cxn ang="0">
                        <a:pos x="309" y="678"/>
                      </a:cxn>
                      <a:cxn ang="0">
                        <a:pos x="333" y="654"/>
                      </a:cxn>
                      <a:cxn ang="0">
                        <a:pos x="345" y="607"/>
                      </a:cxn>
                      <a:cxn ang="0">
                        <a:pos x="298" y="523"/>
                      </a:cxn>
                      <a:cxn ang="0">
                        <a:pos x="298" y="476"/>
                      </a:cxn>
                      <a:cxn ang="0">
                        <a:pos x="298" y="404"/>
                      </a:cxn>
                      <a:cxn ang="0">
                        <a:pos x="333" y="345"/>
                      </a:cxn>
                      <a:cxn ang="0">
                        <a:pos x="405" y="214"/>
                      </a:cxn>
                      <a:cxn ang="0">
                        <a:pos x="428" y="143"/>
                      </a:cxn>
                      <a:cxn ang="0">
                        <a:pos x="440" y="119"/>
                      </a:cxn>
                      <a:cxn ang="0">
                        <a:pos x="607" y="12"/>
                      </a:cxn>
                      <a:cxn ang="0">
                        <a:pos x="666" y="0"/>
                      </a:cxn>
                      <a:cxn ang="0">
                        <a:pos x="678" y="0"/>
                      </a:cxn>
                      <a:cxn ang="0">
                        <a:pos x="690" y="12"/>
                      </a:cxn>
                      <a:cxn ang="0">
                        <a:pos x="690" y="36"/>
                      </a:cxn>
                      <a:cxn ang="0">
                        <a:pos x="690" y="48"/>
                      </a:cxn>
                      <a:cxn ang="0">
                        <a:pos x="713" y="60"/>
                      </a:cxn>
                      <a:cxn ang="0">
                        <a:pos x="737" y="107"/>
                      </a:cxn>
                      <a:cxn ang="0">
                        <a:pos x="773" y="131"/>
                      </a:cxn>
                      <a:cxn ang="0">
                        <a:pos x="820" y="167"/>
                      </a:cxn>
                      <a:cxn ang="0">
                        <a:pos x="820" y="191"/>
                      </a:cxn>
                      <a:cxn ang="0">
                        <a:pos x="868" y="202"/>
                      </a:cxn>
                      <a:cxn ang="0">
                        <a:pos x="868" y="226"/>
                      </a:cxn>
                    </a:cxnLst>
                    <a:rect l="0" t="0" r="r" b="b"/>
                    <a:pathLst>
                      <a:path w="868" h="1106">
                        <a:moveTo>
                          <a:pt x="868" y="226"/>
                        </a:moveTo>
                        <a:lnTo>
                          <a:pt x="820" y="381"/>
                        </a:lnTo>
                        <a:lnTo>
                          <a:pt x="809" y="428"/>
                        </a:lnTo>
                        <a:lnTo>
                          <a:pt x="809" y="523"/>
                        </a:lnTo>
                        <a:lnTo>
                          <a:pt x="797" y="547"/>
                        </a:lnTo>
                        <a:lnTo>
                          <a:pt x="773" y="559"/>
                        </a:lnTo>
                        <a:lnTo>
                          <a:pt x="725" y="547"/>
                        </a:lnTo>
                        <a:lnTo>
                          <a:pt x="690" y="583"/>
                        </a:lnTo>
                        <a:lnTo>
                          <a:pt x="654" y="666"/>
                        </a:lnTo>
                        <a:lnTo>
                          <a:pt x="607" y="737"/>
                        </a:lnTo>
                        <a:lnTo>
                          <a:pt x="607" y="773"/>
                        </a:lnTo>
                        <a:lnTo>
                          <a:pt x="583" y="797"/>
                        </a:lnTo>
                        <a:lnTo>
                          <a:pt x="464" y="868"/>
                        </a:lnTo>
                        <a:lnTo>
                          <a:pt x="405" y="915"/>
                        </a:lnTo>
                        <a:lnTo>
                          <a:pt x="381" y="939"/>
                        </a:lnTo>
                        <a:lnTo>
                          <a:pt x="298" y="927"/>
                        </a:lnTo>
                        <a:lnTo>
                          <a:pt x="238" y="927"/>
                        </a:lnTo>
                        <a:lnTo>
                          <a:pt x="107" y="1022"/>
                        </a:lnTo>
                        <a:lnTo>
                          <a:pt x="72" y="1034"/>
                        </a:lnTo>
                        <a:lnTo>
                          <a:pt x="72" y="1046"/>
                        </a:lnTo>
                        <a:lnTo>
                          <a:pt x="96" y="1058"/>
                        </a:lnTo>
                        <a:lnTo>
                          <a:pt x="191" y="1011"/>
                        </a:lnTo>
                        <a:lnTo>
                          <a:pt x="238" y="963"/>
                        </a:lnTo>
                        <a:lnTo>
                          <a:pt x="274" y="951"/>
                        </a:lnTo>
                        <a:lnTo>
                          <a:pt x="309" y="951"/>
                        </a:lnTo>
                        <a:lnTo>
                          <a:pt x="321" y="963"/>
                        </a:lnTo>
                        <a:lnTo>
                          <a:pt x="309" y="987"/>
                        </a:lnTo>
                        <a:lnTo>
                          <a:pt x="262" y="1011"/>
                        </a:lnTo>
                        <a:lnTo>
                          <a:pt x="179" y="1082"/>
                        </a:lnTo>
                        <a:lnTo>
                          <a:pt x="107" y="1106"/>
                        </a:lnTo>
                        <a:lnTo>
                          <a:pt x="48" y="1106"/>
                        </a:lnTo>
                        <a:lnTo>
                          <a:pt x="24" y="1106"/>
                        </a:lnTo>
                        <a:lnTo>
                          <a:pt x="0" y="1070"/>
                        </a:lnTo>
                        <a:lnTo>
                          <a:pt x="0" y="1034"/>
                        </a:lnTo>
                        <a:lnTo>
                          <a:pt x="48" y="939"/>
                        </a:lnTo>
                        <a:lnTo>
                          <a:pt x="60" y="868"/>
                        </a:lnTo>
                        <a:lnTo>
                          <a:pt x="72" y="844"/>
                        </a:lnTo>
                        <a:lnTo>
                          <a:pt x="96" y="820"/>
                        </a:lnTo>
                        <a:lnTo>
                          <a:pt x="143" y="797"/>
                        </a:lnTo>
                        <a:lnTo>
                          <a:pt x="202" y="725"/>
                        </a:lnTo>
                        <a:lnTo>
                          <a:pt x="309" y="678"/>
                        </a:lnTo>
                        <a:lnTo>
                          <a:pt x="333" y="654"/>
                        </a:lnTo>
                        <a:lnTo>
                          <a:pt x="345" y="607"/>
                        </a:lnTo>
                        <a:lnTo>
                          <a:pt x="298" y="523"/>
                        </a:lnTo>
                        <a:lnTo>
                          <a:pt x="298" y="476"/>
                        </a:lnTo>
                        <a:lnTo>
                          <a:pt x="298" y="404"/>
                        </a:lnTo>
                        <a:lnTo>
                          <a:pt x="333" y="345"/>
                        </a:lnTo>
                        <a:lnTo>
                          <a:pt x="405" y="214"/>
                        </a:lnTo>
                        <a:lnTo>
                          <a:pt x="428" y="143"/>
                        </a:lnTo>
                        <a:lnTo>
                          <a:pt x="440" y="119"/>
                        </a:lnTo>
                        <a:lnTo>
                          <a:pt x="607" y="12"/>
                        </a:lnTo>
                        <a:lnTo>
                          <a:pt x="666" y="0"/>
                        </a:lnTo>
                        <a:lnTo>
                          <a:pt x="678" y="0"/>
                        </a:lnTo>
                        <a:lnTo>
                          <a:pt x="690" y="12"/>
                        </a:lnTo>
                        <a:lnTo>
                          <a:pt x="690" y="36"/>
                        </a:lnTo>
                        <a:lnTo>
                          <a:pt x="690" y="48"/>
                        </a:lnTo>
                        <a:lnTo>
                          <a:pt x="713" y="60"/>
                        </a:lnTo>
                        <a:lnTo>
                          <a:pt x="737" y="107"/>
                        </a:lnTo>
                        <a:lnTo>
                          <a:pt x="773" y="131"/>
                        </a:lnTo>
                        <a:lnTo>
                          <a:pt x="820" y="167"/>
                        </a:lnTo>
                        <a:lnTo>
                          <a:pt x="820" y="191"/>
                        </a:lnTo>
                        <a:lnTo>
                          <a:pt x="868" y="202"/>
                        </a:lnTo>
                        <a:lnTo>
                          <a:pt x="868" y="22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1" name="Freeform 463"/>
                  <p:cNvSpPr>
                    <a:spLocks/>
                  </p:cNvSpPr>
                  <p:nvPr/>
                </p:nvSpPr>
                <p:spPr bwMode="auto">
                  <a:xfrm>
                    <a:off x="10820400" y="-22594888"/>
                    <a:ext cx="320675" cy="339725"/>
                  </a:xfrm>
                  <a:custGeom>
                    <a:avLst/>
                    <a:gdLst/>
                    <a:ahLst/>
                    <a:cxnLst>
                      <a:cxn ang="0">
                        <a:pos x="95" y="12"/>
                      </a:cxn>
                      <a:cxn ang="0">
                        <a:pos x="119" y="83"/>
                      </a:cxn>
                      <a:cxn ang="0">
                        <a:pos x="155" y="119"/>
                      </a:cxn>
                      <a:cxn ang="0">
                        <a:pos x="191" y="131"/>
                      </a:cxn>
                      <a:cxn ang="0">
                        <a:pos x="202" y="178"/>
                      </a:cxn>
                      <a:cxn ang="0">
                        <a:pos x="191" y="202"/>
                      </a:cxn>
                      <a:cxn ang="0">
                        <a:pos x="167" y="214"/>
                      </a:cxn>
                      <a:cxn ang="0">
                        <a:pos x="131" y="202"/>
                      </a:cxn>
                      <a:cxn ang="0">
                        <a:pos x="119" y="202"/>
                      </a:cxn>
                      <a:cxn ang="0">
                        <a:pos x="48" y="131"/>
                      </a:cxn>
                      <a:cxn ang="0">
                        <a:pos x="36" y="71"/>
                      </a:cxn>
                      <a:cxn ang="0">
                        <a:pos x="0" y="35"/>
                      </a:cxn>
                      <a:cxn ang="0">
                        <a:pos x="0" y="24"/>
                      </a:cxn>
                      <a:cxn ang="0">
                        <a:pos x="0" y="12"/>
                      </a:cxn>
                      <a:cxn ang="0">
                        <a:pos x="36" y="0"/>
                      </a:cxn>
                      <a:cxn ang="0">
                        <a:pos x="95" y="12"/>
                      </a:cxn>
                    </a:cxnLst>
                    <a:rect l="0" t="0" r="r" b="b"/>
                    <a:pathLst>
                      <a:path w="202" h="214">
                        <a:moveTo>
                          <a:pt x="95" y="12"/>
                        </a:moveTo>
                        <a:lnTo>
                          <a:pt x="119" y="83"/>
                        </a:lnTo>
                        <a:lnTo>
                          <a:pt x="155" y="119"/>
                        </a:lnTo>
                        <a:lnTo>
                          <a:pt x="191" y="131"/>
                        </a:lnTo>
                        <a:lnTo>
                          <a:pt x="202" y="178"/>
                        </a:lnTo>
                        <a:lnTo>
                          <a:pt x="191" y="202"/>
                        </a:lnTo>
                        <a:lnTo>
                          <a:pt x="167" y="214"/>
                        </a:lnTo>
                        <a:lnTo>
                          <a:pt x="131" y="202"/>
                        </a:lnTo>
                        <a:lnTo>
                          <a:pt x="119" y="202"/>
                        </a:lnTo>
                        <a:lnTo>
                          <a:pt x="48" y="131"/>
                        </a:lnTo>
                        <a:lnTo>
                          <a:pt x="36" y="71"/>
                        </a:lnTo>
                        <a:lnTo>
                          <a:pt x="0" y="35"/>
                        </a:lnTo>
                        <a:lnTo>
                          <a:pt x="0" y="24"/>
                        </a:lnTo>
                        <a:lnTo>
                          <a:pt x="0" y="12"/>
                        </a:lnTo>
                        <a:lnTo>
                          <a:pt x="36" y="0"/>
                        </a:lnTo>
                        <a:lnTo>
                          <a:pt x="95" y="12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135" name="Group 649"/>
                <p:cNvGrpSpPr/>
                <p:nvPr/>
              </p:nvGrpSpPr>
              <p:grpSpPr>
                <a:xfrm>
                  <a:off x="4067179" y="-31970657"/>
                  <a:ext cx="9490075" cy="10715634"/>
                  <a:chOff x="4067175" y="-31970663"/>
                  <a:chExt cx="9490075" cy="10715625"/>
                </a:xfrm>
                <a:grpFill/>
              </p:grpSpPr>
              <p:sp>
                <p:nvSpPr>
                  <p:cNvPr id="159" name="Freeform 294"/>
                  <p:cNvSpPr>
                    <a:spLocks/>
                  </p:cNvSpPr>
                  <p:nvPr/>
                </p:nvSpPr>
                <p:spPr bwMode="auto">
                  <a:xfrm>
                    <a:off x="4067175" y="-31970663"/>
                    <a:ext cx="9490075" cy="10715625"/>
                  </a:xfrm>
                  <a:custGeom>
                    <a:avLst/>
                    <a:gdLst/>
                    <a:ahLst/>
                    <a:cxnLst>
                      <a:cxn ang="0">
                        <a:pos x="202" y="2388"/>
                      </a:cxn>
                      <a:cxn ang="0">
                        <a:pos x="380" y="2531"/>
                      </a:cxn>
                      <a:cxn ang="0">
                        <a:pos x="654" y="2745"/>
                      </a:cxn>
                      <a:cxn ang="0">
                        <a:pos x="939" y="2685"/>
                      </a:cxn>
                      <a:cxn ang="0">
                        <a:pos x="1260" y="2507"/>
                      </a:cxn>
                      <a:cxn ang="0">
                        <a:pos x="1771" y="2543"/>
                      </a:cxn>
                      <a:cxn ang="0">
                        <a:pos x="2353" y="2685"/>
                      </a:cxn>
                      <a:cxn ang="0">
                        <a:pos x="2698" y="2353"/>
                      </a:cxn>
                      <a:cxn ang="0">
                        <a:pos x="2840" y="2020"/>
                      </a:cxn>
                      <a:cxn ang="0">
                        <a:pos x="3018" y="1580"/>
                      </a:cxn>
                      <a:cxn ang="0">
                        <a:pos x="3185" y="1426"/>
                      </a:cxn>
                      <a:cxn ang="0">
                        <a:pos x="3636" y="724"/>
                      </a:cxn>
                      <a:cxn ang="0">
                        <a:pos x="3945" y="273"/>
                      </a:cxn>
                      <a:cxn ang="0">
                        <a:pos x="3993" y="0"/>
                      </a:cxn>
                      <a:cxn ang="0">
                        <a:pos x="4373" y="368"/>
                      </a:cxn>
                      <a:cxn ang="0">
                        <a:pos x="4433" y="938"/>
                      </a:cxn>
                      <a:cxn ang="0">
                        <a:pos x="4540" y="926"/>
                      </a:cxn>
                      <a:cxn ang="0">
                        <a:pos x="4682" y="1723"/>
                      </a:cxn>
                      <a:cxn ang="0">
                        <a:pos x="4837" y="2222"/>
                      </a:cxn>
                      <a:cxn ang="0">
                        <a:pos x="4944" y="2745"/>
                      </a:cxn>
                      <a:cxn ang="0">
                        <a:pos x="5098" y="2792"/>
                      </a:cxn>
                      <a:cxn ang="0">
                        <a:pos x="5360" y="3113"/>
                      </a:cxn>
                      <a:cxn ang="0">
                        <a:pos x="5978" y="3660"/>
                      </a:cxn>
                      <a:cxn ang="0">
                        <a:pos x="5645" y="3648"/>
                      </a:cxn>
                      <a:cxn ang="0">
                        <a:pos x="5407" y="3874"/>
                      </a:cxn>
                      <a:cxn ang="0">
                        <a:pos x="5193" y="3981"/>
                      </a:cxn>
                      <a:cxn ang="0">
                        <a:pos x="5086" y="4064"/>
                      </a:cxn>
                      <a:cxn ang="0">
                        <a:pos x="5264" y="4016"/>
                      </a:cxn>
                      <a:cxn ang="0">
                        <a:pos x="5502" y="3743"/>
                      </a:cxn>
                      <a:cxn ang="0">
                        <a:pos x="5680" y="3850"/>
                      </a:cxn>
                      <a:cxn ang="0">
                        <a:pos x="5906" y="3921"/>
                      </a:cxn>
                      <a:cxn ang="0">
                        <a:pos x="5478" y="4195"/>
                      </a:cxn>
                      <a:cxn ang="0">
                        <a:pos x="5039" y="4908"/>
                      </a:cxn>
                      <a:cxn ang="0">
                        <a:pos x="4753" y="5110"/>
                      </a:cxn>
                      <a:cxn ang="0">
                        <a:pos x="4528" y="5347"/>
                      </a:cxn>
                      <a:cxn ang="0">
                        <a:pos x="4112" y="5300"/>
                      </a:cxn>
                      <a:cxn ang="0">
                        <a:pos x="4266" y="5573"/>
                      </a:cxn>
                      <a:cxn ang="0">
                        <a:pos x="4124" y="5763"/>
                      </a:cxn>
                      <a:cxn ang="0">
                        <a:pos x="4005" y="5977"/>
                      </a:cxn>
                      <a:cxn ang="0">
                        <a:pos x="3696" y="6631"/>
                      </a:cxn>
                      <a:cxn ang="0">
                        <a:pos x="3327" y="6738"/>
                      </a:cxn>
                      <a:cxn ang="0">
                        <a:pos x="2935" y="6488"/>
                      </a:cxn>
                      <a:cxn ang="0">
                        <a:pos x="2793" y="6274"/>
                      </a:cxn>
                      <a:cxn ang="0">
                        <a:pos x="2603" y="5882"/>
                      </a:cxn>
                      <a:cxn ang="0">
                        <a:pos x="2258" y="5288"/>
                      </a:cxn>
                      <a:cxn ang="0">
                        <a:pos x="2032" y="4872"/>
                      </a:cxn>
                      <a:cxn ang="0">
                        <a:pos x="2044" y="4575"/>
                      </a:cxn>
                      <a:cxn ang="0">
                        <a:pos x="1961" y="4349"/>
                      </a:cxn>
                      <a:cxn ang="0">
                        <a:pos x="1687" y="3933"/>
                      </a:cxn>
                      <a:cxn ang="0">
                        <a:pos x="1592" y="3838"/>
                      </a:cxn>
                      <a:cxn ang="0">
                        <a:pos x="1462" y="3636"/>
                      </a:cxn>
                      <a:cxn ang="0">
                        <a:pos x="1295" y="3624"/>
                      </a:cxn>
                      <a:cxn ang="0">
                        <a:pos x="1105" y="3553"/>
                      </a:cxn>
                      <a:cxn ang="0">
                        <a:pos x="915" y="3422"/>
                      </a:cxn>
                      <a:cxn ang="0">
                        <a:pos x="737" y="3279"/>
                      </a:cxn>
                      <a:cxn ang="0">
                        <a:pos x="428" y="3196"/>
                      </a:cxn>
                      <a:cxn ang="0">
                        <a:pos x="71" y="2828"/>
                      </a:cxn>
                      <a:cxn ang="0">
                        <a:pos x="0" y="2400"/>
                      </a:cxn>
                    </a:cxnLst>
                    <a:rect l="0" t="0" r="r" b="b"/>
                    <a:pathLst>
                      <a:path w="5978" h="6750">
                        <a:moveTo>
                          <a:pt x="0" y="2400"/>
                        </a:moveTo>
                        <a:lnTo>
                          <a:pt x="0" y="2400"/>
                        </a:lnTo>
                        <a:lnTo>
                          <a:pt x="47" y="2412"/>
                        </a:lnTo>
                        <a:lnTo>
                          <a:pt x="71" y="2412"/>
                        </a:lnTo>
                        <a:lnTo>
                          <a:pt x="143" y="2341"/>
                        </a:lnTo>
                        <a:lnTo>
                          <a:pt x="154" y="2341"/>
                        </a:lnTo>
                        <a:lnTo>
                          <a:pt x="178" y="2341"/>
                        </a:lnTo>
                        <a:lnTo>
                          <a:pt x="202" y="2388"/>
                        </a:lnTo>
                        <a:lnTo>
                          <a:pt x="202" y="2424"/>
                        </a:lnTo>
                        <a:lnTo>
                          <a:pt x="178" y="2459"/>
                        </a:lnTo>
                        <a:lnTo>
                          <a:pt x="178" y="2495"/>
                        </a:lnTo>
                        <a:lnTo>
                          <a:pt x="202" y="2519"/>
                        </a:lnTo>
                        <a:lnTo>
                          <a:pt x="214" y="2531"/>
                        </a:lnTo>
                        <a:lnTo>
                          <a:pt x="273" y="2519"/>
                        </a:lnTo>
                        <a:lnTo>
                          <a:pt x="345" y="2507"/>
                        </a:lnTo>
                        <a:lnTo>
                          <a:pt x="380" y="2531"/>
                        </a:lnTo>
                        <a:lnTo>
                          <a:pt x="392" y="2578"/>
                        </a:lnTo>
                        <a:lnTo>
                          <a:pt x="428" y="2614"/>
                        </a:lnTo>
                        <a:lnTo>
                          <a:pt x="452" y="2638"/>
                        </a:lnTo>
                        <a:lnTo>
                          <a:pt x="487" y="2650"/>
                        </a:lnTo>
                        <a:lnTo>
                          <a:pt x="523" y="2662"/>
                        </a:lnTo>
                        <a:lnTo>
                          <a:pt x="582" y="2685"/>
                        </a:lnTo>
                        <a:lnTo>
                          <a:pt x="618" y="2733"/>
                        </a:lnTo>
                        <a:lnTo>
                          <a:pt x="654" y="2745"/>
                        </a:lnTo>
                        <a:lnTo>
                          <a:pt x="689" y="2745"/>
                        </a:lnTo>
                        <a:lnTo>
                          <a:pt x="761" y="2709"/>
                        </a:lnTo>
                        <a:lnTo>
                          <a:pt x="784" y="2709"/>
                        </a:lnTo>
                        <a:lnTo>
                          <a:pt x="820" y="2721"/>
                        </a:lnTo>
                        <a:lnTo>
                          <a:pt x="879" y="2768"/>
                        </a:lnTo>
                        <a:lnTo>
                          <a:pt x="927" y="2733"/>
                        </a:lnTo>
                        <a:lnTo>
                          <a:pt x="939" y="2697"/>
                        </a:lnTo>
                        <a:lnTo>
                          <a:pt x="939" y="2685"/>
                        </a:lnTo>
                        <a:lnTo>
                          <a:pt x="1070" y="2662"/>
                        </a:lnTo>
                        <a:lnTo>
                          <a:pt x="1105" y="2650"/>
                        </a:lnTo>
                        <a:lnTo>
                          <a:pt x="1117" y="2614"/>
                        </a:lnTo>
                        <a:lnTo>
                          <a:pt x="1129" y="2590"/>
                        </a:lnTo>
                        <a:lnTo>
                          <a:pt x="1153" y="2566"/>
                        </a:lnTo>
                        <a:lnTo>
                          <a:pt x="1200" y="2566"/>
                        </a:lnTo>
                        <a:lnTo>
                          <a:pt x="1248" y="2543"/>
                        </a:lnTo>
                        <a:lnTo>
                          <a:pt x="1260" y="2507"/>
                        </a:lnTo>
                        <a:lnTo>
                          <a:pt x="1307" y="2483"/>
                        </a:lnTo>
                        <a:lnTo>
                          <a:pt x="1343" y="2483"/>
                        </a:lnTo>
                        <a:lnTo>
                          <a:pt x="1390" y="2566"/>
                        </a:lnTo>
                        <a:lnTo>
                          <a:pt x="1581" y="2614"/>
                        </a:lnTo>
                        <a:lnTo>
                          <a:pt x="1616" y="2614"/>
                        </a:lnTo>
                        <a:lnTo>
                          <a:pt x="1676" y="2578"/>
                        </a:lnTo>
                        <a:lnTo>
                          <a:pt x="1771" y="2555"/>
                        </a:lnTo>
                        <a:lnTo>
                          <a:pt x="1771" y="2543"/>
                        </a:lnTo>
                        <a:lnTo>
                          <a:pt x="1842" y="2519"/>
                        </a:lnTo>
                        <a:lnTo>
                          <a:pt x="1949" y="2590"/>
                        </a:lnTo>
                        <a:lnTo>
                          <a:pt x="1949" y="2626"/>
                        </a:lnTo>
                        <a:lnTo>
                          <a:pt x="1961" y="2673"/>
                        </a:lnTo>
                        <a:lnTo>
                          <a:pt x="2092" y="2662"/>
                        </a:lnTo>
                        <a:lnTo>
                          <a:pt x="2222" y="2709"/>
                        </a:lnTo>
                        <a:lnTo>
                          <a:pt x="2294" y="2709"/>
                        </a:lnTo>
                        <a:lnTo>
                          <a:pt x="2353" y="2685"/>
                        </a:lnTo>
                        <a:lnTo>
                          <a:pt x="2365" y="2638"/>
                        </a:lnTo>
                        <a:lnTo>
                          <a:pt x="2400" y="2590"/>
                        </a:lnTo>
                        <a:lnTo>
                          <a:pt x="2484" y="2566"/>
                        </a:lnTo>
                        <a:lnTo>
                          <a:pt x="2614" y="2483"/>
                        </a:lnTo>
                        <a:lnTo>
                          <a:pt x="2650" y="2448"/>
                        </a:lnTo>
                        <a:lnTo>
                          <a:pt x="2662" y="2424"/>
                        </a:lnTo>
                        <a:lnTo>
                          <a:pt x="2698" y="2388"/>
                        </a:lnTo>
                        <a:lnTo>
                          <a:pt x="2698" y="2353"/>
                        </a:lnTo>
                        <a:lnTo>
                          <a:pt x="2733" y="2329"/>
                        </a:lnTo>
                        <a:lnTo>
                          <a:pt x="2757" y="2305"/>
                        </a:lnTo>
                        <a:lnTo>
                          <a:pt x="2769" y="2246"/>
                        </a:lnTo>
                        <a:lnTo>
                          <a:pt x="2781" y="2222"/>
                        </a:lnTo>
                        <a:lnTo>
                          <a:pt x="2781" y="2174"/>
                        </a:lnTo>
                        <a:lnTo>
                          <a:pt x="2793" y="2151"/>
                        </a:lnTo>
                        <a:lnTo>
                          <a:pt x="2828" y="2103"/>
                        </a:lnTo>
                        <a:lnTo>
                          <a:pt x="2840" y="2020"/>
                        </a:lnTo>
                        <a:lnTo>
                          <a:pt x="2888" y="1960"/>
                        </a:lnTo>
                        <a:lnTo>
                          <a:pt x="2911" y="1889"/>
                        </a:lnTo>
                        <a:lnTo>
                          <a:pt x="2947" y="1865"/>
                        </a:lnTo>
                        <a:lnTo>
                          <a:pt x="2971" y="1830"/>
                        </a:lnTo>
                        <a:lnTo>
                          <a:pt x="2983" y="1770"/>
                        </a:lnTo>
                        <a:lnTo>
                          <a:pt x="3030" y="1651"/>
                        </a:lnTo>
                        <a:lnTo>
                          <a:pt x="3030" y="1628"/>
                        </a:lnTo>
                        <a:lnTo>
                          <a:pt x="3018" y="1580"/>
                        </a:lnTo>
                        <a:lnTo>
                          <a:pt x="3018" y="1509"/>
                        </a:lnTo>
                        <a:lnTo>
                          <a:pt x="3066" y="1497"/>
                        </a:lnTo>
                        <a:lnTo>
                          <a:pt x="3078" y="1461"/>
                        </a:lnTo>
                        <a:lnTo>
                          <a:pt x="3125" y="1426"/>
                        </a:lnTo>
                        <a:lnTo>
                          <a:pt x="3137" y="1414"/>
                        </a:lnTo>
                        <a:lnTo>
                          <a:pt x="3149" y="1437"/>
                        </a:lnTo>
                        <a:lnTo>
                          <a:pt x="3161" y="1437"/>
                        </a:lnTo>
                        <a:lnTo>
                          <a:pt x="3185" y="1426"/>
                        </a:lnTo>
                        <a:lnTo>
                          <a:pt x="3232" y="1331"/>
                        </a:lnTo>
                        <a:lnTo>
                          <a:pt x="3292" y="1200"/>
                        </a:lnTo>
                        <a:lnTo>
                          <a:pt x="3375" y="1105"/>
                        </a:lnTo>
                        <a:lnTo>
                          <a:pt x="3423" y="1022"/>
                        </a:lnTo>
                        <a:lnTo>
                          <a:pt x="3458" y="903"/>
                        </a:lnTo>
                        <a:lnTo>
                          <a:pt x="3506" y="855"/>
                        </a:lnTo>
                        <a:lnTo>
                          <a:pt x="3529" y="796"/>
                        </a:lnTo>
                        <a:lnTo>
                          <a:pt x="3636" y="724"/>
                        </a:lnTo>
                        <a:lnTo>
                          <a:pt x="3684" y="653"/>
                        </a:lnTo>
                        <a:lnTo>
                          <a:pt x="3696" y="606"/>
                        </a:lnTo>
                        <a:lnTo>
                          <a:pt x="3743" y="534"/>
                        </a:lnTo>
                        <a:lnTo>
                          <a:pt x="3791" y="511"/>
                        </a:lnTo>
                        <a:lnTo>
                          <a:pt x="3850" y="451"/>
                        </a:lnTo>
                        <a:lnTo>
                          <a:pt x="3898" y="404"/>
                        </a:lnTo>
                        <a:lnTo>
                          <a:pt x="3934" y="285"/>
                        </a:lnTo>
                        <a:lnTo>
                          <a:pt x="3945" y="273"/>
                        </a:lnTo>
                        <a:lnTo>
                          <a:pt x="3969" y="285"/>
                        </a:lnTo>
                        <a:lnTo>
                          <a:pt x="4040" y="487"/>
                        </a:lnTo>
                        <a:lnTo>
                          <a:pt x="4088" y="546"/>
                        </a:lnTo>
                        <a:lnTo>
                          <a:pt x="4112" y="558"/>
                        </a:lnTo>
                        <a:lnTo>
                          <a:pt x="3993" y="273"/>
                        </a:lnTo>
                        <a:lnTo>
                          <a:pt x="3969" y="130"/>
                        </a:lnTo>
                        <a:lnTo>
                          <a:pt x="3981" y="35"/>
                        </a:lnTo>
                        <a:lnTo>
                          <a:pt x="3993" y="0"/>
                        </a:lnTo>
                        <a:lnTo>
                          <a:pt x="4029" y="0"/>
                        </a:lnTo>
                        <a:lnTo>
                          <a:pt x="4088" y="23"/>
                        </a:lnTo>
                        <a:lnTo>
                          <a:pt x="4159" y="106"/>
                        </a:lnTo>
                        <a:lnTo>
                          <a:pt x="4242" y="166"/>
                        </a:lnTo>
                        <a:lnTo>
                          <a:pt x="4290" y="237"/>
                        </a:lnTo>
                        <a:lnTo>
                          <a:pt x="4314" y="249"/>
                        </a:lnTo>
                        <a:lnTo>
                          <a:pt x="4338" y="297"/>
                        </a:lnTo>
                        <a:lnTo>
                          <a:pt x="4373" y="368"/>
                        </a:lnTo>
                        <a:lnTo>
                          <a:pt x="4397" y="415"/>
                        </a:lnTo>
                        <a:lnTo>
                          <a:pt x="4445" y="629"/>
                        </a:lnTo>
                        <a:lnTo>
                          <a:pt x="4409" y="796"/>
                        </a:lnTo>
                        <a:lnTo>
                          <a:pt x="4409" y="938"/>
                        </a:lnTo>
                        <a:lnTo>
                          <a:pt x="4409" y="1129"/>
                        </a:lnTo>
                        <a:lnTo>
                          <a:pt x="4421" y="1188"/>
                        </a:lnTo>
                        <a:lnTo>
                          <a:pt x="4433" y="1140"/>
                        </a:lnTo>
                        <a:lnTo>
                          <a:pt x="4433" y="938"/>
                        </a:lnTo>
                        <a:lnTo>
                          <a:pt x="4445" y="843"/>
                        </a:lnTo>
                        <a:lnTo>
                          <a:pt x="4480" y="689"/>
                        </a:lnTo>
                        <a:lnTo>
                          <a:pt x="4492" y="653"/>
                        </a:lnTo>
                        <a:lnTo>
                          <a:pt x="4528" y="641"/>
                        </a:lnTo>
                        <a:lnTo>
                          <a:pt x="4540" y="653"/>
                        </a:lnTo>
                        <a:lnTo>
                          <a:pt x="4563" y="713"/>
                        </a:lnTo>
                        <a:lnTo>
                          <a:pt x="4551" y="796"/>
                        </a:lnTo>
                        <a:lnTo>
                          <a:pt x="4540" y="926"/>
                        </a:lnTo>
                        <a:lnTo>
                          <a:pt x="4551" y="1010"/>
                        </a:lnTo>
                        <a:lnTo>
                          <a:pt x="4551" y="1081"/>
                        </a:lnTo>
                        <a:lnTo>
                          <a:pt x="4551" y="1140"/>
                        </a:lnTo>
                        <a:lnTo>
                          <a:pt x="4551" y="1235"/>
                        </a:lnTo>
                        <a:lnTo>
                          <a:pt x="4623" y="1473"/>
                        </a:lnTo>
                        <a:lnTo>
                          <a:pt x="4623" y="1568"/>
                        </a:lnTo>
                        <a:lnTo>
                          <a:pt x="4635" y="1651"/>
                        </a:lnTo>
                        <a:lnTo>
                          <a:pt x="4682" y="1723"/>
                        </a:lnTo>
                        <a:lnTo>
                          <a:pt x="4682" y="1782"/>
                        </a:lnTo>
                        <a:lnTo>
                          <a:pt x="4718" y="1853"/>
                        </a:lnTo>
                        <a:lnTo>
                          <a:pt x="4742" y="1925"/>
                        </a:lnTo>
                        <a:lnTo>
                          <a:pt x="4777" y="1960"/>
                        </a:lnTo>
                        <a:lnTo>
                          <a:pt x="4789" y="2008"/>
                        </a:lnTo>
                        <a:lnTo>
                          <a:pt x="4789" y="2044"/>
                        </a:lnTo>
                        <a:lnTo>
                          <a:pt x="4837" y="2162"/>
                        </a:lnTo>
                        <a:lnTo>
                          <a:pt x="4837" y="2222"/>
                        </a:lnTo>
                        <a:lnTo>
                          <a:pt x="4872" y="2269"/>
                        </a:lnTo>
                        <a:lnTo>
                          <a:pt x="4920" y="2353"/>
                        </a:lnTo>
                        <a:lnTo>
                          <a:pt x="4932" y="2448"/>
                        </a:lnTo>
                        <a:lnTo>
                          <a:pt x="4991" y="2578"/>
                        </a:lnTo>
                        <a:lnTo>
                          <a:pt x="5015" y="2673"/>
                        </a:lnTo>
                        <a:lnTo>
                          <a:pt x="5003" y="2709"/>
                        </a:lnTo>
                        <a:lnTo>
                          <a:pt x="4956" y="2745"/>
                        </a:lnTo>
                        <a:lnTo>
                          <a:pt x="4944" y="2745"/>
                        </a:lnTo>
                        <a:lnTo>
                          <a:pt x="4920" y="2780"/>
                        </a:lnTo>
                        <a:lnTo>
                          <a:pt x="4920" y="2840"/>
                        </a:lnTo>
                        <a:lnTo>
                          <a:pt x="4920" y="2852"/>
                        </a:lnTo>
                        <a:lnTo>
                          <a:pt x="4944" y="2852"/>
                        </a:lnTo>
                        <a:lnTo>
                          <a:pt x="4967" y="2768"/>
                        </a:lnTo>
                        <a:lnTo>
                          <a:pt x="5027" y="2757"/>
                        </a:lnTo>
                        <a:lnTo>
                          <a:pt x="5062" y="2768"/>
                        </a:lnTo>
                        <a:lnTo>
                          <a:pt x="5098" y="2792"/>
                        </a:lnTo>
                        <a:lnTo>
                          <a:pt x="5122" y="2816"/>
                        </a:lnTo>
                        <a:lnTo>
                          <a:pt x="5134" y="2887"/>
                        </a:lnTo>
                        <a:lnTo>
                          <a:pt x="5146" y="2923"/>
                        </a:lnTo>
                        <a:lnTo>
                          <a:pt x="5169" y="2959"/>
                        </a:lnTo>
                        <a:lnTo>
                          <a:pt x="5205" y="2994"/>
                        </a:lnTo>
                        <a:lnTo>
                          <a:pt x="5253" y="3077"/>
                        </a:lnTo>
                        <a:lnTo>
                          <a:pt x="5288" y="3113"/>
                        </a:lnTo>
                        <a:lnTo>
                          <a:pt x="5360" y="3113"/>
                        </a:lnTo>
                        <a:lnTo>
                          <a:pt x="5419" y="3101"/>
                        </a:lnTo>
                        <a:lnTo>
                          <a:pt x="5573" y="3125"/>
                        </a:lnTo>
                        <a:lnTo>
                          <a:pt x="5645" y="3101"/>
                        </a:lnTo>
                        <a:lnTo>
                          <a:pt x="5692" y="3113"/>
                        </a:lnTo>
                        <a:lnTo>
                          <a:pt x="5859" y="3208"/>
                        </a:lnTo>
                        <a:lnTo>
                          <a:pt x="5954" y="3315"/>
                        </a:lnTo>
                        <a:lnTo>
                          <a:pt x="5966" y="3375"/>
                        </a:lnTo>
                        <a:lnTo>
                          <a:pt x="5978" y="3660"/>
                        </a:lnTo>
                        <a:lnTo>
                          <a:pt x="5966" y="3684"/>
                        </a:lnTo>
                        <a:lnTo>
                          <a:pt x="5906" y="3767"/>
                        </a:lnTo>
                        <a:lnTo>
                          <a:pt x="5871" y="3779"/>
                        </a:lnTo>
                        <a:lnTo>
                          <a:pt x="5823" y="3814"/>
                        </a:lnTo>
                        <a:lnTo>
                          <a:pt x="5752" y="3802"/>
                        </a:lnTo>
                        <a:lnTo>
                          <a:pt x="5704" y="3779"/>
                        </a:lnTo>
                        <a:lnTo>
                          <a:pt x="5680" y="3672"/>
                        </a:lnTo>
                        <a:lnTo>
                          <a:pt x="5645" y="3648"/>
                        </a:lnTo>
                        <a:lnTo>
                          <a:pt x="5621" y="3648"/>
                        </a:lnTo>
                        <a:lnTo>
                          <a:pt x="5538" y="3684"/>
                        </a:lnTo>
                        <a:lnTo>
                          <a:pt x="5478" y="3719"/>
                        </a:lnTo>
                        <a:lnTo>
                          <a:pt x="5467" y="3755"/>
                        </a:lnTo>
                        <a:lnTo>
                          <a:pt x="5490" y="3826"/>
                        </a:lnTo>
                        <a:lnTo>
                          <a:pt x="5490" y="3850"/>
                        </a:lnTo>
                        <a:lnTo>
                          <a:pt x="5478" y="3850"/>
                        </a:lnTo>
                        <a:lnTo>
                          <a:pt x="5407" y="3874"/>
                        </a:lnTo>
                        <a:lnTo>
                          <a:pt x="5395" y="3850"/>
                        </a:lnTo>
                        <a:lnTo>
                          <a:pt x="5371" y="3850"/>
                        </a:lnTo>
                        <a:lnTo>
                          <a:pt x="5324" y="3874"/>
                        </a:lnTo>
                        <a:lnTo>
                          <a:pt x="5300" y="3897"/>
                        </a:lnTo>
                        <a:lnTo>
                          <a:pt x="5229" y="3993"/>
                        </a:lnTo>
                        <a:lnTo>
                          <a:pt x="5229" y="4004"/>
                        </a:lnTo>
                        <a:lnTo>
                          <a:pt x="5217" y="4004"/>
                        </a:lnTo>
                        <a:lnTo>
                          <a:pt x="5193" y="3981"/>
                        </a:lnTo>
                        <a:lnTo>
                          <a:pt x="5134" y="3993"/>
                        </a:lnTo>
                        <a:lnTo>
                          <a:pt x="5074" y="3969"/>
                        </a:lnTo>
                        <a:lnTo>
                          <a:pt x="5062" y="3993"/>
                        </a:lnTo>
                        <a:lnTo>
                          <a:pt x="5062" y="4028"/>
                        </a:lnTo>
                        <a:lnTo>
                          <a:pt x="5051" y="4040"/>
                        </a:lnTo>
                        <a:lnTo>
                          <a:pt x="5051" y="4052"/>
                        </a:lnTo>
                        <a:lnTo>
                          <a:pt x="5074" y="4076"/>
                        </a:lnTo>
                        <a:lnTo>
                          <a:pt x="5086" y="4064"/>
                        </a:lnTo>
                        <a:lnTo>
                          <a:pt x="5086" y="4040"/>
                        </a:lnTo>
                        <a:lnTo>
                          <a:pt x="5098" y="4028"/>
                        </a:lnTo>
                        <a:lnTo>
                          <a:pt x="5134" y="4016"/>
                        </a:lnTo>
                        <a:lnTo>
                          <a:pt x="5158" y="4016"/>
                        </a:lnTo>
                        <a:lnTo>
                          <a:pt x="5181" y="4004"/>
                        </a:lnTo>
                        <a:lnTo>
                          <a:pt x="5205" y="4052"/>
                        </a:lnTo>
                        <a:lnTo>
                          <a:pt x="5217" y="4052"/>
                        </a:lnTo>
                        <a:lnTo>
                          <a:pt x="5264" y="4016"/>
                        </a:lnTo>
                        <a:lnTo>
                          <a:pt x="5288" y="3957"/>
                        </a:lnTo>
                        <a:lnTo>
                          <a:pt x="5348" y="3897"/>
                        </a:lnTo>
                        <a:lnTo>
                          <a:pt x="5371" y="3897"/>
                        </a:lnTo>
                        <a:lnTo>
                          <a:pt x="5431" y="3909"/>
                        </a:lnTo>
                        <a:lnTo>
                          <a:pt x="5502" y="3874"/>
                        </a:lnTo>
                        <a:lnTo>
                          <a:pt x="5526" y="3838"/>
                        </a:lnTo>
                        <a:lnTo>
                          <a:pt x="5502" y="3767"/>
                        </a:lnTo>
                        <a:lnTo>
                          <a:pt x="5502" y="3743"/>
                        </a:lnTo>
                        <a:lnTo>
                          <a:pt x="5514" y="3731"/>
                        </a:lnTo>
                        <a:lnTo>
                          <a:pt x="5550" y="3719"/>
                        </a:lnTo>
                        <a:lnTo>
                          <a:pt x="5573" y="3707"/>
                        </a:lnTo>
                        <a:lnTo>
                          <a:pt x="5621" y="3707"/>
                        </a:lnTo>
                        <a:lnTo>
                          <a:pt x="5645" y="3719"/>
                        </a:lnTo>
                        <a:lnTo>
                          <a:pt x="5669" y="3755"/>
                        </a:lnTo>
                        <a:lnTo>
                          <a:pt x="5669" y="3814"/>
                        </a:lnTo>
                        <a:lnTo>
                          <a:pt x="5680" y="3850"/>
                        </a:lnTo>
                        <a:lnTo>
                          <a:pt x="5752" y="3838"/>
                        </a:lnTo>
                        <a:lnTo>
                          <a:pt x="5847" y="3838"/>
                        </a:lnTo>
                        <a:lnTo>
                          <a:pt x="5871" y="3838"/>
                        </a:lnTo>
                        <a:lnTo>
                          <a:pt x="5918" y="3790"/>
                        </a:lnTo>
                        <a:lnTo>
                          <a:pt x="5954" y="3790"/>
                        </a:lnTo>
                        <a:lnTo>
                          <a:pt x="5966" y="3826"/>
                        </a:lnTo>
                        <a:lnTo>
                          <a:pt x="5954" y="3862"/>
                        </a:lnTo>
                        <a:lnTo>
                          <a:pt x="5906" y="3921"/>
                        </a:lnTo>
                        <a:lnTo>
                          <a:pt x="5882" y="3981"/>
                        </a:lnTo>
                        <a:lnTo>
                          <a:pt x="5847" y="4016"/>
                        </a:lnTo>
                        <a:lnTo>
                          <a:pt x="5787" y="4028"/>
                        </a:lnTo>
                        <a:lnTo>
                          <a:pt x="5728" y="4123"/>
                        </a:lnTo>
                        <a:lnTo>
                          <a:pt x="5597" y="4195"/>
                        </a:lnTo>
                        <a:lnTo>
                          <a:pt x="5550" y="4230"/>
                        </a:lnTo>
                        <a:lnTo>
                          <a:pt x="5514" y="4230"/>
                        </a:lnTo>
                        <a:lnTo>
                          <a:pt x="5478" y="4195"/>
                        </a:lnTo>
                        <a:lnTo>
                          <a:pt x="5490" y="4290"/>
                        </a:lnTo>
                        <a:lnTo>
                          <a:pt x="5467" y="4373"/>
                        </a:lnTo>
                        <a:lnTo>
                          <a:pt x="5395" y="4444"/>
                        </a:lnTo>
                        <a:lnTo>
                          <a:pt x="5312" y="4504"/>
                        </a:lnTo>
                        <a:lnTo>
                          <a:pt x="5264" y="4551"/>
                        </a:lnTo>
                        <a:lnTo>
                          <a:pt x="5205" y="4682"/>
                        </a:lnTo>
                        <a:lnTo>
                          <a:pt x="5134" y="4801"/>
                        </a:lnTo>
                        <a:lnTo>
                          <a:pt x="5039" y="4908"/>
                        </a:lnTo>
                        <a:lnTo>
                          <a:pt x="5003" y="4931"/>
                        </a:lnTo>
                        <a:lnTo>
                          <a:pt x="4967" y="5003"/>
                        </a:lnTo>
                        <a:lnTo>
                          <a:pt x="4944" y="5015"/>
                        </a:lnTo>
                        <a:lnTo>
                          <a:pt x="4920" y="5015"/>
                        </a:lnTo>
                        <a:lnTo>
                          <a:pt x="4884" y="5050"/>
                        </a:lnTo>
                        <a:lnTo>
                          <a:pt x="4825" y="5062"/>
                        </a:lnTo>
                        <a:lnTo>
                          <a:pt x="4777" y="5098"/>
                        </a:lnTo>
                        <a:lnTo>
                          <a:pt x="4753" y="5110"/>
                        </a:lnTo>
                        <a:lnTo>
                          <a:pt x="4718" y="5110"/>
                        </a:lnTo>
                        <a:lnTo>
                          <a:pt x="4682" y="5145"/>
                        </a:lnTo>
                        <a:lnTo>
                          <a:pt x="4623" y="5193"/>
                        </a:lnTo>
                        <a:lnTo>
                          <a:pt x="4599" y="5252"/>
                        </a:lnTo>
                        <a:lnTo>
                          <a:pt x="4587" y="5288"/>
                        </a:lnTo>
                        <a:lnTo>
                          <a:pt x="4575" y="5312"/>
                        </a:lnTo>
                        <a:lnTo>
                          <a:pt x="4551" y="5335"/>
                        </a:lnTo>
                        <a:lnTo>
                          <a:pt x="4528" y="5347"/>
                        </a:lnTo>
                        <a:lnTo>
                          <a:pt x="4445" y="5359"/>
                        </a:lnTo>
                        <a:lnTo>
                          <a:pt x="4397" y="5347"/>
                        </a:lnTo>
                        <a:lnTo>
                          <a:pt x="4361" y="5383"/>
                        </a:lnTo>
                        <a:lnTo>
                          <a:pt x="4266" y="5383"/>
                        </a:lnTo>
                        <a:lnTo>
                          <a:pt x="4207" y="5359"/>
                        </a:lnTo>
                        <a:lnTo>
                          <a:pt x="4159" y="5335"/>
                        </a:lnTo>
                        <a:lnTo>
                          <a:pt x="4136" y="5300"/>
                        </a:lnTo>
                        <a:lnTo>
                          <a:pt x="4112" y="5300"/>
                        </a:lnTo>
                        <a:lnTo>
                          <a:pt x="4112" y="5335"/>
                        </a:lnTo>
                        <a:lnTo>
                          <a:pt x="4147" y="5371"/>
                        </a:lnTo>
                        <a:lnTo>
                          <a:pt x="4290" y="5407"/>
                        </a:lnTo>
                        <a:lnTo>
                          <a:pt x="4349" y="5395"/>
                        </a:lnTo>
                        <a:lnTo>
                          <a:pt x="4361" y="5407"/>
                        </a:lnTo>
                        <a:lnTo>
                          <a:pt x="4326" y="5430"/>
                        </a:lnTo>
                        <a:lnTo>
                          <a:pt x="4314" y="5502"/>
                        </a:lnTo>
                        <a:lnTo>
                          <a:pt x="4266" y="5573"/>
                        </a:lnTo>
                        <a:lnTo>
                          <a:pt x="4242" y="5585"/>
                        </a:lnTo>
                        <a:lnTo>
                          <a:pt x="4195" y="5561"/>
                        </a:lnTo>
                        <a:lnTo>
                          <a:pt x="4171" y="5573"/>
                        </a:lnTo>
                        <a:lnTo>
                          <a:pt x="4171" y="5597"/>
                        </a:lnTo>
                        <a:lnTo>
                          <a:pt x="4207" y="5609"/>
                        </a:lnTo>
                        <a:lnTo>
                          <a:pt x="4195" y="5704"/>
                        </a:lnTo>
                        <a:lnTo>
                          <a:pt x="4171" y="5739"/>
                        </a:lnTo>
                        <a:lnTo>
                          <a:pt x="4124" y="5763"/>
                        </a:lnTo>
                        <a:lnTo>
                          <a:pt x="4112" y="5799"/>
                        </a:lnTo>
                        <a:lnTo>
                          <a:pt x="4100" y="5834"/>
                        </a:lnTo>
                        <a:lnTo>
                          <a:pt x="4088" y="5858"/>
                        </a:lnTo>
                        <a:lnTo>
                          <a:pt x="4029" y="5906"/>
                        </a:lnTo>
                        <a:lnTo>
                          <a:pt x="4052" y="5941"/>
                        </a:lnTo>
                        <a:lnTo>
                          <a:pt x="4052" y="5941"/>
                        </a:lnTo>
                        <a:lnTo>
                          <a:pt x="4052" y="5941"/>
                        </a:lnTo>
                        <a:lnTo>
                          <a:pt x="4005" y="5977"/>
                        </a:lnTo>
                        <a:lnTo>
                          <a:pt x="3838" y="6179"/>
                        </a:lnTo>
                        <a:lnTo>
                          <a:pt x="3791" y="6369"/>
                        </a:lnTo>
                        <a:lnTo>
                          <a:pt x="3803" y="6441"/>
                        </a:lnTo>
                        <a:lnTo>
                          <a:pt x="3815" y="6500"/>
                        </a:lnTo>
                        <a:lnTo>
                          <a:pt x="3803" y="6536"/>
                        </a:lnTo>
                        <a:lnTo>
                          <a:pt x="3779" y="6536"/>
                        </a:lnTo>
                        <a:lnTo>
                          <a:pt x="3731" y="6571"/>
                        </a:lnTo>
                        <a:lnTo>
                          <a:pt x="3696" y="6631"/>
                        </a:lnTo>
                        <a:lnTo>
                          <a:pt x="3648" y="6654"/>
                        </a:lnTo>
                        <a:lnTo>
                          <a:pt x="3506" y="6654"/>
                        </a:lnTo>
                        <a:lnTo>
                          <a:pt x="3470" y="6631"/>
                        </a:lnTo>
                        <a:lnTo>
                          <a:pt x="3423" y="6678"/>
                        </a:lnTo>
                        <a:lnTo>
                          <a:pt x="3375" y="6702"/>
                        </a:lnTo>
                        <a:lnTo>
                          <a:pt x="3351" y="6750"/>
                        </a:lnTo>
                        <a:lnTo>
                          <a:pt x="3339" y="6750"/>
                        </a:lnTo>
                        <a:lnTo>
                          <a:pt x="3327" y="6738"/>
                        </a:lnTo>
                        <a:lnTo>
                          <a:pt x="3292" y="6678"/>
                        </a:lnTo>
                        <a:lnTo>
                          <a:pt x="3268" y="6654"/>
                        </a:lnTo>
                        <a:lnTo>
                          <a:pt x="3137" y="6631"/>
                        </a:lnTo>
                        <a:lnTo>
                          <a:pt x="3042" y="6595"/>
                        </a:lnTo>
                        <a:lnTo>
                          <a:pt x="3007" y="6571"/>
                        </a:lnTo>
                        <a:lnTo>
                          <a:pt x="2983" y="6536"/>
                        </a:lnTo>
                        <a:lnTo>
                          <a:pt x="2947" y="6524"/>
                        </a:lnTo>
                        <a:lnTo>
                          <a:pt x="2935" y="6488"/>
                        </a:lnTo>
                        <a:lnTo>
                          <a:pt x="2911" y="6417"/>
                        </a:lnTo>
                        <a:lnTo>
                          <a:pt x="2947" y="6357"/>
                        </a:lnTo>
                        <a:lnTo>
                          <a:pt x="2947" y="6322"/>
                        </a:lnTo>
                        <a:lnTo>
                          <a:pt x="2935" y="6298"/>
                        </a:lnTo>
                        <a:lnTo>
                          <a:pt x="2923" y="6286"/>
                        </a:lnTo>
                        <a:lnTo>
                          <a:pt x="2888" y="6274"/>
                        </a:lnTo>
                        <a:lnTo>
                          <a:pt x="2805" y="6298"/>
                        </a:lnTo>
                        <a:lnTo>
                          <a:pt x="2793" y="6274"/>
                        </a:lnTo>
                        <a:lnTo>
                          <a:pt x="2828" y="6155"/>
                        </a:lnTo>
                        <a:lnTo>
                          <a:pt x="2828" y="6084"/>
                        </a:lnTo>
                        <a:lnTo>
                          <a:pt x="2793" y="5977"/>
                        </a:lnTo>
                        <a:lnTo>
                          <a:pt x="2745" y="5965"/>
                        </a:lnTo>
                        <a:lnTo>
                          <a:pt x="2674" y="5977"/>
                        </a:lnTo>
                        <a:lnTo>
                          <a:pt x="2650" y="5977"/>
                        </a:lnTo>
                        <a:lnTo>
                          <a:pt x="2626" y="5953"/>
                        </a:lnTo>
                        <a:lnTo>
                          <a:pt x="2603" y="5882"/>
                        </a:lnTo>
                        <a:lnTo>
                          <a:pt x="2603" y="5728"/>
                        </a:lnTo>
                        <a:lnTo>
                          <a:pt x="2626" y="5680"/>
                        </a:lnTo>
                        <a:lnTo>
                          <a:pt x="2603" y="5632"/>
                        </a:lnTo>
                        <a:lnTo>
                          <a:pt x="2519" y="5573"/>
                        </a:lnTo>
                        <a:lnTo>
                          <a:pt x="2436" y="5478"/>
                        </a:lnTo>
                        <a:lnTo>
                          <a:pt x="2317" y="5430"/>
                        </a:lnTo>
                        <a:lnTo>
                          <a:pt x="2294" y="5407"/>
                        </a:lnTo>
                        <a:lnTo>
                          <a:pt x="2258" y="5288"/>
                        </a:lnTo>
                        <a:lnTo>
                          <a:pt x="2234" y="5240"/>
                        </a:lnTo>
                        <a:lnTo>
                          <a:pt x="2234" y="5228"/>
                        </a:lnTo>
                        <a:lnTo>
                          <a:pt x="2163" y="5098"/>
                        </a:lnTo>
                        <a:lnTo>
                          <a:pt x="2151" y="5074"/>
                        </a:lnTo>
                        <a:lnTo>
                          <a:pt x="2127" y="5050"/>
                        </a:lnTo>
                        <a:lnTo>
                          <a:pt x="2103" y="4955"/>
                        </a:lnTo>
                        <a:lnTo>
                          <a:pt x="2056" y="4872"/>
                        </a:lnTo>
                        <a:lnTo>
                          <a:pt x="2032" y="4872"/>
                        </a:lnTo>
                        <a:lnTo>
                          <a:pt x="2020" y="4872"/>
                        </a:lnTo>
                        <a:lnTo>
                          <a:pt x="2008" y="4848"/>
                        </a:lnTo>
                        <a:lnTo>
                          <a:pt x="2020" y="4777"/>
                        </a:lnTo>
                        <a:lnTo>
                          <a:pt x="2008" y="4765"/>
                        </a:lnTo>
                        <a:lnTo>
                          <a:pt x="2020" y="4741"/>
                        </a:lnTo>
                        <a:lnTo>
                          <a:pt x="2056" y="4622"/>
                        </a:lnTo>
                        <a:lnTo>
                          <a:pt x="2044" y="4587"/>
                        </a:lnTo>
                        <a:lnTo>
                          <a:pt x="2044" y="4575"/>
                        </a:lnTo>
                        <a:lnTo>
                          <a:pt x="2068" y="4563"/>
                        </a:lnTo>
                        <a:lnTo>
                          <a:pt x="2080" y="4539"/>
                        </a:lnTo>
                        <a:lnTo>
                          <a:pt x="2080" y="4527"/>
                        </a:lnTo>
                        <a:lnTo>
                          <a:pt x="2080" y="4504"/>
                        </a:lnTo>
                        <a:lnTo>
                          <a:pt x="2092" y="4492"/>
                        </a:lnTo>
                        <a:lnTo>
                          <a:pt x="2068" y="4468"/>
                        </a:lnTo>
                        <a:lnTo>
                          <a:pt x="2008" y="4420"/>
                        </a:lnTo>
                        <a:lnTo>
                          <a:pt x="1961" y="4349"/>
                        </a:lnTo>
                        <a:lnTo>
                          <a:pt x="1818" y="4242"/>
                        </a:lnTo>
                        <a:lnTo>
                          <a:pt x="1771" y="4218"/>
                        </a:lnTo>
                        <a:lnTo>
                          <a:pt x="1747" y="4195"/>
                        </a:lnTo>
                        <a:lnTo>
                          <a:pt x="1735" y="4171"/>
                        </a:lnTo>
                        <a:lnTo>
                          <a:pt x="1735" y="4135"/>
                        </a:lnTo>
                        <a:lnTo>
                          <a:pt x="1711" y="4040"/>
                        </a:lnTo>
                        <a:lnTo>
                          <a:pt x="1676" y="3969"/>
                        </a:lnTo>
                        <a:lnTo>
                          <a:pt x="1687" y="3933"/>
                        </a:lnTo>
                        <a:lnTo>
                          <a:pt x="1723" y="3921"/>
                        </a:lnTo>
                        <a:lnTo>
                          <a:pt x="1735" y="3909"/>
                        </a:lnTo>
                        <a:lnTo>
                          <a:pt x="1735" y="3886"/>
                        </a:lnTo>
                        <a:lnTo>
                          <a:pt x="1711" y="3814"/>
                        </a:lnTo>
                        <a:lnTo>
                          <a:pt x="1687" y="3802"/>
                        </a:lnTo>
                        <a:lnTo>
                          <a:pt x="1652" y="3814"/>
                        </a:lnTo>
                        <a:lnTo>
                          <a:pt x="1616" y="3838"/>
                        </a:lnTo>
                        <a:lnTo>
                          <a:pt x="1592" y="3838"/>
                        </a:lnTo>
                        <a:lnTo>
                          <a:pt x="1592" y="3826"/>
                        </a:lnTo>
                        <a:lnTo>
                          <a:pt x="1592" y="3790"/>
                        </a:lnTo>
                        <a:lnTo>
                          <a:pt x="1569" y="3707"/>
                        </a:lnTo>
                        <a:lnTo>
                          <a:pt x="1521" y="3684"/>
                        </a:lnTo>
                        <a:lnTo>
                          <a:pt x="1462" y="3695"/>
                        </a:lnTo>
                        <a:lnTo>
                          <a:pt x="1450" y="3695"/>
                        </a:lnTo>
                        <a:lnTo>
                          <a:pt x="1474" y="3672"/>
                        </a:lnTo>
                        <a:lnTo>
                          <a:pt x="1462" y="3636"/>
                        </a:lnTo>
                        <a:lnTo>
                          <a:pt x="1438" y="3636"/>
                        </a:lnTo>
                        <a:lnTo>
                          <a:pt x="1426" y="3648"/>
                        </a:lnTo>
                        <a:lnTo>
                          <a:pt x="1402" y="3636"/>
                        </a:lnTo>
                        <a:lnTo>
                          <a:pt x="1367" y="3588"/>
                        </a:lnTo>
                        <a:lnTo>
                          <a:pt x="1355" y="3600"/>
                        </a:lnTo>
                        <a:lnTo>
                          <a:pt x="1355" y="3624"/>
                        </a:lnTo>
                        <a:lnTo>
                          <a:pt x="1343" y="3636"/>
                        </a:lnTo>
                        <a:lnTo>
                          <a:pt x="1295" y="3624"/>
                        </a:lnTo>
                        <a:lnTo>
                          <a:pt x="1248" y="3600"/>
                        </a:lnTo>
                        <a:lnTo>
                          <a:pt x="1248" y="3624"/>
                        </a:lnTo>
                        <a:lnTo>
                          <a:pt x="1236" y="3636"/>
                        </a:lnTo>
                        <a:lnTo>
                          <a:pt x="1212" y="3612"/>
                        </a:lnTo>
                        <a:lnTo>
                          <a:pt x="1176" y="3612"/>
                        </a:lnTo>
                        <a:lnTo>
                          <a:pt x="1153" y="3577"/>
                        </a:lnTo>
                        <a:lnTo>
                          <a:pt x="1129" y="3577"/>
                        </a:lnTo>
                        <a:lnTo>
                          <a:pt x="1105" y="3553"/>
                        </a:lnTo>
                        <a:lnTo>
                          <a:pt x="1070" y="3541"/>
                        </a:lnTo>
                        <a:lnTo>
                          <a:pt x="1034" y="3481"/>
                        </a:lnTo>
                        <a:lnTo>
                          <a:pt x="998" y="3481"/>
                        </a:lnTo>
                        <a:lnTo>
                          <a:pt x="963" y="3505"/>
                        </a:lnTo>
                        <a:lnTo>
                          <a:pt x="951" y="3505"/>
                        </a:lnTo>
                        <a:lnTo>
                          <a:pt x="939" y="3481"/>
                        </a:lnTo>
                        <a:lnTo>
                          <a:pt x="951" y="3458"/>
                        </a:lnTo>
                        <a:lnTo>
                          <a:pt x="915" y="3422"/>
                        </a:lnTo>
                        <a:lnTo>
                          <a:pt x="915" y="3398"/>
                        </a:lnTo>
                        <a:lnTo>
                          <a:pt x="891" y="3375"/>
                        </a:lnTo>
                        <a:lnTo>
                          <a:pt x="891" y="3351"/>
                        </a:lnTo>
                        <a:lnTo>
                          <a:pt x="856" y="3315"/>
                        </a:lnTo>
                        <a:lnTo>
                          <a:pt x="832" y="3315"/>
                        </a:lnTo>
                        <a:lnTo>
                          <a:pt x="808" y="3351"/>
                        </a:lnTo>
                        <a:lnTo>
                          <a:pt x="796" y="3339"/>
                        </a:lnTo>
                        <a:lnTo>
                          <a:pt x="737" y="3279"/>
                        </a:lnTo>
                        <a:lnTo>
                          <a:pt x="701" y="3244"/>
                        </a:lnTo>
                        <a:lnTo>
                          <a:pt x="665" y="3208"/>
                        </a:lnTo>
                        <a:lnTo>
                          <a:pt x="630" y="3196"/>
                        </a:lnTo>
                        <a:lnTo>
                          <a:pt x="606" y="3173"/>
                        </a:lnTo>
                        <a:lnTo>
                          <a:pt x="582" y="3184"/>
                        </a:lnTo>
                        <a:lnTo>
                          <a:pt x="559" y="3196"/>
                        </a:lnTo>
                        <a:lnTo>
                          <a:pt x="499" y="3184"/>
                        </a:lnTo>
                        <a:lnTo>
                          <a:pt x="428" y="3196"/>
                        </a:lnTo>
                        <a:lnTo>
                          <a:pt x="333" y="3149"/>
                        </a:lnTo>
                        <a:lnTo>
                          <a:pt x="250" y="3161"/>
                        </a:lnTo>
                        <a:lnTo>
                          <a:pt x="178" y="3161"/>
                        </a:lnTo>
                        <a:lnTo>
                          <a:pt x="154" y="3149"/>
                        </a:lnTo>
                        <a:lnTo>
                          <a:pt x="143" y="3125"/>
                        </a:lnTo>
                        <a:lnTo>
                          <a:pt x="119" y="2935"/>
                        </a:lnTo>
                        <a:lnTo>
                          <a:pt x="83" y="2864"/>
                        </a:lnTo>
                        <a:lnTo>
                          <a:pt x="71" y="2828"/>
                        </a:lnTo>
                        <a:lnTo>
                          <a:pt x="83" y="2768"/>
                        </a:lnTo>
                        <a:lnTo>
                          <a:pt x="107" y="2709"/>
                        </a:lnTo>
                        <a:lnTo>
                          <a:pt x="119" y="2673"/>
                        </a:lnTo>
                        <a:lnTo>
                          <a:pt x="83" y="2590"/>
                        </a:lnTo>
                        <a:lnTo>
                          <a:pt x="83" y="2507"/>
                        </a:lnTo>
                        <a:lnTo>
                          <a:pt x="59" y="2471"/>
                        </a:lnTo>
                        <a:lnTo>
                          <a:pt x="24" y="2436"/>
                        </a:lnTo>
                        <a:lnTo>
                          <a:pt x="0" y="240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0" name="Freeform 296"/>
                  <p:cNvSpPr>
                    <a:spLocks/>
                  </p:cNvSpPr>
                  <p:nvPr/>
                </p:nvSpPr>
                <p:spPr bwMode="auto">
                  <a:xfrm>
                    <a:off x="12272963" y="-27744738"/>
                    <a:ext cx="473075" cy="641350"/>
                  </a:xfrm>
                  <a:custGeom>
                    <a:avLst/>
                    <a:gdLst/>
                    <a:ahLst/>
                    <a:cxnLst>
                      <a:cxn ang="0">
                        <a:pos x="107" y="0"/>
                      </a:cxn>
                      <a:cxn ang="0">
                        <a:pos x="167" y="23"/>
                      </a:cxn>
                      <a:cxn ang="0">
                        <a:pos x="202" y="95"/>
                      </a:cxn>
                      <a:cxn ang="0">
                        <a:pos x="274" y="190"/>
                      </a:cxn>
                      <a:cxn ang="0">
                        <a:pos x="298" y="297"/>
                      </a:cxn>
                      <a:cxn ang="0">
                        <a:pos x="286" y="332"/>
                      </a:cxn>
                      <a:cxn ang="0">
                        <a:pos x="250" y="344"/>
                      </a:cxn>
                      <a:cxn ang="0">
                        <a:pos x="226" y="368"/>
                      </a:cxn>
                      <a:cxn ang="0">
                        <a:pos x="214" y="404"/>
                      </a:cxn>
                      <a:cxn ang="0">
                        <a:pos x="191" y="404"/>
                      </a:cxn>
                      <a:cxn ang="0">
                        <a:pos x="143" y="392"/>
                      </a:cxn>
                      <a:cxn ang="0">
                        <a:pos x="131" y="368"/>
                      </a:cxn>
                      <a:cxn ang="0">
                        <a:pos x="131" y="332"/>
                      </a:cxn>
                      <a:cxn ang="0">
                        <a:pos x="84" y="285"/>
                      </a:cxn>
                      <a:cxn ang="0">
                        <a:pos x="84" y="261"/>
                      </a:cxn>
                      <a:cxn ang="0">
                        <a:pos x="48" y="202"/>
                      </a:cxn>
                      <a:cxn ang="0">
                        <a:pos x="60" y="106"/>
                      </a:cxn>
                      <a:cxn ang="0">
                        <a:pos x="48" y="71"/>
                      </a:cxn>
                      <a:cxn ang="0">
                        <a:pos x="12" y="59"/>
                      </a:cxn>
                      <a:cxn ang="0">
                        <a:pos x="0" y="35"/>
                      </a:cxn>
                      <a:cxn ang="0">
                        <a:pos x="12" y="11"/>
                      </a:cxn>
                      <a:cxn ang="0">
                        <a:pos x="60" y="0"/>
                      </a:cxn>
                      <a:cxn ang="0">
                        <a:pos x="107" y="0"/>
                      </a:cxn>
                    </a:cxnLst>
                    <a:rect l="0" t="0" r="r" b="b"/>
                    <a:pathLst>
                      <a:path w="298" h="404">
                        <a:moveTo>
                          <a:pt x="107" y="0"/>
                        </a:moveTo>
                        <a:lnTo>
                          <a:pt x="167" y="23"/>
                        </a:lnTo>
                        <a:lnTo>
                          <a:pt x="202" y="95"/>
                        </a:lnTo>
                        <a:lnTo>
                          <a:pt x="274" y="190"/>
                        </a:lnTo>
                        <a:lnTo>
                          <a:pt x="298" y="297"/>
                        </a:lnTo>
                        <a:lnTo>
                          <a:pt x="286" y="332"/>
                        </a:lnTo>
                        <a:lnTo>
                          <a:pt x="250" y="344"/>
                        </a:lnTo>
                        <a:lnTo>
                          <a:pt x="226" y="368"/>
                        </a:lnTo>
                        <a:lnTo>
                          <a:pt x="214" y="404"/>
                        </a:lnTo>
                        <a:lnTo>
                          <a:pt x="191" y="404"/>
                        </a:lnTo>
                        <a:lnTo>
                          <a:pt x="143" y="392"/>
                        </a:lnTo>
                        <a:lnTo>
                          <a:pt x="131" y="368"/>
                        </a:lnTo>
                        <a:lnTo>
                          <a:pt x="131" y="332"/>
                        </a:lnTo>
                        <a:lnTo>
                          <a:pt x="84" y="285"/>
                        </a:lnTo>
                        <a:lnTo>
                          <a:pt x="84" y="261"/>
                        </a:lnTo>
                        <a:lnTo>
                          <a:pt x="48" y="202"/>
                        </a:lnTo>
                        <a:lnTo>
                          <a:pt x="60" y="106"/>
                        </a:lnTo>
                        <a:lnTo>
                          <a:pt x="48" y="71"/>
                        </a:lnTo>
                        <a:lnTo>
                          <a:pt x="12" y="59"/>
                        </a:lnTo>
                        <a:lnTo>
                          <a:pt x="0" y="35"/>
                        </a:lnTo>
                        <a:lnTo>
                          <a:pt x="12" y="11"/>
                        </a:lnTo>
                        <a:lnTo>
                          <a:pt x="60" y="0"/>
                        </a:lnTo>
                        <a:lnTo>
                          <a:pt x="107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1" name="Freeform 298"/>
                  <p:cNvSpPr>
                    <a:spLocks/>
                  </p:cNvSpPr>
                  <p:nvPr/>
                </p:nvSpPr>
                <p:spPr bwMode="auto">
                  <a:xfrm>
                    <a:off x="12877800" y="-27103388"/>
                    <a:ext cx="74613" cy="55563"/>
                  </a:xfrm>
                  <a:custGeom>
                    <a:avLst/>
                    <a:gdLst/>
                    <a:ahLst/>
                    <a:cxnLst>
                      <a:cxn ang="0">
                        <a:pos x="23" y="0"/>
                      </a:cxn>
                      <a:cxn ang="0">
                        <a:pos x="47" y="11"/>
                      </a:cxn>
                      <a:cxn ang="0">
                        <a:pos x="47" y="35"/>
                      </a:cxn>
                      <a:cxn ang="0">
                        <a:pos x="23" y="35"/>
                      </a:cxn>
                      <a:cxn ang="0">
                        <a:pos x="0" y="11"/>
                      </a:cxn>
                      <a:cxn ang="0">
                        <a:pos x="0" y="0"/>
                      </a:cxn>
                      <a:cxn ang="0">
                        <a:pos x="23" y="0"/>
                      </a:cxn>
                    </a:cxnLst>
                    <a:rect l="0" t="0" r="r" b="b"/>
                    <a:pathLst>
                      <a:path w="47" h="35">
                        <a:moveTo>
                          <a:pt x="23" y="0"/>
                        </a:moveTo>
                        <a:lnTo>
                          <a:pt x="47" y="11"/>
                        </a:lnTo>
                        <a:lnTo>
                          <a:pt x="47" y="35"/>
                        </a:lnTo>
                        <a:lnTo>
                          <a:pt x="23" y="35"/>
                        </a:lnTo>
                        <a:lnTo>
                          <a:pt x="0" y="11"/>
                        </a:lnTo>
                        <a:lnTo>
                          <a:pt x="0" y="0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2" name="Freeform 300"/>
                  <p:cNvSpPr>
                    <a:spLocks/>
                  </p:cNvSpPr>
                  <p:nvPr/>
                </p:nvSpPr>
                <p:spPr bwMode="auto">
                  <a:xfrm>
                    <a:off x="12801600" y="-25293638"/>
                    <a:ext cx="528638" cy="339725"/>
                  </a:xfrm>
                  <a:custGeom>
                    <a:avLst/>
                    <a:gdLst/>
                    <a:ahLst/>
                    <a:cxnLst>
                      <a:cxn ang="0">
                        <a:pos x="309" y="0"/>
                      </a:cxn>
                      <a:cxn ang="0">
                        <a:pos x="333" y="12"/>
                      </a:cxn>
                      <a:cxn ang="0">
                        <a:pos x="333" y="24"/>
                      </a:cxn>
                      <a:cxn ang="0">
                        <a:pos x="333" y="48"/>
                      </a:cxn>
                      <a:cxn ang="0">
                        <a:pos x="297" y="72"/>
                      </a:cxn>
                      <a:cxn ang="0">
                        <a:pos x="262" y="119"/>
                      </a:cxn>
                      <a:cxn ang="0">
                        <a:pos x="250" y="155"/>
                      </a:cxn>
                      <a:cxn ang="0">
                        <a:pos x="226" y="167"/>
                      </a:cxn>
                      <a:cxn ang="0">
                        <a:pos x="202" y="191"/>
                      </a:cxn>
                      <a:cxn ang="0">
                        <a:pos x="167" y="214"/>
                      </a:cxn>
                      <a:cxn ang="0">
                        <a:pos x="107" y="202"/>
                      </a:cxn>
                      <a:cxn ang="0">
                        <a:pos x="24" y="214"/>
                      </a:cxn>
                      <a:cxn ang="0">
                        <a:pos x="0" y="202"/>
                      </a:cxn>
                      <a:cxn ang="0">
                        <a:pos x="0" y="167"/>
                      </a:cxn>
                      <a:cxn ang="0">
                        <a:pos x="0" y="119"/>
                      </a:cxn>
                      <a:cxn ang="0">
                        <a:pos x="0" y="95"/>
                      </a:cxn>
                      <a:cxn ang="0">
                        <a:pos x="71" y="36"/>
                      </a:cxn>
                      <a:cxn ang="0">
                        <a:pos x="95" y="36"/>
                      </a:cxn>
                      <a:cxn ang="0">
                        <a:pos x="250" y="48"/>
                      </a:cxn>
                      <a:cxn ang="0">
                        <a:pos x="274" y="36"/>
                      </a:cxn>
                      <a:cxn ang="0">
                        <a:pos x="309" y="0"/>
                      </a:cxn>
                    </a:cxnLst>
                    <a:rect l="0" t="0" r="r" b="b"/>
                    <a:pathLst>
                      <a:path w="333" h="214">
                        <a:moveTo>
                          <a:pt x="309" y="0"/>
                        </a:moveTo>
                        <a:lnTo>
                          <a:pt x="333" y="12"/>
                        </a:lnTo>
                        <a:lnTo>
                          <a:pt x="333" y="24"/>
                        </a:lnTo>
                        <a:lnTo>
                          <a:pt x="333" y="48"/>
                        </a:lnTo>
                        <a:lnTo>
                          <a:pt x="297" y="72"/>
                        </a:lnTo>
                        <a:lnTo>
                          <a:pt x="262" y="119"/>
                        </a:lnTo>
                        <a:lnTo>
                          <a:pt x="250" y="155"/>
                        </a:lnTo>
                        <a:lnTo>
                          <a:pt x="226" y="167"/>
                        </a:lnTo>
                        <a:lnTo>
                          <a:pt x="202" y="191"/>
                        </a:lnTo>
                        <a:lnTo>
                          <a:pt x="167" y="214"/>
                        </a:lnTo>
                        <a:lnTo>
                          <a:pt x="107" y="202"/>
                        </a:lnTo>
                        <a:lnTo>
                          <a:pt x="24" y="214"/>
                        </a:lnTo>
                        <a:lnTo>
                          <a:pt x="0" y="202"/>
                        </a:lnTo>
                        <a:lnTo>
                          <a:pt x="0" y="167"/>
                        </a:lnTo>
                        <a:lnTo>
                          <a:pt x="0" y="119"/>
                        </a:lnTo>
                        <a:lnTo>
                          <a:pt x="0" y="95"/>
                        </a:lnTo>
                        <a:lnTo>
                          <a:pt x="71" y="36"/>
                        </a:lnTo>
                        <a:lnTo>
                          <a:pt x="95" y="36"/>
                        </a:lnTo>
                        <a:lnTo>
                          <a:pt x="250" y="48"/>
                        </a:lnTo>
                        <a:lnTo>
                          <a:pt x="274" y="36"/>
                        </a:lnTo>
                        <a:lnTo>
                          <a:pt x="309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3" name="Freeform 302"/>
                  <p:cNvSpPr>
                    <a:spLocks/>
                  </p:cNvSpPr>
                  <p:nvPr/>
                </p:nvSpPr>
                <p:spPr bwMode="auto">
                  <a:xfrm>
                    <a:off x="13198475" y="-25538113"/>
                    <a:ext cx="244475" cy="169863"/>
                  </a:xfrm>
                  <a:custGeom>
                    <a:avLst/>
                    <a:gdLst/>
                    <a:ahLst/>
                    <a:cxnLst>
                      <a:cxn ang="0">
                        <a:pos x="119" y="0"/>
                      </a:cxn>
                      <a:cxn ang="0">
                        <a:pos x="142" y="0"/>
                      </a:cxn>
                      <a:cxn ang="0">
                        <a:pos x="154" y="36"/>
                      </a:cxn>
                      <a:cxn ang="0">
                        <a:pos x="142" y="71"/>
                      </a:cxn>
                      <a:cxn ang="0">
                        <a:pos x="107" y="95"/>
                      </a:cxn>
                      <a:cxn ang="0">
                        <a:pos x="59" y="107"/>
                      </a:cxn>
                      <a:cxn ang="0">
                        <a:pos x="12" y="107"/>
                      </a:cxn>
                      <a:cxn ang="0">
                        <a:pos x="0" y="95"/>
                      </a:cxn>
                      <a:cxn ang="0">
                        <a:pos x="59" y="12"/>
                      </a:cxn>
                      <a:cxn ang="0">
                        <a:pos x="83" y="0"/>
                      </a:cxn>
                      <a:cxn ang="0">
                        <a:pos x="119" y="0"/>
                      </a:cxn>
                    </a:cxnLst>
                    <a:rect l="0" t="0" r="r" b="b"/>
                    <a:pathLst>
                      <a:path w="154" h="107">
                        <a:moveTo>
                          <a:pt x="119" y="0"/>
                        </a:moveTo>
                        <a:lnTo>
                          <a:pt x="142" y="0"/>
                        </a:lnTo>
                        <a:lnTo>
                          <a:pt x="154" y="36"/>
                        </a:lnTo>
                        <a:lnTo>
                          <a:pt x="142" y="71"/>
                        </a:lnTo>
                        <a:lnTo>
                          <a:pt x="107" y="95"/>
                        </a:lnTo>
                        <a:lnTo>
                          <a:pt x="59" y="107"/>
                        </a:lnTo>
                        <a:lnTo>
                          <a:pt x="12" y="107"/>
                        </a:lnTo>
                        <a:lnTo>
                          <a:pt x="0" y="95"/>
                        </a:lnTo>
                        <a:lnTo>
                          <a:pt x="59" y="12"/>
                        </a:lnTo>
                        <a:lnTo>
                          <a:pt x="83" y="0"/>
                        </a:lnTo>
                        <a:lnTo>
                          <a:pt x="119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136" name="Group 656"/>
                <p:cNvGrpSpPr/>
                <p:nvPr/>
              </p:nvGrpSpPr>
              <p:grpSpPr>
                <a:xfrm>
                  <a:off x="15801980" y="-21558250"/>
                  <a:ext cx="13149256" cy="17602198"/>
                  <a:chOff x="15801975" y="-21558250"/>
                  <a:chExt cx="13149263" cy="17602200"/>
                </a:xfrm>
                <a:grpFill/>
              </p:grpSpPr>
              <p:sp>
                <p:nvSpPr>
                  <p:cNvPr id="141" name="Freeform 280"/>
                  <p:cNvSpPr>
                    <a:spLocks/>
                  </p:cNvSpPr>
                  <p:nvPr/>
                </p:nvSpPr>
                <p:spPr bwMode="auto">
                  <a:xfrm>
                    <a:off x="22602827" y="-20916900"/>
                    <a:ext cx="74609" cy="170254"/>
                  </a:xfrm>
                  <a:custGeom>
                    <a:avLst/>
                    <a:gdLst>
                      <a:gd name="connsiteX0" fmla="*/ 6429 w 10000"/>
                      <a:gd name="connsiteY0" fmla="*/ 9019 h 10164"/>
                      <a:gd name="connsiteX1" fmla="*/ 10000 w 10000"/>
                      <a:gd name="connsiteY1" fmla="*/ 5607 h 10164"/>
                      <a:gd name="connsiteX2" fmla="*/ 10000 w 10000"/>
                      <a:gd name="connsiteY2" fmla="*/ 1121 h 10164"/>
                      <a:gd name="connsiteX3" fmla="*/ 6857 w 10000"/>
                      <a:gd name="connsiteY3" fmla="*/ 0 h 10164"/>
                      <a:gd name="connsiteX4" fmla="*/ 3429 w 10000"/>
                      <a:gd name="connsiteY4" fmla="*/ 0 h 10164"/>
                      <a:gd name="connsiteX5" fmla="*/ 0 w 10000"/>
                      <a:gd name="connsiteY5" fmla="*/ 4486 h 10164"/>
                      <a:gd name="connsiteX6" fmla="*/ 0 w 10000"/>
                      <a:gd name="connsiteY6" fmla="*/ 10000 h 10164"/>
                      <a:gd name="connsiteX7" fmla="*/ 3429 w 10000"/>
                      <a:gd name="connsiteY7" fmla="*/ 10000 h 10164"/>
                      <a:gd name="connsiteX8" fmla="*/ 6429 w 10000"/>
                      <a:gd name="connsiteY8" fmla="*/ 9019 h 10164"/>
                      <a:gd name="connsiteX0" fmla="*/ 8143 w 11714"/>
                      <a:gd name="connsiteY0" fmla="*/ 9019 h 10023"/>
                      <a:gd name="connsiteX1" fmla="*/ 11714 w 11714"/>
                      <a:gd name="connsiteY1" fmla="*/ 5607 h 10023"/>
                      <a:gd name="connsiteX2" fmla="*/ 11714 w 11714"/>
                      <a:gd name="connsiteY2" fmla="*/ 1121 h 10023"/>
                      <a:gd name="connsiteX3" fmla="*/ 8571 w 11714"/>
                      <a:gd name="connsiteY3" fmla="*/ 0 h 10023"/>
                      <a:gd name="connsiteX4" fmla="*/ 5143 w 11714"/>
                      <a:gd name="connsiteY4" fmla="*/ 0 h 10023"/>
                      <a:gd name="connsiteX5" fmla="*/ 1714 w 11714"/>
                      <a:gd name="connsiteY5" fmla="*/ 4486 h 10023"/>
                      <a:gd name="connsiteX6" fmla="*/ 0 w 11714"/>
                      <a:gd name="connsiteY6" fmla="*/ 9159 h 10023"/>
                      <a:gd name="connsiteX7" fmla="*/ 5143 w 11714"/>
                      <a:gd name="connsiteY7" fmla="*/ 10000 h 10023"/>
                      <a:gd name="connsiteX8" fmla="*/ 8143 w 11714"/>
                      <a:gd name="connsiteY8" fmla="*/ 9019 h 10023"/>
                      <a:gd name="connsiteX0" fmla="*/ 8143 w 13428"/>
                      <a:gd name="connsiteY0" fmla="*/ 9019 h 10023"/>
                      <a:gd name="connsiteX1" fmla="*/ 13428 w 13428"/>
                      <a:gd name="connsiteY1" fmla="*/ 5607 h 10023"/>
                      <a:gd name="connsiteX2" fmla="*/ 11714 w 13428"/>
                      <a:gd name="connsiteY2" fmla="*/ 1121 h 10023"/>
                      <a:gd name="connsiteX3" fmla="*/ 8571 w 13428"/>
                      <a:gd name="connsiteY3" fmla="*/ 0 h 10023"/>
                      <a:gd name="connsiteX4" fmla="*/ 5143 w 13428"/>
                      <a:gd name="connsiteY4" fmla="*/ 0 h 10023"/>
                      <a:gd name="connsiteX5" fmla="*/ 1714 w 13428"/>
                      <a:gd name="connsiteY5" fmla="*/ 4486 h 10023"/>
                      <a:gd name="connsiteX6" fmla="*/ 0 w 13428"/>
                      <a:gd name="connsiteY6" fmla="*/ 9159 h 10023"/>
                      <a:gd name="connsiteX7" fmla="*/ 5143 w 13428"/>
                      <a:gd name="connsiteY7" fmla="*/ 10000 h 10023"/>
                      <a:gd name="connsiteX8" fmla="*/ 8143 w 13428"/>
                      <a:gd name="connsiteY8" fmla="*/ 9019 h 100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3428" h="10023">
                        <a:moveTo>
                          <a:pt x="8143" y="9019"/>
                        </a:moveTo>
                        <a:lnTo>
                          <a:pt x="13428" y="5607"/>
                        </a:lnTo>
                        <a:lnTo>
                          <a:pt x="11714" y="1121"/>
                        </a:lnTo>
                        <a:lnTo>
                          <a:pt x="8571" y="0"/>
                        </a:lnTo>
                        <a:lnTo>
                          <a:pt x="5143" y="0"/>
                        </a:lnTo>
                        <a:lnTo>
                          <a:pt x="1714" y="4486"/>
                        </a:lnTo>
                        <a:lnTo>
                          <a:pt x="0" y="9159"/>
                        </a:lnTo>
                        <a:cubicBezTo>
                          <a:pt x="1143" y="9159"/>
                          <a:pt x="3786" y="10023"/>
                          <a:pt x="5143" y="10000"/>
                        </a:cubicBezTo>
                        <a:cubicBezTo>
                          <a:pt x="6500" y="9977"/>
                          <a:pt x="7143" y="9346"/>
                          <a:pt x="8143" y="9019"/>
                        </a:cubicBez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2" name="Freeform 258"/>
                  <p:cNvSpPr>
                    <a:spLocks/>
                  </p:cNvSpPr>
                  <p:nvPr/>
                </p:nvSpPr>
                <p:spPr bwMode="auto">
                  <a:xfrm>
                    <a:off x="15801975" y="-21463000"/>
                    <a:ext cx="13149263" cy="17506950"/>
                  </a:xfrm>
                  <a:custGeom>
                    <a:avLst/>
                    <a:gdLst/>
                    <a:ahLst/>
                    <a:cxnLst>
                      <a:cxn ang="0">
                        <a:pos x="7950" y="2127"/>
                      </a:cxn>
                      <a:cxn ang="0">
                        <a:pos x="7558" y="2032"/>
                      </a:cxn>
                      <a:cxn ang="0">
                        <a:pos x="6536" y="1545"/>
                      </a:cxn>
                      <a:cxn ang="0">
                        <a:pos x="6310" y="1723"/>
                      </a:cxn>
                      <a:cxn ang="0">
                        <a:pos x="6108" y="1735"/>
                      </a:cxn>
                      <a:cxn ang="0">
                        <a:pos x="5763" y="1842"/>
                      </a:cxn>
                      <a:cxn ang="0">
                        <a:pos x="5371" y="2115"/>
                      </a:cxn>
                      <a:cxn ang="0">
                        <a:pos x="5371" y="1925"/>
                      </a:cxn>
                      <a:cxn ang="0">
                        <a:pos x="5585" y="1568"/>
                      </a:cxn>
                      <a:cxn ang="0">
                        <a:pos x="5169" y="1984"/>
                      </a:cxn>
                      <a:cxn ang="0">
                        <a:pos x="4741" y="2638"/>
                      </a:cxn>
                      <a:cxn ang="0">
                        <a:pos x="4706" y="2614"/>
                      </a:cxn>
                      <a:cxn ang="0">
                        <a:pos x="4860" y="2068"/>
                      </a:cxn>
                      <a:cxn ang="0">
                        <a:pos x="5015" y="1640"/>
                      </a:cxn>
                      <a:cxn ang="0">
                        <a:pos x="4967" y="1331"/>
                      </a:cxn>
                      <a:cxn ang="0">
                        <a:pos x="4836" y="1438"/>
                      </a:cxn>
                      <a:cxn ang="0">
                        <a:pos x="5086" y="1129"/>
                      </a:cxn>
                      <a:cxn ang="0">
                        <a:pos x="4908" y="927"/>
                      </a:cxn>
                      <a:cxn ang="0">
                        <a:pos x="4777" y="867"/>
                      </a:cxn>
                      <a:cxn ang="0">
                        <a:pos x="4551" y="582"/>
                      </a:cxn>
                      <a:cxn ang="0">
                        <a:pos x="4409" y="618"/>
                      </a:cxn>
                      <a:cxn ang="0">
                        <a:pos x="4242" y="463"/>
                      </a:cxn>
                      <a:cxn ang="0">
                        <a:pos x="4171" y="903"/>
                      </a:cxn>
                      <a:cxn ang="0">
                        <a:pos x="4112" y="820"/>
                      </a:cxn>
                      <a:cxn ang="0">
                        <a:pos x="3945" y="451"/>
                      </a:cxn>
                      <a:cxn ang="0">
                        <a:pos x="3933" y="249"/>
                      </a:cxn>
                      <a:cxn ang="0">
                        <a:pos x="3743" y="273"/>
                      </a:cxn>
                      <a:cxn ang="0">
                        <a:pos x="3601" y="309"/>
                      </a:cxn>
                      <a:cxn ang="0">
                        <a:pos x="3660" y="119"/>
                      </a:cxn>
                      <a:cxn ang="0">
                        <a:pos x="3458" y="107"/>
                      </a:cxn>
                      <a:cxn ang="0">
                        <a:pos x="3375" y="107"/>
                      </a:cxn>
                      <a:cxn ang="0">
                        <a:pos x="3220" y="12"/>
                      </a:cxn>
                      <a:cxn ang="0">
                        <a:pos x="3042" y="630"/>
                      </a:cxn>
                      <a:cxn ang="0">
                        <a:pos x="2971" y="974"/>
                      </a:cxn>
                      <a:cxn ang="0">
                        <a:pos x="2709" y="1473"/>
                      </a:cxn>
                      <a:cxn ang="0">
                        <a:pos x="2472" y="1889"/>
                      </a:cxn>
                      <a:cxn ang="0">
                        <a:pos x="2412" y="2163"/>
                      </a:cxn>
                      <a:cxn ang="0">
                        <a:pos x="2293" y="2495"/>
                      </a:cxn>
                      <a:cxn ang="0">
                        <a:pos x="1984" y="2935"/>
                      </a:cxn>
                      <a:cxn ang="0">
                        <a:pos x="1354" y="4040"/>
                      </a:cxn>
                      <a:cxn ang="0">
                        <a:pos x="321" y="4896"/>
                      </a:cxn>
                      <a:cxn ang="0">
                        <a:pos x="1438" y="5466"/>
                      </a:cxn>
                      <a:cxn ang="0">
                        <a:pos x="1093" y="7285"/>
                      </a:cxn>
                      <a:cxn ang="0">
                        <a:pos x="1497" y="7760"/>
                      </a:cxn>
                      <a:cxn ang="0">
                        <a:pos x="1996" y="8330"/>
                      </a:cxn>
                      <a:cxn ang="0">
                        <a:pos x="2531" y="8627"/>
                      </a:cxn>
                      <a:cxn ang="0">
                        <a:pos x="1961" y="9590"/>
                      </a:cxn>
                      <a:cxn ang="0">
                        <a:pos x="2329" y="10386"/>
                      </a:cxn>
                      <a:cxn ang="0">
                        <a:pos x="2626" y="10850"/>
                      </a:cxn>
                      <a:cxn ang="0">
                        <a:pos x="3303" y="10398"/>
                      </a:cxn>
                      <a:cxn ang="0">
                        <a:pos x="3185" y="9305"/>
                      </a:cxn>
                      <a:cxn ang="0">
                        <a:pos x="3791" y="8010"/>
                      </a:cxn>
                      <a:cxn ang="0">
                        <a:pos x="4682" y="7558"/>
                      </a:cxn>
                      <a:cxn ang="0">
                        <a:pos x="5442" y="6892"/>
                      </a:cxn>
                      <a:cxn ang="0">
                        <a:pos x="6453" y="6857"/>
                      </a:cxn>
                      <a:cxn ang="0">
                        <a:pos x="6880" y="6227"/>
                      </a:cxn>
                      <a:cxn ang="0">
                        <a:pos x="6655" y="5502"/>
                      </a:cxn>
                      <a:cxn ang="0">
                        <a:pos x="6999" y="4872"/>
                      </a:cxn>
                      <a:cxn ang="0">
                        <a:pos x="6952" y="4112"/>
                      </a:cxn>
                      <a:cxn ang="0">
                        <a:pos x="7118" y="3422"/>
                      </a:cxn>
                      <a:cxn ang="0">
                        <a:pos x="7451" y="2911"/>
                      </a:cxn>
                      <a:cxn ang="0">
                        <a:pos x="7902" y="2697"/>
                      </a:cxn>
                      <a:cxn ang="0">
                        <a:pos x="8259" y="2246"/>
                      </a:cxn>
                    </a:cxnLst>
                    <a:rect l="0" t="0" r="r" b="b"/>
                    <a:pathLst>
                      <a:path w="8283" h="11028">
                        <a:moveTo>
                          <a:pt x="8259" y="2056"/>
                        </a:moveTo>
                        <a:lnTo>
                          <a:pt x="8259" y="2056"/>
                        </a:lnTo>
                        <a:lnTo>
                          <a:pt x="8247" y="2008"/>
                        </a:lnTo>
                        <a:lnTo>
                          <a:pt x="8211" y="1984"/>
                        </a:lnTo>
                        <a:lnTo>
                          <a:pt x="8128" y="2008"/>
                        </a:lnTo>
                        <a:lnTo>
                          <a:pt x="8057" y="1996"/>
                        </a:lnTo>
                        <a:lnTo>
                          <a:pt x="8045" y="2032"/>
                        </a:lnTo>
                        <a:lnTo>
                          <a:pt x="8045" y="2056"/>
                        </a:lnTo>
                        <a:lnTo>
                          <a:pt x="8033" y="2091"/>
                        </a:lnTo>
                        <a:lnTo>
                          <a:pt x="8009" y="2056"/>
                        </a:lnTo>
                        <a:lnTo>
                          <a:pt x="7974" y="1961"/>
                        </a:lnTo>
                        <a:lnTo>
                          <a:pt x="7902" y="1961"/>
                        </a:lnTo>
                        <a:lnTo>
                          <a:pt x="7819" y="1949"/>
                        </a:lnTo>
                        <a:lnTo>
                          <a:pt x="7938" y="2044"/>
                        </a:lnTo>
                        <a:lnTo>
                          <a:pt x="7998" y="2115"/>
                        </a:lnTo>
                        <a:lnTo>
                          <a:pt x="7974" y="2127"/>
                        </a:lnTo>
                        <a:lnTo>
                          <a:pt x="7950" y="2127"/>
                        </a:lnTo>
                        <a:lnTo>
                          <a:pt x="7914" y="2115"/>
                        </a:lnTo>
                        <a:lnTo>
                          <a:pt x="7926" y="2091"/>
                        </a:lnTo>
                        <a:lnTo>
                          <a:pt x="7926" y="2068"/>
                        </a:lnTo>
                        <a:lnTo>
                          <a:pt x="7843" y="1984"/>
                        </a:lnTo>
                        <a:lnTo>
                          <a:pt x="7795" y="1961"/>
                        </a:lnTo>
                        <a:lnTo>
                          <a:pt x="7772" y="1937"/>
                        </a:lnTo>
                        <a:lnTo>
                          <a:pt x="7760" y="1937"/>
                        </a:lnTo>
                        <a:lnTo>
                          <a:pt x="7748" y="1996"/>
                        </a:lnTo>
                        <a:lnTo>
                          <a:pt x="7831" y="2056"/>
                        </a:lnTo>
                        <a:lnTo>
                          <a:pt x="7879" y="2103"/>
                        </a:lnTo>
                        <a:lnTo>
                          <a:pt x="7784" y="2091"/>
                        </a:lnTo>
                        <a:lnTo>
                          <a:pt x="7677" y="2008"/>
                        </a:lnTo>
                        <a:lnTo>
                          <a:pt x="7617" y="2008"/>
                        </a:lnTo>
                        <a:lnTo>
                          <a:pt x="7570" y="1984"/>
                        </a:lnTo>
                        <a:lnTo>
                          <a:pt x="7498" y="1973"/>
                        </a:lnTo>
                        <a:lnTo>
                          <a:pt x="7498" y="1996"/>
                        </a:lnTo>
                        <a:lnTo>
                          <a:pt x="7558" y="2032"/>
                        </a:lnTo>
                        <a:lnTo>
                          <a:pt x="7582" y="2056"/>
                        </a:lnTo>
                        <a:lnTo>
                          <a:pt x="7582" y="2068"/>
                        </a:lnTo>
                        <a:lnTo>
                          <a:pt x="7570" y="2079"/>
                        </a:lnTo>
                        <a:lnTo>
                          <a:pt x="7498" y="2020"/>
                        </a:lnTo>
                        <a:lnTo>
                          <a:pt x="7451" y="2008"/>
                        </a:lnTo>
                        <a:lnTo>
                          <a:pt x="7415" y="1973"/>
                        </a:lnTo>
                        <a:lnTo>
                          <a:pt x="7368" y="1949"/>
                        </a:lnTo>
                        <a:lnTo>
                          <a:pt x="7261" y="1877"/>
                        </a:lnTo>
                        <a:lnTo>
                          <a:pt x="7189" y="1794"/>
                        </a:lnTo>
                        <a:lnTo>
                          <a:pt x="7166" y="1782"/>
                        </a:lnTo>
                        <a:lnTo>
                          <a:pt x="7118" y="1794"/>
                        </a:lnTo>
                        <a:lnTo>
                          <a:pt x="7059" y="1782"/>
                        </a:lnTo>
                        <a:lnTo>
                          <a:pt x="6976" y="1747"/>
                        </a:lnTo>
                        <a:lnTo>
                          <a:pt x="6869" y="1675"/>
                        </a:lnTo>
                        <a:lnTo>
                          <a:pt x="6785" y="1652"/>
                        </a:lnTo>
                        <a:lnTo>
                          <a:pt x="6702" y="1604"/>
                        </a:lnTo>
                        <a:lnTo>
                          <a:pt x="6536" y="1545"/>
                        </a:lnTo>
                        <a:lnTo>
                          <a:pt x="6417" y="1509"/>
                        </a:lnTo>
                        <a:lnTo>
                          <a:pt x="6405" y="1521"/>
                        </a:lnTo>
                        <a:lnTo>
                          <a:pt x="6429" y="1545"/>
                        </a:lnTo>
                        <a:lnTo>
                          <a:pt x="6429" y="1557"/>
                        </a:lnTo>
                        <a:lnTo>
                          <a:pt x="6393" y="1557"/>
                        </a:lnTo>
                        <a:lnTo>
                          <a:pt x="6334" y="1521"/>
                        </a:lnTo>
                        <a:lnTo>
                          <a:pt x="6298" y="1533"/>
                        </a:lnTo>
                        <a:lnTo>
                          <a:pt x="6274" y="1557"/>
                        </a:lnTo>
                        <a:lnTo>
                          <a:pt x="6274" y="1568"/>
                        </a:lnTo>
                        <a:lnTo>
                          <a:pt x="6286" y="1580"/>
                        </a:lnTo>
                        <a:lnTo>
                          <a:pt x="6358" y="1640"/>
                        </a:lnTo>
                        <a:lnTo>
                          <a:pt x="6358" y="1652"/>
                        </a:lnTo>
                        <a:lnTo>
                          <a:pt x="6310" y="1652"/>
                        </a:lnTo>
                        <a:lnTo>
                          <a:pt x="6274" y="1604"/>
                        </a:lnTo>
                        <a:lnTo>
                          <a:pt x="6262" y="1604"/>
                        </a:lnTo>
                        <a:lnTo>
                          <a:pt x="6286" y="1675"/>
                        </a:lnTo>
                        <a:lnTo>
                          <a:pt x="6310" y="1723"/>
                        </a:lnTo>
                        <a:lnTo>
                          <a:pt x="6322" y="1759"/>
                        </a:lnTo>
                        <a:lnTo>
                          <a:pt x="6310" y="1782"/>
                        </a:lnTo>
                        <a:lnTo>
                          <a:pt x="6286" y="1782"/>
                        </a:lnTo>
                        <a:lnTo>
                          <a:pt x="6286" y="1723"/>
                        </a:lnTo>
                        <a:lnTo>
                          <a:pt x="6274" y="1735"/>
                        </a:lnTo>
                        <a:lnTo>
                          <a:pt x="6251" y="1771"/>
                        </a:lnTo>
                        <a:lnTo>
                          <a:pt x="6227" y="1759"/>
                        </a:lnTo>
                        <a:lnTo>
                          <a:pt x="6227" y="1699"/>
                        </a:lnTo>
                        <a:lnTo>
                          <a:pt x="6215" y="1687"/>
                        </a:lnTo>
                        <a:lnTo>
                          <a:pt x="6227" y="1616"/>
                        </a:lnTo>
                        <a:lnTo>
                          <a:pt x="6203" y="1604"/>
                        </a:lnTo>
                        <a:lnTo>
                          <a:pt x="6179" y="1604"/>
                        </a:lnTo>
                        <a:lnTo>
                          <a:pt x="6156" y="1616"/>
                        </a:lnTo>
                        <a:lnTo>
                          <a:pt x="6156" y="1652"/>
                        </a:lnTo>
                        <a:lnTo>
                          <a:pt x="6167" y="1687"/>
                        </a:lnTo>
                        <a:lnTo>
                          <a:pt x="6144" y="1735"/>
                        </a:lnTo>
                        <a:lnTo>
                          <a:pt x="6108" y="1735"/>
                        </a:lnTo>
                        <a:lnTo>
                          <a:pt x="6108" y="1759"/>
                        </a:lnTo>
                        <a:lnTo>
                          <a:pt x="6084" y="1782"/>
                        </a:lnTo>
                        <a:lnTo>
                          <a:pt x="6072" y="1782"/>
                        </a:lnTo>
                        <a:lnTo>
                          <a:pt x="6072" y="1723"/>
                        </a:lnTo>
                        <a:lnTo>
                          <a:pt x="6060" y="1699"/>
                        </a:lnTo>
                        <a:lnTo>
                          <a:pt x="6037" y="1699"/>
                        </a:lnTo>
                        <a:lnTo>
                          <a:pt x="6037" y="1735"/>
                        </a:lnTo>
                        <a:lnTo>
                          <a:pt x="6013" y="1735"/>
                        </a:lnTo>
                        <a:lnTo>
                          <a:pt x="6001" y="1711"/>
                        </a:lnTo>
                        <a:lnTo>
                          <a:pt x="5965" y="1711"/>
                        </a:lnTo>
                        <a:lnTo>
                          <a:pt x="5954" y="1699"/>
                        </a:lnTo>
                        <a:lnTo>
                          <a:pt x="5942" y="1723"/>
                        </a:lnTo>
                        <a:lnTo>
                          <a:pt x="5918" y="1735"/>
                        </a:lnTo>
                        <a:lnTo>
                          <a:pt x="5882" y="1771"/>
                        </a:lnTo>
                        <a:lnTo>
                          <a:pt x="5835" y="1782"/>
                        </a:lnTo>
                        <a:lnTo>
                          <a:pt x="5787" y="1842"/>
                        </a:lnTo>
                        <a:lnTo>
                          <a:pt x="5763" y="1842"/>
                        </a:lnTo>
                        <a:lnTo>
                          <a:pt x="5751" y="1830"/>
                        </a:lnTo>
                        <a:lnTo>
                          <a:pt x="5728" y="1771"/>
                        </a:lnTo>
                        <a:lnTo>
                          <a:pt x="5716" y="1782"/>
                        </a:lnTo>
                        <a:lnTo>
                          <a:pt x="5716" y="1818"/>
                        </a:lnTo>
                        <a:lnTo>
                          <a:pt x="5692" y="1830"/>
                        </a:lnTo>
                        <a:lnTo>
                          <a:pt x="5704" y="1866"/>
                        </a:lnTo>
                        <a:lnTo>
                          <a:pt x="5645" y="1877"/>
                        </a:lnTo>
                        <a:lnTo>
                          <a:pt x="5621" y="1889"/>
                        </a:lnTo>
                        <a:lnTo>
                          <a:pt x="5573" y="1949"/>
                        </a:lnTo>
                        <a:lnTo>
                          <a:pt x="5573" y="1949"/>
                        </a:lnTo>
                        <a:lnTo>
                          <a:pt x="5561" y="2008"/>
                        </a:lnTo>
                        <a:lnTo>
                          <a:pt x="5549" y="2020"/>
                        </a:lnTo>
                        <a:lnTo>
                          <a:pt x="5478" y="2008"/>
                        </a:lnTo>
                        <a:lnTo>
                          <a:pt x="5419" y="2091"/>
                        </a:lnTo>
                        <a:lnTo>
                          <a:pt x="5395" y="2127"/>
                        </a:lnTo>
                        <a:lnTo>
                          <a:pt x="5371" y="2127"/>
                        </a:lnTo>
                        <a:lnTo>
                          <a:pt x="5371" y="2115"/>
                        </a:lnTo>
                        <a:lnTo>
                          <a:pt x="5407" y="2068"/>
                        </a:lnTo>
                        <a:lnTo>
                          <a:pt x="5419" y="2044"/>
                        </a:lnTo>
                        <a:lnTo>
                          <a:pt x="5419" y="2020"/>
                        </a:lnTo>
                        <a:lnTo>
                          <a:pt x="5407" y="2008"/>
                        </a:lnTo>
                        <a:lnTo>
                          <a:pt x="5395" y="2008"/>
                        </a:lnTo>
                        <a:lnTo>
                          <a:pt x="5383" y="2020"/>
                        </a:lnTo>
                        <a:lnTo>
                          <a:pt x="5371" y="2020"/>
                        </a:lnTo>
                        <a:lnTo>
                          <a:pt x="5371" y="2068"/>
                        </a:lnTo>
                        <a:lnTo>
                          <a:pt x="5347" y="2056"/>
                        </a:lnTo>
                        <a:lnTo>
                          <a:pt x="5336" y="2044"/>
                        </a:lnTo>
                        <a:lnTo>
                          <a:pt x="5312" y="2032"/>
                        </a:lnTo>
                        <a:lnTo>
                          <a:pt x="5300" y="2068"/>
                        </a:lnTo>
                        <a:lnTo>
                          <a:pt x="5288" y="2068"/>
                        </a:lnTo>
                        <a:lnTo>
                          <a:pt x="5276" y="2044"/>
                        </a:lnTo>
                        <a:lnTo>
                          <a:pt x="5276" y="2020"/>
                        </a:lnTo>
                        <a:lnTo>
                          <a:pt x="5347" y="1973"/>
                        </a:lnTo>
                        <a:lnTo>
                          <a:pt x="5371" y="1925"/>
                        </a:lnTo>
                        <a:lnTo>
                          <a:pt x="5383" y="1913"/>
                        </a:lnTo>
                        <a:lnTo>
                          <a:pt x="5407" y="1949"/>
                        </a:lnTo>
                        <a:lnTo>
                          <a:pt x="5442" y="1937"/>
                        </a:lnTo>
                        <a:lnTo>
                          <a:pt x="5466" y="1901"/>
                        </a:lnTo>
                        <a:lnTo>
                          <a:pt x="5502" y="1854"/>
                        </a:lnTo>
                        <a:lnTo>
                          <a:pt x="5514" y="1794"/>
                        </a:lnTo>
                        <a:lnTo>
                          <a:pt x="5585" y="1771"/>
                        </a:lnTo>
                        <a:lnTo>
                          <a:pt x="5609" y="1723"/>
                        </a:lnTo>
                        <a:lnTo>
                          <a:pt x="5597" y="1687"/>
                        </a:lnTo>
                        <a:lnTo>
                          <a:pt x="5561" y="1640"/>
                        </a:lnTo>
                        <a:lnTo>
                          <a:pt x="5561" y="1628"/>
                        </a:lnTo>
                        <a:lnTo>
                          <a:pt x="5573" y="1628"/>
                        </a:lnTo>
                        <a:lnTo>
                          <a:pt x="5585" y="1640"/>
                        </a:lnTo>
                        <a:lnTo>
                          <a:pt x="5597" y="1640"/>
                        </a:lnTo>
                        <a:lnTo>
                          <a:pt x="5609" y="1628"/>
                        </a:lnTo>
                        <a:lnTo>
                          <a:pt x="5609" y="1580"/>
                        </a:lnTo>
                        <a:lnTo>
                          <a:pt x="5585" y="1568"/>
                        </a:lnTo>
                        <a:lnTo>
                          <a:pt x="5502" y="1604"/>
                        </a:lnTo>
                        <a:lnTo>
                          <a:pt x="5454" y="1628"/>
                        </a:lnTo>
                        <a:lnTo>
                          <a:pt x="5407" y="1652"/>
                        </a:lnTo>
                        <a:lnTo>
                          <a:pt x="5383" y="1664"/>
                        </a:lnTo>
                        <a:lnTo>
                          <a:pt x="5347" y="1664"/>
                        </a:lnTo>
                        <a:lnTo>
                          <a:pt x="5312" y="1675"/>
                        </a:lnTo>
                        <a:lnTo>
                          <a:pt x="5276" y="1675"/>
                        </a:lnTo>
                        <a:lnTo>
                          <a:pt x="5252" y="1711"/>
                        </a:lnTo>
                        <a:lnTo>
                          <a:pt x="5276" y="1723"/>
                        </a:lnTo>
                        <a:lnTo>
                          <a:pt x="5264" y="1747"/>
                        </a:lnTo>
                        <a:lnTo>
                          <a:pt x="5205" y="1735"/>
                        </a:lnTo>
                        <a:lnTo>
                          <a:pt x="5193" y="1747"/>
                        </a:lnTo>
                        <a:lnTo>
                          <a:pt x="5193" y="1771"/>
                        </a:lnTo>
                        <a:lnTo>
                          <a:pt x="5205" y="1866"/>
                        </a:lnTo>
                        <a:lnTo>
                          <a:pt x="5181" y="1889"/>
                        </a:lnTo>
                        <a:lnTo>
                          <a:pt x="5169" y="1925"/>
                        </a:lnTo>
                        <a:lnTo>
                          <a:pt x="5169" y="1984"/>
                        </a:lnTo>
                        <a:lnTo>
                          <a:pt x="5145" y="2020"/>
                        </a:lnTo>
                        <a:lnTo>
                          <a:pt x="5134" y="2032"/>
                        </a:lnTo>
                        <a:lnTo>
                          <a:pt x="5134" y="2127"/>
                        </a:lnTo>
                        <a:lnTo>
                          <a:pt x="5110" y="2222"/>
                        </a:lnTo>
                        <a:lnTo>
                          <a:pt x="5110" y="2234"/>
                        </a:lnTo>
                        <a:lnTo>
                          <a:pt x="5086" y="2270"/>
                        </a:lnTo>
                        <a:lnTo>
                          <a:pt x="5074" y="2282"/>
                        </a:lnTo>
                        <a:lnTo>
                          <a:pt x="4991" y="2353"/>
                        </a:lnTo>
                        <a:lnTo>
                          <a:pt x="4955" y="2412"/>
                        </a:lnTo>
                        <a:lnTo>
                          <a:pt x="4908" y="2424"/>
                        </a:lnTo>
                        <a:lnTo>
                          <a:pt x="4884" y="2460"/>
                        </a:lnTo>
                        <a:lnTo>
                          <a:pt x="4872" y="2495"/>
                        </a:lnTo>
                        <a:lnTo>
                          <a:pt x="4836" y="2531"/>
                        </a:lnTo>
                        <a:lnTo>
                          <a:pt x="4789" y="2531"/>
                        </a:lnTo>
                        <a:lnTo>
                          <a:pt x="4741" y="2543"/>
                        </a:lnTo>
                        <a:lnTo>
                          <a:pt x="4729" y="2579"/>
                        </a:lnTo>
                        <a:lnTo>
                          <a:pt x="4741" y="2638"/>
                        </a:lnTo>
                        <a:lnTo>
                          <a:pt x="4741" y="2650"/>
                        </a:lnTo>
                        <a:lnTo>
                          <a:pt x="4741" y="2662"/>
                        </a:lnTo>
                        <a:lnTo>
                          <a:pt x="4718" y="2686"/>
                        </a:lnTo>
                        <a:lnTo>
                          <a:pt x="4682" y="2674"/>
                        </a:lnTo>
                        <a:lnTo>
                          <a:pt x="4646" y="2614"/>
                        </a:lnTo>
                        <a:lnTo>
                          <a:pt x="4646" y="2614"/>
                        </a:lnTo>
                        <a:lnTo>
                          <a:pt x="4611" y="2626"/>
                        </a:lnTo>
                        <a:lnTo>
                          <a:pt x="4599" y="2638"/>
                        </a:lnTo>
                        <a:lnTo>
                          <a:pt x="4575" y="2626"/>
                        </a:lnTo>
                        <a:lnTo>
                          <a:pt x="4563" y="2614"/>
                        </a:lnTo>
                        <a:lnTo>
                          <a:pt x="4575" y="2602"/>
                        </a:lnTo>
                        <a:lnTo>
                          <a:pt x="4611" y="2602"/>
                        </a:lnTo>
                        <a:lnTo>
                          <a:pt x="4623" y="2579"/>
                        </a:lnTo>
                        <a:lnTo>
                          <a:pt x="4634" y="2579"/>
                        </a:lnTo>
                        <a:lnTo>
                          <a:pt x="4682" y="2638"/>
                        </a:lnTo>
                        <a:lnTo>
                          <a:pt x="4694" y="2650"/>
                        </a:lnTo>
                        <a:lnTo>
                          <a:pt x="4706" y="2614"/>
                        </a:lnTo>
                        <a:lnTo>
                          <a:pt x="4682" y="2555"/>
                        </a:lnTo>
                        <a:lnTo>
                          <a:pt x="4694" y="2531"/>
                        </a:lnTo>
                        <a:lnTo>
                          <a:pt x="4741" y="2507"/>
                        </a:lnTo>
                        <a:lnTo>
                          <a:pt x="4765" y="2484"/>
                        </a:lnTo>
                        <a:lnTo>
                          <a:pt x="4789" y="2472"/>
                        </a:lnTo>
                        <a:lnTo>
                          <a:pt x="4801" y="2460"/>
                        </a:lnTo>
                        <a:lnTo>
                          <a:pt x="4813" y="2448"/>
                        </a:lnTo>
                        <a:lnTo>
                          <a:pt x="4825" y="2424"/>
                        </a:lnTo>
                        <a:lnTo>
                          <a:pt x="4860" y="2412"/>
                        </a:lnTo>
                        <a:lnTo>
                          <a:pt x="4872" y="2341"/>
                        </a:lnTo>
                        <a:lnTo>
                          <a:pt x="4825" y="2317"/>
                        </a:lnTo>
                        <a:lnTo>
                          <a:pt x="4813" y="2305"/>
                        </a:lnTo>
                        <a:lnTo>
                          <a:pt x="4825" y="2198"/>
                        </a:lnTo>
                        <a:lnTo>
                          <a:pt x="4860" y="2151"/>
                        </a:lnTo>
                        <a:lnTo>
                          <a:pt x="4860" y="2139"/>
                        </a:lnTo>
                        <a:lnTo>
                          <a:pt x="4860" y="2127"/>
                        </a:lnTo>
                        <a:lnTo>
                          <a:pt x="4860" y="2068"/>
                        </a:lnTo>
                        <a:lnTo>
                          <a:pt x="4884" y="2008"/>
                        </a:lnTo>
                        <a:lnTo>
                          <a:pt x="4884" y="1961"/>
                        </a:lnTo>
                        <a:lnTo>
                          <a:pt x="4908" y="1913"/>
                        </a:lnTo>
                        <a:lnTo>
                          <a:pt x="4920" y="1854"/>
                        </a:lnTo>
                        <a:lnTo>
                          <a:pt x="4955" y="1842"/>
                        </a:lnTo>
                        <a:lnTo>
                          <a:pt x="4967" y="1830"/>
                        </a:lnTo>
                        <a:lnTo>
                          <a:pt x="4979" y="1782"/>
                        </a:lnTo>
                        <a:lnTo>
                          <a:pt x="4967" y="1771"/>
                        </a:lnTo>
                        <a:lnTo>
                          <a:pt x="4872" y="1854"/>
                        </a:lnTo>
                        <a:lnTo>
                          <a:pt x="4848" y="1842"/>
                        </a:lnTo>
                        <a:lnTo>
                          <a:pt x="4848" y="1830"/>
                        </a:lnTo>
                        <a:lnTo>
                          <a:pt x="4896" y="1794"/>
                        </a:lnTo>
                        <a:lnTo>
                          <a:pt x="4920" y="1735"/>
                        </a:lnTo>
                        <a:lnTo>
                          <a:pt x="5003" y="1711"/>
                        </a:lnTo>
                        <a:lnTo>
                          <a:pt x="5015" y="1687"/>
                        </a:lnTo>
                        <a:lnTo>
                          <a:pt x="5003" y="1652"/>
                        </a:lnTo>
                        <a:lnTo>
                          <a:pt x="5015" y="1640"/>
                        </a:lnTo>
                        <a:lnTo>
                          <a:pt x="5015" y="1604"/>
                        </a:lnTo>
                        <a:lnTo>
                          <a:pt x="5003" y="1568"/>
                        </a:lnTo>
                        <a:lnTo>
                          <a:pt x="5003" y="1557"/>
                        </a:lnTo>
                        <a:lnTo>
                          <a:pt x="5027" y="1557"/>
                        </a:lnTo>
                        <a:lnTo>
                          <a:pt x="5050" y="1592"/>
                        </a:lnTo>
                        <a:lnTo>
                          <a:pt x="5122" y="1592"/>
                        </a:lnTo>
                        <a:lnTo>
                          <a:pt x="5157" y="1580"/>
                        </a:lnTo>
                        <a:lnTo>
                          <a:pt x="5193" y="1545"/>
                        </a:lnTo>
                        <a:lnTo>
                          <a:pt x="5205" y="1497"/>
                        </a:lnTo>
                        <a:lnTo>
                          <a:pt x="5181" y="1402"/>
                        </a:lnTo>
                        <a:lnTo>
                          <a:pt x="5145" y="1343"/>
                        </a:lnTo>
                        <a:lnTo>
                          <a:pt x="5134" y="1307"/>
                        </a:lnTo>
                        <a:lnTo>
                          <a:pt x="5110" y="1283"/>
                        </a:lnTo>
                        <a:lnTo>
                          <a:pt x="5086" y="1271"/>
                        </a:lnTo>
                        <a:lnTo>
                          <a:pt x="5038" y="1271"/>
                        </a:lnTo>
                        <a:lnTo>
                          <a:pt x="4979" y="1307"/>
                        </a:lnTo>
                        <a:lnTo>
                          <a:pt x="4967" y="1331"/>
                        </a:lnTo>
                        <a:lnTo>
                          <a:pt x="4955" y="1366"/>
                        </a:lnTo>
                        <a:lnTo>
                          <a:pt x="4955" y="1366"/>
                        </a:lnTo>
                        <a:lnTo>
                          <a:pt x="4920" y="1378"/>
                        </a:lnTo>
                        <a:lnTo>
                          <a:pt x="4884" y="1438"/>
                        </a:lnTo>
                        <a:lnTo>
                          <a:pt x="4860" y="1462"/>
                        </a:lnTo>
                        <a:lnTo>
                          <a:pt x="4848" y="1485"/>
                        </a:lnTo>
                        <a:lnTo>
                          <a:pt x="4872" y="1557"/>
                        </a:lnTo>
                        <a:lnTo>
                          <a:pt x="4872" y="1568"/>
                        </a:lnTo>
                        <a:lnTo>
                          <a:pt x="4872" y="1580"/>
                        </a:lnTo>
                        <a:lnTo>
                          <a:pt x="4860" y="1604"/>
                        </a:lnTo>
                        <a:lnTo>
                          <a:pt x="4848" y="1592"/>
                        </a:lnTo>
                        <a:lnTo>
                          <a:pt x="4848" y="1568"/>
                        </a:lnTo>
                        <a:lnTo>
                          <a:pt x="4836" y="1557"/>
                        </a:lnTo>
                        <a:lnTo>
                          <a:pt x="4813" y="1545"/>
                        </a:lnTo>
                        <a:lnTo>
                          <a:pt x="4813" y="1533"/>
                        </a:lnTo>
                        <a:lnTo>
                          <a:pt x="4836" y="1438"/>
                        </a:lnTo>
                        <a:lnTo>
                          <a:pt x="4836" y="1438"/>
                        </a:lnTo>
                        <a:lnTo>
                          <a:pt x="4801" y="1450"/>
                        </a:lnTo>
                        <a:lnTo>
                          <a:pt x="4753" y="1438"/>
                        </a:lnTo>
                        <a:lnTo>
                          <a:pt x="4789" y="1426"/>
                        </a:lnTo>
                        <a:lnTo>
                          <a:pt x="4801" y="1390"/>
                        </a:lnTo>
                        <a:lnTo>
                          <a:pt x="4836" y="1390"/>
                        </a:lnTo>
                        <a:lnTo>
                          <a:pt x="4872" y="1355"/>
                        </a:lnTo>
                        <a:lnTo>
                          <a:pt x="4896" y="1343"/>
                        </a:lnTo>
                        <a:lnTo>
                          <a:pt x="4920" y="1331"/>
                        </a:lnTo>
                        <a:lnTo>
                          <a:pt x="4931" y="1319"/>
                        </a:lnTo>
                        <a:lnTo>
                          <a:pt x="4931" y="1271"/>
                        </a:lnTo>
                        <a:lnTo>
                          <a:pt x="4967" y="1248"/>
                        </a:lnTo>
                        <a:lnTo>
                          <a:pt x="4967" y="1212"/>
                        </a:lnTo>
                        <a:lnTo>
                          <a:pt x="5015" y="1200"/>
                        </a:lnTo>
                        <a:lnTo>
                          <a:pt x="5027" y="1176"/>
                        </a:lnTo>
                        <a:lnTo>
                          <a:pt x="5062" y="1164"/>
                        </a:lnTo>
                        <a:lnTo>
                          <a:pt x="5086" y="1141"/>
                        </a:lnTo>
                        <a:lnTo>
                          <a:pt x="5086" y="1129"/>
                        </a:lnTo>
                        <a:lnTo>
                          <a:pt x="5062" y="1105"/>
                        </a:lnTo>
                        <a:lnTo>
                          <a:pt x="5050" y="1057"/>
                        </a:lnTo>
                        <a:lnTo>
                          <a:pt x="5038" y="1034"/>
                        </a:lnTo>
                        <a:lnTo>
                          <a:pt x="5027" y="1022"/>
                        </a:lnTo>
                        <a:lnTo>
                          <a:pt x="5027" y="998"/>
                        </a:lnTo>
                        <a:lnTo>
                          <a:pt x="5015" y="974"/>
                        </a:lnTo>
                        <a:lnTo>
                          <a:pt x="4991" y="962"/>
                        </a:lnTo>
                        <a:lnTo>
                          <a:pt x="4955" y="986"/>
                        </a:lnTo>
                        <a:lnTo>
                          <a:pt x="4908" y="986"/>
                        </a:lnTo>
                        <a:lnTo>
                          <a:pt x="4908" y="974"/>
                        </a:lnTo>
                        <a:lnTo>
                          <a:pt x="4920" y="962"/>
                        </a:lnTo>
                        <a:lnTo>
                          <a:pt x="4991" y="939"/>
                        </a:lnTo>
                        <a:lnTo>
                          <a:pt x="5003" y="927"/>
                        </a:lnTo>
                        <a:lnTo>
                          <a:pt x="5003" y="903"/>
                        </a:lnTo>
                        <a:lnTo>
                          <a:pt x="4979" y="903"/>
                        </a:lnTo>
                        <a:lnTo>
                          <a:pt x="4943" y="927"/>
                        </a:lnTo>
                        <a:lnTo>
                          <a:pt x="4908" y="927"/>
                        </a:lnTo>
                        <a:lnTo>
                          <a:pt x="4896" y="927"/>
                        </a:lnTo>
                        <a:lnTo>
                          <a:pt x="4825" y="962"/>
                        </a:lnTo>
                        <a:lnTo>
                          <a:pt x="4801" y="962"/>
                        </a:lnTo>
                        <a:lnTo>
                          <a:pt x="4801" y="951"/>
                        </a:lnTo>
                        <a:lnTo>
                          <a:pt x="4801" y="939"/>
                        </a:lnTo>
                        <a:lnTo>
                          <a:pt x="4836" y="927"/>
                        </a:lnTo>
                        <a:lnTo>
                          <a:pt x="4872" y="879"/>
                        </a:lnTo>
                        <a:lnTo>
                          <a:pt x="4884" y="832"/>
                        </a:lnTo>
                        <a:lnTo>
                          <a:pt x="4896" y="820"/>
                        </a:lnTo>
                        <a:lnTo>
                          <a:pt x="4908" y="796"/>
                        </a:lnTo>
                        <a:lnTo>
                          <a:pt x="4884" y="772"/>
                        </a:lnTo>
                        <a:lnTo>
                          <a:pt x="4860" y="772"/>
                        </a:lnTo>
                        <a:lnTo>
                          <a:pt x="4860" y="820"/>
                        </a:lnTo>
                        <a:lnTo>
                          <a:pt x="4848" y="844"/>
                        </a:lnTo>
                        <a:lnTo>
                          <a:pt x="4836" y="867"/>
                        </a:lnTo>
                        <a:lnTo>
                          <a:pt x="4801" y="879"/>
                        </a:lnTo>
                        <a:lnTo>
                          <a:pt x="4777" y="867"/>
                        </a:lnTo>
                        <a:lnTo>
                          <a:pt x="4729" y="855"/>
                        </a:lnTo>
                        <a:lnTo>
                          <a:pt x="4718" y="844"/>
                        </a:lnTo>
                        <a:lnTo>
                          <a:pt x="4718" y="832"/>
                        </a:lnTo>
                        <a:lnTo>
                          <a:pt x="4777" y="796"/>
                        </a:lnTo>
                        <a:lnTo>
                          <a:pt x="4777" y="772"/>
                        </a:lnTo>
                        <a:lnTo>
                          <a:pt x="4729" y="760"/>
                        </a:lnTo>
                        <a:lnTo>
                          <a:pt x="4706" y="760"/>
                        </a:lnTo>
                        <a:lnTo>
                          <a:pt x="4694" y="737"/>
                        </a:lnTo>
                        <a:lnTo>
                          <a:pt x="4670" y="713"/>
                        </a:lnTo>
                        <a:lnTo>
                          <a:pt x="4670" y="713"/>
                        </a:lnTo>
                        <a:lnTo>
                          <a:pt x="4646" y="665"/>
                        </a:lnTo>
                        <a:lnTo>
                          <a:pt x="4634" y="665"/>
                        </a:lnTo>
                        <a:lnTo>
                          <a:pt x="4611" y="642"/>
                        </a:lnTo>
                        <a:lnTo>
                          <a:pt x="4575" y="642"/>
                        </a:lnTo>
                        <a:lnTo>
                          <a:pt x="4563" y="618"/>
                        </a:lnTo>
                        <a:lnTo>
                          <a:pt x="4563" y="606"/>
                        </a:lnTo>
                        <a:lnTo>
                          <a:pt x="4551" y="582"/>
                        </a:lnTo>
                        <a:lnTo>
                          <a:pt x="4563" y="558"/>
                        </a:lnTo>
                        <a:lnTo>
                          <a:pt x="4587" y="511"/>
                        </a:lnTo>
                        <a:lnTo>
                          <a:pt x="4611" y="499"/>
                        </a:lnTo>
                        <a:lnTo>
                          <a:pt x="4623" y="499"/>
                        </a:lnTo>
                        <a:lnTo>
                          <a:pt x="4634" y="463"/>
                        </a:lnTo>
                        <a:lnTo>
                          <a:pt x="4658" y="428"/>
                        </a:lnTo>
                        <a:lnTo>
                          <a:pt x="4646" y="416"/>
                        </a:lnTo>
                        <a:lnTo>
                          <a:pt x="4623" y="404"/>
                        </a:lnTo>
                        <a:lnTo>
                          <a:pt x="4611" y="440"/>
                        </a:lnTo>
                        <a:lnTo>
                          <a:pt x="4599" y="440"/>
                        </a:lnTo>
                        <a:lnTo>
                          <a:pt x="4563" y="440"/>
                        </a:lnTo>
                        <a:lnTo>
                          <a:pt x="4539" y="475"/>
                        </a:lnTo>
                        <a:lnTo>
                          <a:pt x="4504" y="511"/>
                        </a:lnTo>
                        <a:lnTo>
                          <a:pt x="4504" y="594"/>
                        </a:lnTo>
                        <a:lnTo>
                          <a:pt x="4468" y="618"/>
                        </a:lnTo>
                        <a:lnTo>
                          <a:pt x="4432" y="630"/>
                        </a:lnTo>
                        <a:lnTo>
                          <a:pt x="4409" y="618"/>
                        </a:lnTo>
                        <a:lnTo>
                          <a:pt x="4409" y="606"/>
                        </a:lnTo>
                        <a:lnTo>
                          <a:pt x="4468" y="582"/>
                        </a:lnTo>
                        <a:lnTo>
                          <a:pt x="4468" y="558"/>
                        </a:lnTo>
                        <a:lnTo>
                          <a:pt x="4432" y="546"/>
                        </a:lnTo>
                        <a:lnTo>
                          <a:pt x="4432" y="523"/>
                        </a:lnTo>
                        <a:lnTo>
                          <a:pt x="4456" y="511"/>
                        </a:lnTo>
                        <a:lnTo>
                          <a:pt x="4444" y="499"/>
                        </a:lnTo>
                        <a:lnTo>
                          <a:pt x="4397" y="487"/>
                        </a:lnTo>
                        <a:lnTo>
                          <a:pt x="4373" y="440"/>
                        </a:lnTo>
                        <a:lnTo>
                          <a:pt x="4349" y="440"/>
                        </a:lnTo>
                        <a:lnTo>
                          <a:pt x="4349" y="440"/>
                        </a:lnTo>
                        <a:lnTo>
                          <a:pt x="4349" y="475"/>
                        </a:lnTo>
                        <a:lnTo>
                          <a:pt x="4302" y="487"/>
                        </a:lnTo>
                        <a:lnTo>
                          <a:pt x="4302" y="499"/>
                        </a:lnTo>
                        <a:lnTo>
                          <a:pt x="4290" y="499"/>
                        </a:lnTo>
                        <a:lnTo>
                          <a:pt x="4266" y="463"/>
                        </a:lnTo>
                        <a:lnTo>
                          <a:pt x="4242" y="463"/>
                        </a:lnTo>
                        <a:lnTo>
                          <a:pt x="4218" y="499"/>
                        </a:lnTo>
                        <a:lnTo>
                          <a:pt x="4195" y="523"/>
                        </a:lnTo>
                        <a:lnTo>
                          <a:pt x="4183" y="523"/>
                        </a:lnTo>
                        <a:lnTo>
                          <a:pt x="4159" y="558"/>
                        </a:lnTo>
                        <a:lnTo>
                          <a:pt x="4147" y="582"/>
                        </a:lnTo>
                        <a:lnTo>
                          <a:pt x="4147" y="594"/>
                        </a:lnTo>
                        <a:lnTo>
                          <a:pt x="4147" y="618"/>
                        </a:lnTo>
                        <a:lnTo>
                          <a:pt x="4159" y="630"/>
                        </a:lnTo>
                        <a:lnTo>
                          <a:pt x="4183" y="653"/>
                        </a:lnTo>
                        <a:lnTo>
                          <a:pt x="4195" y="713"/>
                        </a:lnTo>
                        <a:lnTo>
                          <a:pt x="4183" y="713"/>
                        </a:lnTo>
                        <a:lnTo>
                          <a:pt x="4183" y="725"/>
                        </a:lnTo>
                        <a:lnTo>
                          <a:pt x="4135" y="749"/>
                        </a:lnTo>
                        <a:lnTo>
                          <a:pt x="4123" y="772"/>
                        </a:lnTo>
                        <a:lnTo>
                          <a:pt x="4147" y="808"/>
                        </a:lnTo>
                        <a:lnTo>
                          <a:pt x="4159" y="832"/>
                        </a:lnTo>
                        <a:lnTo>
                          <a:pt x="4171" y="903"/>
                        </a:lnTo>
                        <a:lnTo>
                          <a:pt x="4218" y="927"/>
                        </a:lnTo>
                        <a:lnTo>
                          <a:pt x="4278" y="998"/>
                        </a:lnTo>
                        <a:lnTo>
                          <a:pt x="4278" y="1010"/>
                        </a:lnTo>
                        <a:lnTo>
                          <a:pt x="4254" y="1034"/>
                        </a:lnTo>
                        <a:lnTo>
                          <a:pt x="4242" y="1057"/>
                        </a:lnTo>
                        <a:lnTo>
                          <a:pt x="4230" y="1093"/>
                        </a:lnTo>
                        <a:lnTo>
                          <a:pt x="4218" y="1105"/>
                        </a:lnTo>
                        <a:lnTo>
                          <a:pt x="4207" y="1093"/>
                        </a:lnTo>
                        <a:lnTo>
                          <a:pt x="4218" y="1057"/>
                        </a:lnTo>
                        <a:lnTo>
                          <a:pt x="4218" y="1034"/>
                        </a:lnTo>
                        <a:lnTo>
                          <a:pt x="4230" y="998"/>
                        </a:lnTo>
                        <a:lnTo>
                          <a:pt x="4230" y="986"/>
                        </a:lnTo>
                        <a:lnTo>
                          <a:pt x="4207" y="974"/>
                        </a:lnTo>
                        <a:lnTo>
                          <a:pt x="4147" y="927"/>
                        </a:lnTo>
                        <a:lnTo>
                          <a:pt x="4147" y="903"/>
                        </a:lnTo>
                        <a:lnTo>
                          <a:pt x="4147" y="879"/>
                        </a:lnTo>
                        <a:lnTo>
                          <a:pt x="4112" y="820"/>
                        </a:lnTo>
                        <a:lnTo>
                          <a:pt x="4100" y="808"/>
                        </a:lnTo>
                        <a:lnTo>
                          <a:pt x="4076" y="796"/>
                        </a:lnTo>
                        <a:lnTo>
                          <a:pt x="4016" y="796"/>
                        </a:lnTo>
                        <a:lnTo>
                          <a:pt x="4005" y="772"/>
                        </a:lnTo>
                        <a:lnTo>
                          <a:pt x="3993" y="772"/>
                        </a:lnTo>
                        <a:lnTo>
                          <a:pt x="3993" y="725"/>
                        </a:lnTo>
                        <a:lnTo>
                          <a:pt x="4005" y="701"/>
                        </a:lnTo>
                        <a:lnTo>
                          <a:pt x="4016" y="677"/>
                        </a:lnTo>
                        <a:lnTo>
                          <a:pt x="4028" y="618"/>
                        </a:lnTo>
                        <a:lnTo>
                          <a:pt x="4064" y="546"/>
                        </a:lnTo>
                        <a:lnTo>
                          <a:pt x="4076" y="523"/>
                        </a:lnTo>
                        <a:lnTo>
                          <a:pt x="4076" y="487"/>
                        </a:lnTo>
                        <a:lnTo>
                          <a:pt x="4064" y="475"/>
                        </a:lnTo>
                        <a:lnTo>
                          <a:pt x="4016" y="475"/>
                        </a:lnTo>
                        <a:lnTo>
                          <a:pt x="3981" y="499"/>
                        </a:lnTo>
                        <a:lnTo>
                          <a:pt x="3981" y="463"/>
                        </a:lnTo>
                        <a:lnTo>
                          <a:pt x="3945" y="451"/>
                        </a:lnTo>
                        <a:lnTo>
                          <a:pt x="3933" y="416"/>
                        </a:lnTo>
                        <a:lnTo>
                          <a:pt x="3898" y="404"/>
                        </a:lnTo>
                        <a:lnTo>
                          <a:pt x="3886" y="440"/>
                        </a:lnTo>
                        <a:lnTo>
                          <a:pt x="3898" y="523"/>
                        </a:lnTo>
                        <a:lnTo>
                          <a:pt x="3886" y="535"/>
                        </a:lnTo>
                        <a:lnTo>
                          <a:pt x="3886" y="523"/>
                        </a:lnTo>
                        <a:lnTo>
                          <a:pt x="3862" y="463"/>
                        </a:lnTo>
                        <a:lnTo>
                          <a:pt x="3826" y="451"/>
                        </a:lnTo>
                        <a:lnTo>
                          <a:pt x="3814" y="440"/>
                        </a:lnTo>
                        <a:lnTo>
                          <a:pt x="3862" y="428"/>
                        </a:lnTo>
                        <a:lnTo>
                          <a:pt x="3850" y="392"/>
                        </a:lnTo>
                        <a:lnTo>
                          <a:pt x="3874" y="380"/>
                        </a:lnTo>
                        <a:lnTo>
                          <a:pt x="3874" y="368"/>
                        </a:lnTo>
                        <a:lnTo>
                          <a:pt x="3886" y="344"/>
                        </a:lnTo>
                        <a:lnTo>
                          <a:pt x="3945" y="297"/>
                        </a:lnTo>
                        <a:lnTo>
                          <a:pt x="3945" y="261"/>
                        </a:lnTo>
                        <a:lnTo>
                          <a:pt x="3933" y="249"/>
                        </a:lnTo>
                        <a:lnTo>
                          <a:pt x="3909" y="249"/>
                        </a:lnTo>
                        <a:lnTo>
                          <a:pt x="3898" y="273"/>
                        </a:lnTo>
                        <a:lnTo>
                          <a:pt x="3862" y="297"/>
                        </a:lnTo>
                        <a:lnTo>
                          <a:pt x="3838" y="368"/>
                        </a:lnTo>
                        <a:lnTo>
                          <a:pt x="3803" y="380"/>
                        </a:lnTo>
                        <a:lnTo>
                          <a:pt x="3779" y="380"/>
                        </a:lnTo>
                        <a:lnTo>
                          <a:pt x="3779" y="380"/>
                        </a:lnTo>
                        <a:lnTo>
                          <a:pt x="3814" y="356"/>
                        </a:lnTo>
                        <a:lnTo>
                          <a:pt x="3814" y="321"/>
                        </a:lnTo>
                        <a:lnTo>
                          <a:pt x="3826" y="297"/>
                        </a:lnTo>
                        <a:lnTo>
                          <a:pt x="3826" y="273"/>
                        </a:lnTo>
                        <a:lnTo>
                          <a:pt x="3814" y="261"/>
                        </a:lnTo>
                        <a:lnTo>
                          <a:pt x="3791" y="297"/>
                        </a:lnTo>
                        <a:lnTo>
                          <a:pt x="3779" y="297"/>
                        </a:lnTo>
                        <a:lnTo>
                          <a:pt x="3767" y="237"/>
                        </a:lnTo>
                        <a:lnTo>
                          <a:pt x="3755" y="237"/>
                        </a:lnTo>
                        <a:lnTo>
                          <a:pt x="3743" y="273"/>
                        </a:lnTo>
                        <a:lnTo>
                          <a:pt x="3755" y="333"/>
                        </a:lnTo>
                        <a:lnTo>
                          <a:pt x="3731" y="333"/>
                        </a:lnTo>
                        <a:lnTo>
                          <a:pt x="3731" y="321"/>
                        </a:lnTo>
                        <a:lnTo>
                          <a:pt x="3731" y="285"/>
                        </a:lnTo>
                        <a:lnTo>
                          <a:pt x="3719" y="273"/>
                        </a:lnTo>
                        <a:lnTo>
                          <a:pt x="3731" y="226"/>
                        </a:lnTo>
                        <a:lnTo>
                          <a:pt x="3719" y="226"/>
                        </a:lnTo>
                        <a:lnTo>
                          <a:pt x="3684" y="249"/>
                        </a:lnTo>
                        <a:lnTo>
                          <a:pt x="3684" y="321"/>
                        </a:lnTo>
                        <a:lnTo>
                          <a:pt x="3672" y="344"/>
                        </a:lnTo>
                        <a:lnTo>
                          <a:pt x="3648" y="356"/>
                        </a:lnTo>
                        <a:lnTo>
                          <a:pt x="3624" y="356"/>
                        </a:lnTo>
                        <a:lnTo>
                          <a:pt x="3601" y="356"/>
                        </a:lnTo>
                        <a:lnTo>
                          <a:pt x="3577" y="333"/>
                        </a:lnTo>
                        <a:lnTo>
                          <a:pt x="3589" y="321"/>
                        </a:lnTo>
                        <a:lnTo>
                          <a:pt x="3601" y="321"/>
                        </a:lnTo>
                        <a:lnTo>
                          <a:pt x="3601" y="309"/>
                        </a:lnTo>
                        <a:lnTo>
                          <a:pt x="3612" y="285"/>
                        </a:lnTo>
                        <a:lnTo>
                          <a:pt x="3624" y="285"/>
                        </a:lnTo>
                        <a:lnTo>
                          <a:pt x="3624" y="309"/>
                        </a:lnTo>
                        <a:lnTo>
                          <a:pt x="3636" y="321"/>
                        </a:lnTo>
                        <a:lnTo>
                          <a:pt x="3648" y="321"/>
                        </a:lnTo>
                        <a:lnTo>
                          <a:pt x="3660" y="321"/>
                        </a:lnTo>
                        <a:lnTo>
                          <a:pt x="3672" y="309"/>
                        </a:lnTo>
                        <a:lnTo>
                          <a:pt x="3660" y="261"/>
                        </a:lnTo>
                        <a:lnTo>
                          <a:pt x="3672" y="249"/>
                        </a:lnTo>
                        <a:lnTo>
                          <a:pt x="3684" y="202"/>
                        </a:lnTo>
                        <a:lnTo>
                          <a:pt x="3684" y="131"/>
                        </a:lnTo>
                        <a:lnTo>
                          <a:pt x="3707" y="95"/>
                        </a:lnTo>
                        <a:lnTo>
                          <a:pt x="3707" y="59"/>
                        </a:lnTo>
                        <a:lnTo>
                          <a:pt x="3696" y="47"/>
                        </a:lnTo>
                        <a:lnTo>
                          <a:pt x="3684" y="47"/>
                        </a:lnTo>
                        <a:lnTo>
                          <a:pt x="3672" y="59"/>
                        </a:lnTo>
                        <a:lnTo>
                          <a:pt x="3660" y="119"/>
                        </a:lnTo>
                        <a:lnTo>
                          <a:pt x="3648" y="190"/>
                        </a:lnTo>
                        <a:lnTo>
                          <a:pt x="3624" y="214"/>
                        </a:lnTo>
                        <a:lnTo>
                          <a:pt x="3624" y="214"/>
                        </a:lnTo>
                        <a:lnTo>
                          <a:pt x="3601" y="214"/>
                        </a:lnTo>
                        <a:lnTo>
                          <a:pt x="3577" y="202"/>
                        </a:lnTo>
                        <a:lnTo>
                          <a:pt x="3553" y="178"/>
                        </a:lnTo>
                        <a:lnTo>
                          <a:pt x="3553" y="166"/>
                        </a:lnTo>
                        <a:lnTo>
                          <a:pt x="3577" y="142"/>
                        </a:lnTo>
                        <a:lnTo>
                          <a:pt x="3624" y="83"/>
                        </a:lnTo>
                        <a:lnTo>
                          <a:pt x="3601" y="47"/>
                        </a:lnTo>
                        <a:lnTo>
                          <a:pt x="3577" y="47"/>
                        </a:lnTo>
                        <a:lnTo>
                          <a:pt x="3553" y="59"/>
                        </a:lnTo>
                        <a:lnTo>
                          <a:pt x="3505" y="166"/>
                        </a:lnTo>
                        <a:lnTo>
                          <a:pt x="3505" y="142"/>
                        </a:lnTo>
                        <a:lnTo>
                          <a:pt x="3482" y="131"/>
                        </a:lnTo>
                        <a:lnTo>
                          <a:pt x="3482" y="107"/>
                        </a:lnTo>
                        <a:lnTo>
                          <a:pt x="3458" y="107"/>
                        </a:lnTo>
                        <a:lnTo>
                          <a:pt x="3434" y="142"/>
                        </a:lnTo>
                        <a:lnTo>
                          <a:pt x="3387" y="249"/>
                        </a:lnTo>
                        <a:lnTo>
                          <a:pt x="3363" y="261"/>
                        </a:lnTo>
                        <a:lnTo>
                          <a:pt x="3351" y="261"/>
                        </a:lnTo>
                        <a:lnTo>
                          <a:pt x="3339" y="249"/>
                        </a:lnTo>
                        <a:lnTo>
                          <a:pt x="3339" y="237"/>
                        </a:lnTo>
                        <a:lnTo>
                          <a:pt x="3363" y="226"/>
                        </a:lnTo>
                        <a:lnTo>
                          <a:pt x="3398" y="178"/>
                        </a:lnTo>
                        <a:lnTo>
                          <a:pt x="3398" y="166"/>
                        </a:lnTo>
                        <a:lnTo>
                          <a:pt x="3375" y="178"/>
                        </a:lnTo>
                        <a:lnTo>
                          <a:pt x="3351" y="178"/>
                        </a:lnTo>
                        <a:lnTo>
                          <a:pt x="3351" y="166"/>
                        </a:lnTo>
                        <a:lnTo>
                          <a:pt x="3375" y="154"/>
                        </a:lnTo>
                        <a:lnTo>
                          <a:pt x="3398" y="107"/>
                        </a:lnTo>
                        <a:lnTo>
                          <a:pt x="3398" y="83"/>
                        </a:lnTo>
                        <a:lnTo>
                          <a:pt x="3387" y="83"/>
                        </a:lnTo>
                        <a:lnTo>
                          <a:pt x="3375" y="107"/>
                        </a:lnTo>
                        <a:lnTo>
                          <a:pt x="3363" y="95"/>
                        </a:lnTo>
                        <a:lnTo>
                          <a:pt x="3375" y="59"/>
                        </a:lnTo>
                        <a:lnTo>
                          <a:pt x="3375" y="47"/>
                        </a:lnTo>
                        <a:lnTo>
                          <a:pt x="3351" y="47"/>
                        </a:lnTo>
                        <a:lnTo>
                          <a:pt x="3339" y="47"/>
                        </a:lnTo>
                        <a:lnTo>
                          <a:pt x="3327" y="107"/>
                        </a:lnTo>
                        <a:lnTo>
                          <a:pt x="3315" y="178"/>
                        </a:lnTo>
                        <a:lnTo>
                          <a:pt x="3303" y="190"/>
                        </a:lnTo>
                        <a:lnTo>
                          <a:pt x="3292" y="178"/>
                        </a:lnTo>
                        <a:lnTo>
                          <a:pt x="3292" y="166"/>
                        </a:lnTo>
                        <a:lnTo>
                          <a:pt x="3303" y="83"/>
                        </a:lnTo>
                        <a:lnTo>
                          <a:pt x="3280" y="71"/>
                        </a:lnTo>
                        <a:lnTo>
                          <a:pt x="3256" y="83"/>
                        </a:lnTo>
                        <a:lnTo>
                          <a:pt x="3256" y="119"/>
                        </a:lnTo>
                        <a:lnTo>
                          <a:pt x="3244" y="119"/>
                        </a:lnTo>
                        <a:lnTo>
                          <a:pt x="3232" y="119"/>
                        </a:lnTo>
                        <a:lnTo>
                          <a:pt x="3220" y="12"/>
                        </a:lnTo>
                        <a:lnTo>
                          <a:pt x="3208" y="0"/>
                        </a:lnTo>
                        <a:lnTo>
                          <a:pt x="3196" y="0"/>
                        </a:lnTo>
                        <a:lnTo>
                          <a:pt x="3185" y="0"/>
                        </a:lnTo>
                        <a:lnTo>
                          <a:pt x="3149" y="71"/>
                        </a:lnTo>
                        <a:lnTo>
                          <a:pt x="3149" y="107"/>
                        </a:lnTo>
                        <a:lnTo>
                          <a:pt x="3090" y="166"/>
                        </a:lnTo>
                        <a:lnTo>
                          <a:pt x="3090" y="226"/>
                        </a:lnTo>
                        <a:lnTo>
                          <a:pt x="3125" y="285"/>
                        </a:lnTo>
                        <a:lnTo>
                          <a:pt x="3113" y="321"/>
                        </a:lnTo>
                        <a:lnTo>
                          <a:pt x="3101" y="344"/>
                        </a:lnTo>
                        <a:lnTo>
                          <a:pt x="3078" y="380"/>
                        </a:lnTo>
                        <a:lnTo>
                          <a:pt x="3054" y="392"/>
                        </a:lnTo>
                        <a:lnTo>
                          <a:pt x="3030" y="451"/>
                        </a:lnTo>
                        <a:lnTo>
                          <a:pt x="3030" y="475"/>
                        </a:lnTo>
                        <a:lnTo>
                          <a:pt x="3066" y="570"/>
                        </a:lnTo>
                        <a:lnTo>
                          <a:pt x="3054" y="606"/>
                        </a:lnTo>
                        <a:lnTo>
                          <a:pt x="3042" y="630"/>
                        </a:lnTo>
                        <a:lnTo>
                          <a:pt x="3042" y="677"/>
                        </a:lnTo>
                        <a:lnTo>
                          <a:pt x="3042" y="713"/>
                        </a:lnTo>
                        <a:lnTo>
                          <a:pt x="3006" y="713"/>
                        </a:lnTo>
                        <a:lnTo>
                          <a:pt x="2983" y="749"/>
                        </a:lnTo>
                        <a:lnTo>
                          <a:pt x="2947" y="737"/>
                        </a:lnTo>
                        <a:lnTo>
                          <a:pt x="2923" y="760"/>
                        </a:lnTo>
                        <a:lnTo>
                          <a:pt x="2911" y="772"/>
                        </a:lnTo>
                        <a:lnTo>
                          <a:pt x="2887" y="749"/>
                        </a:lnTo>
                        <a:lnTo>
                          <a:pt x="2864" y="749"/>
                        </a:lnTo>
                        <a:lnTo>
                          <a:pt x="2852" y="808"/>
                        </a:lnTo>
                        <a:lnTo>
                          <a:pt x="2852" y="820"/>
                        </a:lnTo>
                        <a:lnTo>
                          <a:pt x="2899" y="820"/>
                        </a:lnTo>
                        <a:lnTo>
                          <a:pt x="2983" y="855"/>
                        </a:lnTo>
                        <a:lnTo>
                          <a:pt x="2983" y="879"/>
                        </a:lnTo>
                        <a:lnTo>
                          <a:pt x="2971" y="915"/>
                        </a:lnTo>
                        <a:lnTo>
                          <a:pt x="2983" y="951"/>
                        </a:lnTo>
                        <a:lnTo>
                          <a:pt x="2971" y="974"/>
                        </a:lnTo>
                        <a:lnTo>
                          <a:pt x="2971" y="998"/>
                        </a:lnTo>
                        <a:lnTo>
                          <a:pt x="2959" y="1022"/>
                        </a:lnTo>
                        <a:lnTo>
                          <a:pt x="2947" y="1069"/>
                        </a:lnTo>
                        <a:lnTo>
                          <a:pt x="2911" y="1129"/>
                        </a:lnTo>
                        <a:lnTo>
                          <a:pt x="2911" y="1212"/>
                        </a:lnTo>
                        <a:lnTo>
                          <a:pt x="2887" y="1248"/>
                        </a:lnTo>
                        <a:lnTo>
                          <a:pt x="2887" y="1283"/>
                        </a:lnTo>
                        <a:lnTo>
                          <a:pt x="2840" y="1307"/>
                        </a:lnTo>
                        <a:lnTo>
                          <a:pt x="2828" y="1331"/>
                        </a:lnTo>
                        <a:lnTo>
                          <a:pt x="2781" y="1366"/>
                        </a:lnTo>
                        <a:lnTo>
                          <a:pt x="2769" y="1378"/>
                        </a:lnTo>
                        <a:lnTo>
                          <a:pt x="2745" y="1355"/>
                        </a:lnTo>
                        <a:lnTo>
                          <a:pt x="2721" y="1355"/>
                        </a:lnTo>
                        <a:lnTo>
                          <a:pt x="2721" y="1366"/>
                        </a:lnTo>
                        <a:lnTo>
                          <a:pt x="2733" y="1414"/>
                        </a:lnTo>
                        <a:lnTo>
                          <a:pt x="2709" y="1438"/>
                        </a:lnTo>
                        <a:lnTo>
                          <a:pt x="2709" y="1473"/>
                        </a:lnTo>
                        <a:lnTo>
                          <a:pt x="2662" y="1521"/>
                        </a:lnTo>
                        <a:lnTo>
                          <a:pt x="2685" y="1533"/>
                        </a:lnTo>
                        <a:lnTo>
                          <a:pt x="2709" y="1509"/>
                        </a:lnTo>
                        <a:lnTo>
                          <a:pt x="2733" y="1509"/>
                        </a:lnTo>
                        <a:lnTo>
                          <a:pt x="2697" y="1604"/>
                        </a:lnTo>
                        <a:lnTo>
                          <a:pt x="2733" y="1711"/>
                        </a:lnTo>
                        <a:lnTo>
                          <a:pt x="2709" y="1711"/>
                        </a:lnTo>
                        <a:lnTo>
                          <a:pt x="2650" y="1723"/>
                        </a:lnTo>
                        <a:lnTo>
                          <a:pt x="2638" y="1747"/>
                        </a:lnTo>
                        <a:lnTo>
                          <a:pt x="2638" y="1771"/>
                        </a:lnTo>
                        <a:lnTo>
                          <a:pt x="2626" y="1782"/>
                        </a:lnTo>
                        <a:lnTo>
                          <a:pt x="2602" y="1782"/>
                        </a:lnTo>
                        <a:lnTo>
                          <a:pt x="2590" y="1830"/>
                        </a:lnTo>
                        <a:lnTo>
                          <a:pt x="2543" y="1830"/>
                        </a:lnTo>
                        <a:lnTo>
                          <a:pt x="2507" y="1866"/>
                        </a:lnTo>
                        <a:lnTo>
                          <a:pt x="2483" y="1854"/>
                        </a:lnTo>
                        <a:lnTo>
                          <a:pt x="2472" y="1889"/>
                        </a:lnTo>
                        <a:lnTo>
                          <a:pt x="2436" y="1901"/>
                        </a:lnTo>
                        <a:lnTo>
                          <a:pt x="2412" y="1937"/>
                        </a:lnTo>
                        <a:lnTo>
                          <a:pt x="2424" y="1961"/>
                        </a:lnTo>
                        <a:lnTo>
                          <a:pt x="2460" y="1973"/>
                        </a:lnTo>
                        <a:lnTo>
                          <a:pt x="2460" y="1984"/>
                        </a:lnTo>
                        <a:lnTo>
                          <a:pt x="2448" y="2008"/>
                        </a:lnTo>
                        <a:lnTo>
                          <a:pt x="2448" y="2032"/>
                        </a:lnTo>
                        <a:lnTo>
                          <a:pt x="2472" y="2044"/>
                        </a:lnTo>
                        <a:lnTo>
                          <a:pt x="2483" y="2020"/>
                        </a:lnTo>
                        <a:lnTo>
                          <a:pt x="2495" y="2020"/>
                        </a:lnTo>
                        <a:lnTo>
                          <a:pt x="2507" y="2068"/>
                        </a:lnTo>
                        <a:lnTo>
                          <a:pt x="2495" y="2079"/>
                        </a:lnTo>
                        <a:lnTo>
                          <a:pt x="2495" y="2091"/>
                        </a:lnTo>
                        <a:lnTo>
                          <a:pt x="2460" y="2103"/>
                        </a:lnTo>
                        <a:lnTo>
                          <a:pt x="2448" y="2127"/>
                        </a:lnTo>
                        <a:lnTo>
                          <a:pt x="2412" y="2139"/>
                        </a:lnTo>
                        <a:lnTo>
                          <a:pt x="2412" y="2163"/>
                        </a:lnTo>
                        <a:lnTo>
                          <a:pt x="2460" y="2175"/>
                        </a:lnTo>
                        <a:lnTo>
                          <a:pt x="2472" y="2222"/>
                        </a:lnTo>
                        <a:lnTo>
                          <a:pt x="2448" y="2246"/>
                        </a:lnTo>
                        <a:lnTo>
                          <a:pt x="2436" y="2282"/>
                        </a:lnTo>
                        <a:lnTo>
                          <a:pt x="2424" y="2293"/>
                        </a:lnTo>
                        <a:lnTo>
                          <a:pt x="2412" y="2329"/>
                        </a:lnTo>
                        <a:lnTo>
                          <a:pt x="2400" y="2341"/>
                        </a:lnTo>
                        <a:lnTo>
                          <a:pt x="2400" y="2388"/>
                        </a:lnTo>
                        <a:lnTo>
                          <a:pt x="2376" y="2400"/>
                        </a:lnTo>
                        <a:lnTo>
                          <a:pt x="2353" y="2412"/>
                        </a:lnTo>
                        <a:lnTo>
                          <a:pt x="2329" y="2412"/>
                        </a:lnTo>
                        <a:lnTo>
                          <a:pt x="2329" y="2436"/>
                        </a:lnTo>
                        <a:lnTo>
                          <a:pt x="2353" y="2448"/>
                        </a:lnTo>
                        <a:lnTo>
                          <a:pt x="2353" y="2472"/>
                        </a:lnTo>
                        <a:lnTo>
                          <a:pt x="2329" y="2472"/>
                        </a:lnTo>
                        <a:lnTo>
                          <a:pt x="2317" y="2495"/>
                        </a:lnTo>
                        <a:lnTo>
                          <a:pt x="2293" y="2495"/>
                        </a:lnTo>
                        <a:lnTo>
                          <a:pt x="2293" y="2531"/>
                        </a:lnTo>
                        <a:lnTo>
                          <a:pt x="2258" y="2555"/>
                        </a:lnTo>
                        <a:lnTo>
                          <a:pt x="2246" y="2579"/>
                        </a:lnTo>
                        <a:lnTo>
                          <a:pt x="2222" y="2602"/>
                        </a:lnTo>
                        <a:lnTo>
                          <a:pt x="2222" y="2626"/>
                        </a:lnTo>
                        <a:lnTo>
                          <a:pt x="2198" y="2638"/>
                        </a:lnTo>
                        <a:lnTo>
                          <a:pt x="2174" y="2662"/>
                        </a:lnTo>
                        <a:lnTo>
                          <a:pt x="2151" y="2674"/>
                        </a:lnTo>
                        <a:lnTo>
                          <a:pt x="2127" y="2709"/>
                        </a:lnTo>
                        <a:lnTo>
                          <a:pt x="2103" y="2721"/>
                        </a:lnTo>
                        <a:lnTo>
                          <a:pt x="2103" y="2745"/>
                        </a:lnTo>
                        <a:lnTo>
                          <a:pt x="2079" y="2781"/>
                        </a:lnTo>
                        <a:lnTo>
                          <a:pt x="2091" y="2828"/>
                        </a:lnTo>
                        <a:lnTo>
                          <a:pt x="2056" y="2852"/>
                        </a:lnTo>
                        <a:lnTo>
                          <a:pt x="2032" y="2899"/>
                        </a:lnTo>
                        <a:lnTo>
                          <a:pt x="2008" y="2911"/>
                        </a:lnTo>
                        <a:lnTo>
                          <a:pt x="1984" y="2935"/>
                        </a:lnTo>
                        <a:lnTo>
                          <a:pt x="1972" y="3006"/>
                        </a:lnTo>
                        <a:lnTo>
                          <a:pt x="1961" y="3161"/>
                        </a:lnTo>
                        <a:lnTo>
                          <a:pt x="1949" y="3208"/>
                        </a:lnTo>
                        <a:lnTo>
                          <a:pt x="1913" y="3268"/>
                        </a:lnTo>
                        <a:lnTo>
                          <a:pt x="1842" y="3327"/>
                        </a:lnTo>
                        <a:lnTo>
                          <a:pt x="1782" y="3434"/>
                        </a:lnTo>
                        <a:lnTo>
                          <a:pt x="1723" y="3458"/>
                        </a:lnTo>
                        <a:lnTo>
                          <a:pt x="1687" y="3506"/>
                        </a:lnTo>
                        <a:lnTo>
                          <a:pt x="1640" y="3529"/>
                        </a:lnTo>
                        <a:lnTo>
                          <a:pt x="1616" y="3601"/>
                        </a:lnTo>
                        <a:lnTo>
                          <a:pt x="1604" y="3624"/>
                        </a:lnTo>
                        <a:lnTo>
                          <a:pt x="1604" y="3708"/>
                        </a:lnTo>
                        <a:lnTo>
                          <a:pt x="1521" y="3826"/>
                        </a:lnTo>
                        <a:lnTo>
                          <a:pt x="1485" y="3850"/>
                        </a:lnTo>
                        <a:lnTo>
                          <a:pt x="1450" y="3874"/>
                        </a:lnTo>
                        <a:lnTo>
                          <a:pt x="1402" y="4005"/>
                        </a:lnTo>
                        <a:lnTo>
                          <a:pt x="1354" y="4040"/>
                        </a:lnTo>
                        <a:lnTo>
                          <a:pt x="1319" y="4124"/>
                        </a:lnTo>
                        <a:lnTo>
                          <a:pt x="1259" y="4159"/>
                        </a:lnTo>
                        <a:lnTo>
                          <a:pt x="1224" y="4219"/>
                        </a:lnTo>
                        <a:lnTo>
                          <a:pt x="1188" y="4219"/>
                        </a:lnTo>
                        <a:lnTo>
                          <a:pt x="1152" y="4195"/>
                        </a:lnTo>
                        <a:lnTo>
                          <a:pt x="1105" y="4230"/>
                        </a:lnTo>
                        <a:lnTo>
                          <a:pt x="237" y="4872"/>
                        </a:lnTo>
                        <a:lnTo>
                          <a:pt x="35" y="5015"/>
                        </a:lnTo>
                        <a:lnTo>
                          <a:pt x="35" y="5027"/>
                        </a:lnTo>
                        <a:lnTo>
                          <a:pt x="35" y="5027"/>
                        </a:lnTo>
                        <a:lnTo>
                          <a:pt x="0" y="5039"/>
                        </a:lnTo>
                        <a:lnTo>
                          <a:pt x="95" y="5062"/>
                        </a:lnTo>
                        <a:lnTo>
                          <a:pt x="119" y="5050"/>
                        </a:lnTo>
                        <a:lnTo>
                          <a:pt x="166" y="4979"/>
                        </a:lnTo>
                        <a:lnTo>
                          <a:pt x="214" y="4932"/>
                        </a:lnTo>
                        <a:lnTo>
                          <a:pt x="261" y="4896"/>
                        </a:lnTo>
                        <a:lnTo>
                          <a:pt x="321" y="4896"/>
                        </a:lnTo>
                        <a:lnTo>
                          <a:pt x="404" y="4884"/>
                        </a:lnTo>
                        <a:lnTo>
                          <a:pt x="428" y="4896"/>
                        </a:lnTo>
                        <a:lnTo>
                          <a:pt x="475" y="4932"/>
                        </a:lnTo>
                        <a:lnTo>
                          <a:pt x="570" y="4979"/>
                        </a:lnTo>
                        <a:lnTo>
                          <a:pt x="701" y="5003"/>
                        </a:lnTo>
                        <a:lnTo>
                          <a:pt x="737" y="4991"/>
                        </a:lnTo>
                        <a:lnTo>
                          <a:pt x="796" y="4967"/>
                        </a:lnTo>
                        <a:lnTo>
                          <a:pt x="891" y="4979"/>
                        </a:lnTo>
                        <a:lnTo>
                          <a:pt x="950" y="5015"/>
                        </a:lnTo>
                        <a:lnTo>
                          <a:pt x="998" y="5122"/>
                        </a:lnTo>
                        <a:lnTo>
                          <a:pt x="1010" y="5134"/>
                        </a:lnTo>
                        <a:lnTo>
                          <a:pt x="1164" y="5157"/>
                        </a:lnTo>
                        <a:lnTo>
                          <a:pt x="1200" y="5193"/>
                        </a:lnTo>
                        <a:lnTo>
                          <a:pt x="1259" y="5217"/>
                        </a:lnTo>
                        <a:lnTo>
                          <a:pt x="1354" y="5276"/>
                        </a:lnTo>
                        <a:lnTo>
                          <a:pt x="1414" y="5336"/>
                        </a:lnTo>
                        <a:lnTo>
                          <a:pt x="1438" y="5466"/>
                        </a:lnTo>
                        <a:lnTo>
                          <a:pt x="1426" y="5561"/>
                        </a:lnTo>
                        <a:lnTo>
                          <a:pt x="1485" y="5728"/>
                        </a:lnTo>
                        <a:lnTo>
                          <a:pt x="1473" y="5894"/>
                        </a:lnTo>
                        <a:lnTo>
                          <a:pt x="1485" y="6049"/>
                        </a:lnTo>
                        <a:lnTo>
                          <a:pt x="1521" y="6120"/>
                        </a:lnTo>
                        <a:lnTo>
                          <a:pt x="1533" y="6203"/>
                        </a:lnTo>
                        <a:lnTo>
                          <a:pt x="1485" y="6358"/>
                        </a:lnTo>
                        <a:lnTo>
                          <a:pt x="1485" y="6465"/>
                        </a:lnTo>
                        <a:lnTo>
                          <a:pt x="1402" y="6655"/>
                        </a:lnTo>
                        <a:lnTo>
                          <a:pt x="1414" y="6750"/>
                        </a:lnTo>
                        <a:lnTo>
                          <a:pt x="1378" y="6833"/>
                        </a:lnTo>
                        <a:lnTo>
                          <a:pt x="1366" y="6952"/>
                        </a:lnTo>
                        <a:lnTo>
                          <a:pt x="1343" y="7035"/>
                        </a:lnTo>
                        <a:lnTo>
                          <a:pt x="1212" y="7225"/>
                        </a:lnTo>
                        <a:lnTo>
                          <a:pt x="1129" y="7249"/>
                        </a:lnTo>
                        <a:lnTo>
                          <a:pt x="1105" y="7261"/>
                        </a:lnTo>
                        <a:lnTo>
                          <a:pt x="1093" y="7285"/>
                        </a:lnTo>
                        <a:lnTo>
                          <a:pt x="1105" y="7332"/>
                        </a:lnTo>
                        <a:lnTo>
                          <a:pt x="1141" y="7356"/>
                        </a:lnTo>
                        <a:lnTo>
                          <a:pt x="1212" y="7415"/>
                        </a:lnTo>
                        <a:lnTo>
                          <a:pt x="1295" y="7392"/>
                        </a:lnTo>
                        <a:lnTo>
                          <a:pt x="1354" y="7403"/>
                        </a:lnTo>
                        <a:lnTo>
                          <a:pt x="1390" y="7427"/>
                        </a:lnTo>
                        <a:lnTo>
                          <a:pt x="1402" y="7463"/>
                        </a:lnTo>
                        <a:lnTo>
                          <a:pt x="1390" y="7510"/>
                        </a:lnTo>
                        <a:lnTo>
                          <a:pt x="1366" y="7546"/>
                        </a:lnTo>
                        <a:lnTo>
                          <a:pt x="1295" y="7582"/>
                        </a:lnTo>
                        <a:lnTo>
                          <a:pt x="1295" y="7605"/>
                        </a:lnTo>
                        <a:lnTo>
                          <a:pt x="1307" y="7617"/>
                        </a:lnTo>
                        <a:lnTo>
                          <a:pt x="1343" y="7617"/>
                        </a:lnTo>
                        <a:lnTo>
                          <a:pt x="1390" y="7605"/>
                        </a:lnTo>
                        <a:lnTo>
                          <a:pt x="1414" y="7701"/>
                        </a:lnTo>
                        <a:lnTo>
                          <a:pt x="1461" y="7712"/>
                        </a:lnTo>
                        <a:lnTo>
                          <a:pt x="1497" y="7760"/>
                        </a:lnTo>
                        <a:lnTo>
                          <a:pt x="1485" y="7796"/>
                        </a:lnTo>
                        <a:lnTo>
                          <a:pt x="1485" y="7831"/>
                        </a:lnTo>
                        <a:lnTo>
                          <a:pt x="1521" y="7867"/>
                        </a:lnTo>
                        <a:lnTo>
                          <a:pt x="1545" y="7879"/>
                        </a:lnTo>
                        <a:lnTo>
                          <a:pt x="1568" y="7891"/>
                        </a:lnTo>
                        <a:lnTo>
                          <a:pt x="1568" y="7938"/>
                        </a:lnTo>
                        <a:lnTo>
                          <a:pt x="1640" y="7998"/>
                        </a:lnTo>
                        <a:lnTo>
                          <a:pt x="1687" y="8081"/>
                        </a:lnTo>
                        <a:lnTo>
                          <a:pt x="1687" y="8093"/>
                        </a:lnTo>
                        <a:lnTo>
                          <a:pt x="1770" y="8164"/>
                        </a:lnTo>
                        <a:lnTo>
                          <a:pt x="1806" y="8259"/>
                        </a:lnTo>
                        <a:lnTo>
                          <a:pt x="1806" y="8283"/>
                        </a:lnTo>
                        <a:lnTo>
                          <a:pt x="1842" y="8307"/>
                        </a:lnTo>
                        <a:lnTo>
                          <a:pt x="1877" y="8366"/>
                        </a:lnTo>
                        <a:lnTo>
                          <a:pt x="1913" y="8390"/>
                        </a:lnTo>
                        <a:lnTo>
                          <a:pt x="1949" y="8390"/>
                        </a:lnTo>
                        <a:lnTo>
                          <a:pt x="1996" y="8330"/>
                        </a:lnTo>
                        <a:lnTo>
                          <a:pt x="2032" y="8307"/>
                        </a:lnTo>
                        <a:lnTo>
                          <a:pt x="2091" y="8295"/>
                        </a:lnTo>
                        <a:lnTo>
                          <a:pt x="2151" y="8247"/>
                        </a:lnTo>
                        <a:lnTo>
                          <a:pt x="2198" y="8235"/>
                        </a:lnTo>
                        <a:lnTo>
                          <a:pt x="2270" y="8235"/>
                        </a:lnTo>
                        <a:lnTo>
                          <a:pt x="2329" y="8223"/>
                        </a:lnTo>
                        <a:lnTo>
                          <a:pt x="2365" y="8212"/>
                        </a:lnTo>
                        <a:lnTo>
                          <a:pt x="2400" y="8212"/>
                        </a:lnTo>
                        <a:lnTo>
                          <a:pt x="2436" y="8212"/>
                        </a:lnTo>
                        <a:lnTo>
                          <a:pt x="2472" y="8223"/>
                        </a:lnTo>
                        <a:lnTo>
                          <a:pt x="2507" y="8283"/>
                        </a:lnTo>
                        <a:lnTo>
                          <a:pt x="2578" y="8318"/>
                        </a:lnTo>
                        <a:lnTo>
                          <a:pt x="2578" y="8330"/>
                        </a:lnTo>
                        <a:lnTo>
                          <a:pt x="2578" y="8402"/>
                        </a:lnTo>
                        <a:lnTo>
                          <a:pt x="2531" y="8473"/>
                        </a:lnTo>
                        <a:lnTo>
                          <a:pt x="2543" y="8592"/>
                        </a:lnTo>
                        <a:lnTo>
                          <a:pt x="2531" y="8627"/>
                        </a:lnTo>
                        <a:lnTo>
                          <a:pt x="2483" y="8687"/>
                        </a:lnTo>
                        <a:lnTo>
                          <a:pt x="2460" y="8687"/>
                        </a:lnTo>
                        <a:lnTo>
                          <a:pt x="2400" y="8699"/>
                        </a:lnTo>
                        <a:lnTo>
                          <a:pt x="2281" y="8711"/>
                        </a:lnTo>
                        <a:lnTo>
                          <a:pt x="2270" y="8734"/>
                        </a:lnTo>
                        <a:lnTo>
                          <a:pt x="2222" y="8794"/>
                        </a:lnTo>
                        <a:lnTo>
                          <a:pt x="2163" y="8996"/>
                        </a:lnTo>
                        <a:lnTo>
                          <a:pt x="2103" y="9091"/>
                        </a:lnTo>
                        <a:lnTo>
                          <a:pt x="2103" y="9186"/>
                        </a:lnTo>
                        <a:lnTo>
                          <a:pt x="2056" y="9222"/>
                        </a:lnTo>
                        <a:lnTo>
                          <a:pt x="2056" y="9245"/>
                        </a:lnTo>
                        <a:lnTo>
                          <a:pt x="2067" y="9305"/>
                        </a:lnTo>
                        <a:lnTo>
                          <a:pt x="2056" y="9340"/>
                        </a:lnTo>
                        <a:lnTo>
                          <a:pt x="1961" y="9424"/>
                        </a:lnTo>
                        <a:lnTo>
                          <a:pt x="1901" y="9507"/>
                        </a:lnTo>
                        <a:lnTo>
                          <a:pt x="1937" y="9578"/>
                        </a:lnTo>
                        <a:lnTo>
                          <a:pt x="1961" y="9590"/>
                        </a:lnTo>
                        <a:lnTo>
                          <a:pt x="2032" y="9626"/>
                        </a:lnTo>
                        <a:lnTo>
                          <a:pt x="2115" y="9733"/>
                        </a:lnTo>
                        <a:lnTo>
                          <a:pt x="2139" y="9756"/>
                        </a:lnTo>
                        <a:lnTo>
                          <a:pt x="2151" y="9780"/>
                        </a:lnTo>
                        <a:lnTo>
                          <a:pt x="2139" y="9899"/>
                        </a:lnTo>
                        <a:lnTo>
                          <a:pt x="2163" y="9935"/>
                        </a:lnTo>
                        <a:lnTo>
                          <a:pt x="2198" y="9947"/>
                        </a:lnTo>
                        <a:lnTo>
                          <a:pt x="2222" y="10006"/>
                        </a:lnTo>
                        <a:lnTo>
                          <a:pt x="2234" y="10030"/>
                        </a:lnTo>
                        <a:lnTo>
                          <a:pt x="2258" y="10042"/>
                        </a:lnTo>
                        <a:lnTo>
                          <a:pt x="2317" y="10006"/>
                        </a:lnTo>
                        <a:lnTo>
                          <a:pt x="2412" y="10065"/>
                        </a:lnTo>
                        <a:lnTo>
                          <a:pt x="2448" y="10125"/>
                        </a:lnTo>
                        <a:lnTo>
                          <a:pt x="2460" y="10172"/>
                        </a:lnTo>
                        <a:lnTo>
                          <a:pt x="2436" y="10232"/>
                        </a:lnTo>
                        <a:lnTo>
                          <a:pt x="2341" y="10339"/>
                        </a:lnTo>
                        <a:lnTo>
                          <a:pt x="2329" y="10386"/>
                        </a:lnTo>
                        <a:lnTo>
                          <a:pt x="2353" y="10422"/>
                        </a:lnTo>
                        <a:lnTo>
                          <a:pt x="2460" y="10422"/>
                        </a:lnTo>
                        <a:lnTo>
                          <a:pt x="2483" y="10481"/>
                        </a:lnTo>
                        <a:lnTo>
                          <a:pt x="2495" y="10493"/>
                        </a:lnTo>
                        <a:lnTo>
                          <a:pt x="2519" y="10505"/>
                        </a:lnTo>
                        <a:lnTo>
                          <a:pt x="2614" y="10505"/>
                        </a:lnTo>
                        <a:lnTo>
                          <a:pt x="2650" y="10469"/>
                        </a:lnTo>
                        <a:lnTo>
                          <a:pt x="2662" y="10529"/>
                        </a:lnTo>
                        <a:lnTo>
                          <a:pt x="2662" y="10541"/>
                        </a:lnTo>
                        <a:lnTo>
                          <a:pt x="2638" y="10576"/>
                        </a:lnTo>
                        <a:lnTo>
                          <a:pt x="2567" y="10636"/>
                        </a:lnTo>
                        <a:lnTo>
                          <a:pt x="2543" y="10660"/>
                        </a:lnTo>
                        <a:lnTo>
                          <a:pt x="2543" y="10695"/>
                        </a:lnTo>
                        <a:lnTo>
                          <a:pt x="2567" y="10755"/>
                        </a:lnTo>
                        <a:lnTo>
                          <a:pt x="2614" y="10802"/>
                        </a:lnTo>
                        <a:lnTo>
                          <a:pt x="2614" y="10838"/>
                        </a:lnTo>
                        <a:lnTo>
                          <a:pt x="2626" y="10850"/>
                        </a:lnTo>
                        <a:lnTo>
                          <a:pt x="2662" y="10885"/>
                        </a:lnTo>
                        <a:lnTo>
                          <a:pt x="2674" y="10933"/>
                        </a:lnTo>
                        <a:lnTo>
                          <a:pt x="2697" y="10957"/>
                        </a:lnTo>
                        <a:lnTo>
                          <a:pt x="2733" y="10957"/>
                        </a:lnTo>
                        <a:lnTo>
                          <a:pt x="2816" y="10933"/>
                        </a:lnTo>
                        <a:lnTo>
                          <a:pt x="3006" y="11004"/>
                        </a:lnTo>
                        <a:lnTo>
                          <a:pt x="3030" y="11004"/>
                        </a:lnTo>
                        <a:lnTo>
                          <a:pt x="3054" y="11028"/>
                        </a:lnTo>
                        <a:lnTo>
                          <a:pt x="3137" y="10945"/>
                        </a:lnTo>
                        <a:lnTo>
                          <a:pt x="3208" y="10850"/>
                        </a:lnTo>
                        <a:lnTo>
                          <a:pt x="3220" y="10814"/>
                        </a:lnTo>
                        <a:lnTo>
                          <a:pt x="3232" y="10743"/>
                        </a:lnTo>
                        <a:lnTo>
                          <a:pt x="3280" y="10660"/>
                        </a:lnTo>
                        <a:lnTo>
                          <a:pt x="3280" y="10624"/>
                        </a:lnTo>
                        <a:lnTo>
                          <a:pt x="3256" y="10517"/>
                        </a:lnTo>
                        <a:lnTo>
                          <a:pt x="3268" y="10481"/>
                        </a:lnTo>
                        <a:lnTo>
                          <a:pt x="3303" y="10398"/>
                        </a:lnTo>
                        <a:lnTo>
                          <a:pt x="3292" y="10315"/>
                        </a:lnTo>
                        <a:lnTo>
                          <a:pt x="3280" y="10256"/>
                        </a:lnTo>
                        <a:lnTo>
                          <a:pt x="3303" y="10184"/>
                        </a:lnTo>
                        <a:lnTo>
                          <a:pt x="3327" y="10137"/>
                        </a:lnTo>
                        <a:lnTo>
                          <a:pt x="3351" y="10089"/>
                        </a:lnTo>
                        <a:lnTo>
                          <a:pt x="3351" y="10042"/>
                        </a:lnTo>
                        <a:lnTo>
                          <a:pt x="3256" y="9935"/>
                        </a:lnTo>
                        <a:lnTo>
                          <a:pt x="3232" y="9923"/>
                        </a:lnTo>
                        <a:lnTo>
                          <a:pt x="3208" y="9875"/>
                        </a:lnTo>
                        <a:lnTo>
                          <a:pt x="3220" y="9828"/>
                        </a:lnTo>
                        <a:lnTo>
                          <a:pt x="3220" y="9756"/>
                        </a:lnTo>
                        <a:lnTo>
                          <a:pt x="3196" y="9673"/>
                        </a:lnTo>
                        <a:lnTo>
                          <a:pt x="3185" y="9554"/>
                        </a:lnTo>
                        <a:lnTo>
                          <a:pt x="3137" y="9471"/>
                        </a:lnTo>
                        <a:lnTo>
                          <a:pt x="3137" y="9400"/>
                        </a:lnTo>
                        <a:lnTo>
                          <a:pt x="3173" y="9352"/>
                        </a:lnTo>
                        <a:lnTo>
                          <a:pt x="3185" y="9305"/>
                        </a:lnTo>
                        <a:lnTo>
                          <a:pt x="3256" y="9234"/>
                        </a:lnTo>
                        <a:lnTo>
                          <a:pt x="3339" y="9127"/>
                        </a:lnTo>
                        <a:lnTo>
                          <a:pt x="3375" y="9043"/>
                        </a:lnTo>
                        <a:lnTo>
                          <a:pt x="3446" y="8841"/>
                        </a:lnTo>
                        <a:lnTo>
                          <a:pt x="3482" y="8770"/>
                        </a:lnTo>
                        <a:lnTo>
                          <a:pt x="3517" y="8734"/>
                        </a:lnTo>
                        <a:lnTo>
                          <a:pt x="3565" y="8627"/>
                        </a:lnTo>
                        <a:lnTo>
                          <a:pt x="3612" y="8568"/>
                        </a:lnTo>
                        <a:lnTo>
                          <a:pt x="3624" y="8509"/>
                        </a:lnTo>
                        <a:lnTo>
                          <a:pt x="3612" y="8461"/>
                        </a:lnTo>
                        <a:lnTo>
                          <a:pt x="3624" y="8425"/>
                        </a:lnTo>
                        <a:lnTo>
                          <a:pt x="3660" y="8366"/>
                        </a:lnTo>
                        <a:lnTo>
                          <a:pt x="3684" y="8235"/>
                        </a:lnTo>
                        <a:lnTo>
                          <a:pt x="3719" y="8188"/>
                        </a:lnTo>
                        <a:lnTo>
                          <a:pt x="3731" y="8116"/>
                        </a:lnTo>
                        <a:lnTo>
                          <a:pt x="3767" y="8081"/>
                        </a:lnTo>
                        <a:lnTo>
                          <a:pt x="3791" y="8010"/>
                        </a:lnTo>
                        <a:lnTo>
                          <a:pt x="3862" y="7914"/>
                        </a:lnTo>
                        <a:lnTo>
                          <a:pt x="3909" y="7867"/>
                        </a:lnTo>
                        <a:lnTo>
                          <a:pt x="3957" y="7807"/>
                        </a:lnTo>
                        <a:lnTo>
                          <a:pt x="3981" y="7796"/>
                        </a:lnTo>
                        <a:lnTo>
                          <a:pt x="4028" y="7796"/>
                        </a:lnTo>
                        <a:lnTo>
                          <a:pt x="4064" y="7772"/>
                        </a:lnTo>
                        <a:lnTo>
                          <a:pt x="4112" y="7772"/>
                        </a:lnTo>
                        <a:lnTo>
                          <a:pt x="4207" y="7724"/>
                        </a:lnTo>
                        <a:lnTo>
                          <a:pt x="4290" y="7712"/>
                        </a:lnTo>
                        <a:lnTo>
                          <a:pt x="4409" y="7665"/>
                        </a:lnTo>
                        <a:lnTo>
                          <a:pt x="4456" y="7629"/>
                        </a:lnTo>
                        <a:lnTo>
                          <a:pt x="4504" y="7558"/>
                        </a:lnTo>
                        <a:lnTo>
                          <a:pt x="4539" y="7534"/>
                        </a:lnTo>
                        <a:lnTo>
                          <a:pt x="4599" y="7534"/>
                        </a:lnTo>
                        <a:lnTo>
                          <a:pt x="4634" y="7534"/>
                        </a:lnTo>
                        <a:lnTo>
                          <a:pt x="4658" y="7558"/>
                        </a:lnTo>
                        <a:lnTo>
                          <a:pt x="4682" y="7558"/>
                        </a:lnTo>
                        <a:lnTo>
                          <a:pt x="4789" y="7415"/>
                        </a:lnTo>
                        <a:lnTo>
                          <a:pt x="4825" y="7403"/>
                        </a:lnTo>
                        <a:lnTo>
                          <a:pt x="4860" y="7392"/>
                        </a:lnTo>
                        <a:lnTo>
                          <a:pt x="5015" y="7285"/>
                        </a:lnTo>
                        <a:lnTo>
                          <a:pt x="5074" y="7261"/>
                        </a:lnTo>
                        <a:lnTo>
                          <a:pt x="5110" y="7261"/>
                        </a:lnTo>
                        <a:lnTo>
                          <a:pt x="5169" y="7249"/>
                        </a:lnTo>
                        <a:lnTo>
                          <a:pt x="5217" y="7213"/>
                        </a:lnTo>
                        <a:lnTo>
                          <a:pt x="5240" y="7130"/>
                        </a:lnTo>
                        <a:lnTo>
                          <a:pt x="5288" y="7094"/>
                        </a:lnTo>
                        <a:lnTo>
                          <a:pt x="5300" y="7059"/>
                        </a:lnTo>
                        <a:lnTo>
                          <a:pt x="5336" y="7035"/>
                        </a:lnTo>
                        <a:lnTo>
                          <a:pt x="5336" y="7011"/>
                        </a:lnTo>
                        <a:lnTo>
                          <a:pt x="5359" y="6999"/>
                        </a:lnTo>
                        <a:lnTo>
                          <a:pt x="5371" y="6964"/>
                        </a:lnTo>
                        <a:lnTo>
                          <a:pt x="5419" y="6928"/>
                        </a:lnTo>
                        <a:lnTo>
                          <a:pt x="5442" y="6892"/>
                        </a:lnTo>
                        <a:lnTo>
                          <a:pt x="5478" y="6881"/>
                        </a:lnTo>
                        <a:lnTo>
                          <a:pt x="5490" y="6833"/>
                        </a:lnTo>
                        <a:lnTo>
                          <a:pt x="5514" y="6821"/>
                        </a:lnTo>
                        <a:lnTo>
                          <a:pt x="5633" y="6833"/>
                        </a:lnTo>
                        <a:lnTo>
                          <a:pt x="5704" y="6821"/>
                        </a:lnTo>
                        <a:lnTo>
                          <a:pt x="5811" y="6785"/>
                        </a:lnTo>
                        <a:lnTo>
                          <a:pt x="5823" y="6785"/>
                        </a:lnTo>
                        <a:lnTo>
                          <a:pt x="5858" y="6762"/>
                        </a:lnTo>
                        <a:lnTo>
                          <a:pt x="5977" y="6785"/>
                        </a:lnTo>
                        <a:lnTo>
                          <a:pt x="6049" y="6809"/>
                        </a:lnTo>
                        <a:lnTo>
                          <a:pt x="6096" y="6833"/>
                        </a:lnTo>
                        <a:lnTo>
                          <a:pt x="6120" y="6881"/>
                        </a:lnTo>
                        <a:lnTo>
                          <a:pt x="6203" y="6928"/>
                        </a:lnTo>
                        <a:lnTo>
                          <a:pt x="6274" y="6952"/>
                        </a:lnTo>
                        <a:lnTo>
                          <a:pt x="6346" y="6892"/>
                        </a:lnTo>
                        <a:lnTo>
                          <a:pt x="6417" y="6881"/>
                        </a:lnTo>
                        <a:lnTo>
                          <a:pt x="6453" y="6857"/>
                        </a:lnTo>
                        <a:lnTo>
                          <a:pt x="6488" y="6857"/>
                        </a:lnTo>
                        <a:lnTo>
                          <a:pt x="6524" y="6881"/>
                        </a:lnTo>
                        <a:lnTo>
                          <a:pt x="6536" y="6881"/>
                        </a:lnTo>
                        <a:lnTo>
                          <a:pt x="6607" y="6857"/>
                        </a:lnTo>
                        <a:lnTo>
                          <a:pt x="6726" y="6833"/>
                        </a:lnTo>
                        <a:lnTo>
                          <a:pt x="6785" y="6797"/>
                        </a:lnTo>
                        <a:lnTo>
                          <a:pt x="6809" y="6785"/>
                        </a:lnTo>
                        <a:lnTo>
                          <a:pt x="6845" y="6667"/>
                        </a:lnTo>
                        <a:lnTo>
                          <a:pt x="6880" y="6619"/>
                        </a:lnTo>
                        <a:lnTo>
                          <a:pt x="6892" y="6560"/>
                        </a:lnTo>
                        <a:lnTo>
                          <a:pt x="6904" y="6524"/>
                        </a:lnTo>
                        <a:lnTo>
                          <a:pt x="6916" y="6488"/>
                        </a:lnTo>
                        <a:lnTo>
                          <a:pt x="6964" y="6370"/>
                        </a:lnTo>
                        <a:lnTo>
                          <a:pt x="6940" y="6322"/>
                        </a:lnTo>
                        <a:lnTo>
                          <a:pt x="6940" y="6263"/>
                        </a:lnTo>
                        <a:lnTo>
                          <a:pt x="6928" y="6227"/>
                        </a:lnTo>
                        <a:lnTo>
                          <a:pt x="6880" y="6227"/>
                        </a:lnTo>
                        <a:lnTo>
                          <a:pt x="6857" y="6179"/>
                        </a:lnTo>
                        <a:lnTo>
                          <a:pt x="6809" y="6156"/>
                        </a:lnTo>
                        <a:lnTo>
                          <a:pt x="6785" y="6108"/>
                        </a:lnTo>
                        <a:lnTo>
                          <a:pt x="6714" y="6061"/>
                        </a:lnTo>
                        <a:lnTo>
                          <a:pt x="6690" y="6013"/>
                        </a:lnTo>
                        <a:lnTo>
                          <a:pt x="6702" y="5977"/>
                        </a:lnTo>
                        <a:lnTo>
                          <a:pt x="6702" y="5942"/>
                        </a:lnTo>
                        <a:lnTo>
                          <a:pt x="6690" y="5918"/>
                        </a:lnTo>
                        <a:lnTo>
                          <a:pt x="6678" y="5906"/>
                        </a:lnTo>
                        <a:lnTo>
                          <a:pt x="6655" y="5835"/>
                        </a:lnTo>
                        <a:lnTo>
                          <a:pt x="6678" y="5775"/>
                        </a:lnTo>
                        <a:lnTo>
                          <a:pt x="6655" y="5728"/>
                        </a:lnTo>
                        <a:lnTo>
                          <a:pt x="6655" y="5657"/>
                        </a:lnTo>
                        <a:lnTo>
                          <a:pt x="6678" y="5633"/>
                        </a:lnTo>
                        <a:lnTo>
                          <a:pt x="6678" y="5609"/>
                        </a:lnTo>
                        <a:lnTo>
                          <a:pt x="6655" y="5550"/>
                        </a:lnTo>
                        <a:lnTo>
                          <a:pt x="6655" y="5502"/>
                        </a:lnTo>
                        <a:lnTo>
                          <a:pt x="6714" y="5454"/>
                        </a:lnTo>
                        <a:lnTo>
                          <a:pt x="6750" y="5395"/>
                        </a:lnTo>
                        <a:lnTo>
                          <a:pt x="6773" y="5371"/>
                        </a:lnTo>
                        <a:lnTo>
                          <a:pt x="6797" y="5300"/>
                        </a:lnTo>
                        <a:lnTo>
                          <a:pt x="6845" y="5288"/>
                        </a:lnTo>
                        <a:lnTo>
                          <a:pt x="6869" y="5241"/>
                        </a:lnTo>
                        <a:lnTo>
                          <a:pt x="6964" y="5181"/>
                        </a:lnTo>
                        <a:lnTo>
                          <a:pt x="6987" y="5157"/>
                        </a:lnTo>
                        <a:lnTo>
                          <a:pt x="6999" y="5122"/>
                        </a:lnTo>
                        <a:lnTo>
                          <a:pt x="6999" y="5039"/>
                        </a:lnTo>
                        <a:lnTo>
                          <a:pt x="7023" y="5003"/>
                        </a:lnTo>
                        <a:lnTo>
                          <a:pt x="7011" y="4943"/>
                        </a:lnTo>
                        <a:lnTo>
                          <a:pt x="6999" y="4932"/>
                        </a:lnTo>
                        <a:lnTo>
                          <a:pt x="7011" y="4920"/>
                        </a:lnTo>
                        <a:lnTo>
                          <a:pt x="7011" y="4908"/>
                        </a:lnTo>
                        <a:lnTo>
                          <a:pt x="7011" y="4884"/>
                        </a:lnTo>
                        <a:lnTo>
                          <a:pt x="6999" y="4872"/>
                        </a:lnTo>
                        <a:lnTo>
                          <a:pt x="6976" y="4848"/>
                        </a:lnTo>
                        <a:lnTo>
                          <a:pt x="6964" y="4825"/>
                        </a:lnTo>
                        <a:lnTo>
                          <a:pt x="6976" y="4753"/>
                        </a:lnTo>
                        <a:lnTo>
                          <a:pt x="6964" y="4730"/>
                        </a:lnTo>
                        <a:lnTo>
                          <a:pt x="6964" y="4682"/>
                        </a:lnTo>
                        <a:lnTo>
                          <a:pt x="6928" y="4623"/>
                        </a:lnTo>
                        <a:lnTo>
                          <a:pt x="6904" y="4539"/>
                        </a:lnTo>
                        <a:lnTo>
                          <a:pt x="6869" y="4492"/>
                        </a:lnTo>
                        <a:lnTo>
                          <a:pt x="6880" y="4444"/>
                        </a:lnTo>
                        <a:lnTo>
                          <a:pt x="6857" y="4397"/>
                        </a:lnTo>
                        <a:lnTo>
                          <a:pt x="6857" y="4373"/>
                        </a:lnTo>
                        <a:lnTo>
                          <a:pt x="6880" y="4326"/>
                        </a:lnTo>
                        <a:lnTo>
                          <a:pt x="6928" y="4290"/>
                        </a:lnTo>
                        <a:lnTo>
                          <a:pt x="6940" y="4219"/>
                        </a:lnTo>
                        <a:lnTo>
                          <a:pt x="6964" y="4183"/>
                        </a:lnTo>
                        <a:lnTo>
                          <a:pt x="6976" y="4159"/>
                        </a:lnTo>
                        <a:lnTo>
                          <a:pt x="6952" y="4112"/>
                        </a:lnTo>
                        <a:lnTo>
                          <a:pt x="6952" y="4052"/>
                        </a:lnTo>
                        <a:lnTo>
                          <a:pt x="6916" y="3993"/>
                        </a:lnTo>
                        <a:lnTo>
                          <a:pt x="6857" y="3969"/>
                        </a:lnTo>
                        <a:lnTo>
                          <a:pt x="6857" y="3957"/>
                        </a:lnTo>
                        <a:lnTo>
                          <a:pt x="6845" y="3921"/>
                        </a:lnTo>
                        <a:lnTo>
                          <a:pt x="6797" y="3838"/>
                        </a:lnTo>
                        <a:lnTo>
                          <a:pt x="6809" y="3779"/>
                        </a:lnTo>
                        <a:lnTo>
                          <a:pt x="6845" y="3731"/>
                        </a:lnTo>
                        <a:lnTo>
                          <a:pt x="6916" y="3719"/>
                        </a:lnTo>
                        <a:lnTo>
                          <a:pt x="6928" y="3696"/>
                        </a:lnTo>
                        <a:lnTo>
                          <a:pt x="6916" y="3684"/>
                        </a:lnTo>
                        <a:lnTo>
                          <a:pt x="6916" y="3660"/>
                        </a:lnTo>
                        <a:lnTo>
                          <a:pt x="6964" y="3624"/>
                        </a:lnTo>
                        <a:lnTo>
                          <a:pt x="6999" y="3517"/>
                        </a:lnTo>
                        <a:lnTo>
                          <a:pt x="7035" y="3506"/>
                        </a:lnTo>
                        <a:lnTo>
                          <a:pt x="7071" y="3434"/>
                        </a:lnTo>
                        <a:lnTo>
                          <a:pt x="7118" y="3422"/>
                        </a:lnTo>
                        <a:lnTo>
                          <a:pt x="7142" y="3327"/>
                        </a:lnTo>
                        <a:lnTo>
                          <a:pt x="7189" y="3292"/>
                        </a:lnTo>
                        <a:lnTo>
                          <a:pt x="7201" y="3256"/>
                        </a:lnTo>
                        <a:lnTo>
                          <a:pt x="7189" y="3137"/>
                        </a:lnTo>
                        <a:lnTo>
                          <a:pt x="7237" y="3078"/>
                        </a:lnTo>
                        <a:lnTo>
                          <a:pt x="7284" y="3054"/>
                        </a:lnTo>
                        <a:lnTo>
                          <a:pt x="7284" y="3006"/>
                        </a:lnTo>
                        <a:lnTo>
                          <a:pt x="7332" y="2995"/>
                        </a:lnTo>
                        <a:lnTo>
                          <a:pt x="7344" y="2983"/>
                        </a:lnTo>
                        <a:lnTo>
                          <a:pt x="7356" y="2923"/>
                        </a:lnTo>
                        <a:lnTo>
                          <a:pt x="7391" y="2899"/>
                        </a:lnTo>
                        <a:lnTo>
                          <a:pt x="7391" y="2876"/>
                        </a:lnTo>
                        <a:lnTo>
                          <a:pt x="7415" y="2852"/>
                        </a:lnTo>
                        <a:lnTo>
                          <a:pt x="7427" y="2864"/>
                        </a:lnTo>
                        <a:lnTo>
                          <a:pt x="7427" y="2899"/>
                        </a:lnTo>
                        <a:lnTo>
                          <a:pt x="7439" y="2911"/>
                        </a:lnTo>
                        <a:lnTo>
                          <a:pt x="7451" y="2911"/>
                        </a:lnTo>
                        <a:lnTo>
                          <a:pt x="7475" y="2876"/>
                        </a:lnTo>
                        <a:lnTo>
                          <a:pt x="7498" y="2888"/>
                        </a:lnTo>
                        <a:lnTo>
                          <a:pt x="7510" y="2888"/>
                        </a:lnTo>
                        <a:lnTo>
                          <a:pt x="7534" y="2852"/>
                        </a:lnTo>
                        <a:lnTo>
                          <a:pt x="7570" y="2876"/>
                        </a:lnTo>
                        <a:lnTo>
                          <a:pt x="7629" y="2864"/>
                        </a:lnTo>
                        <a:lnTo>
                          <a:pt x="7665" y="2888"/>
                        </a:lnTo>
                        <a:lnTo>
                          <a:pt x="7677" y="2888"/>
                        </a:lnTo>
                        <a:lnTo>
                          <a:pt x="7700" y="2876"/>
                        </a:lnTo>
                        <a:lnTo>
                          <a:pt x="7760" y="2852"/>
                        </a:lnTo>
                        <a:lnTo>
                          <a:pt x="7772" y="2828"/>
                        </a:lnTo>
                        <a:lnTo>
                          <a:pt x="7843" y="2793"/>
                        </a:lnTo>
                        <a:lnTo>
                          <a:pt x="7855" y="2757"/>
                        </a:lnTo>
                        <a:lnTo>
                          <a:pt x="7867" y="2733"/>
                        </a:lnTo>
                        <a:lnTo>
                          <a:pt x="7867" y="2709"/>
                        </a:lnTo>
                        <a:lnTo>
                          <a:pt x="7879" y="2697"/>
                        </a:lnTo>
                        <a:lnTo>
                          <a:pt x="7902" y="2697"/>
                        </a:lnTo>
                        <a:lnTo>
                          <a:pt x="7902" y="2686"/>
                        </a:lnTo>
                        <a:lnTo>
                          <a:pt x="7867" y="2674"/>
                        </a:lnTo>
                        <a:lnTo>
                          <a:pt x="7867" y="2650"/>
                        </a:lnTo>
                        <a:lnTo>
                          <a:pt x="7986" y="2638"/>
                        </a:lnTo>
                        <a:lnTo>
                          <a:pt x="8033" y="2626"/>
                        </a:lnTo>
                        <a:lnTo>
                          <a:pt x="8057" y="2614"/>
                        </a:lnTo>
                        <a:lnTo>
                          <a:pt x="8057" y="2555"/>
                        </a:lnTo>
                        <a:lnTo>
                          <a:pt x="8104" y="2543"/>
                        </a:lnTo>
                        <a:lnTo>
                          <a:pt x="8104" y="2507"/>
                        </a:lnTo>
                        <a:lnTo>
                          <a:pt x="8116" y="2460"/>
                        </a:lnTo>
                        <a:lnTo>
                          <a:pt x="8140" y="2448"/>
                        </a:lnTo>
                        <a:lnTo>
                          <a:pt x="8200" y="2424"/>
                        </a:lnTo>
                        <a:lnTo>
                          <a:pt x="8247" y="2365"/>
                        </a:lnTo>
                        <a:lnTo>
                          <a:pt x="8259" y="2329"/>
                        </a:lnTo>
                        <a:lnTo>
                          <a:pt x="8283" y="2305"/>
                        </a:lnTo>
                        <a:lnTo>
                          <a:pt x="8283" y="2282"/>
                        </a:lnTo>
                        <a:lnTo>
                          <a:pt x="8259" y="2246"/>
                        </a:lnTo>
                        <a:lnTo>
                          <a:pt x="8211" y="2186"/>
                        </a:lnTo>
                        <a:lnTo>
                          <a:pt x="8211" y="2151"/>
                        </a:lnTo>
                        <a:lnTo>
                          <a:pt x="8259" y="205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3" name="Freeform 260"/>
                  <p:cNvSpPr>
                    <a:spLocks/>
                  </p:cNvSpPr>
                  <p:nvPr/>
                </p:nvSpPr>
                <p:spPr bwMode="auto">
                  <a:xfrm>
                    <a:off x="25479375" y="-19029363"/>
                    <a:ext cx="150813" cy="131763"/>
                  </a:xfrm>
                  <a:custGeom>
                    <a:avLst/>
                    <a:gdLst/>
                    <a:ahLst/>
                    <a:cxnLst>
                      <a:cxn ang="0">
                        <a:pos x="83" y="71"/>
                      </a:cxn>
                      <a:cxn ang="0">
                        <a:pos x="83" y="35"/>
                      </a:cxn>
                      <a:cxn ang="0">
                        <a:pos x="95" y="24"/>
                      </a:cxn>
                      <a:cxn ang="0">
                        <a:pos x="95" y="0"/>
                      </a:cxn>
                      <a:cxn ang="0">
                        <a:pos x="36" y="12"/>
                      </a:cxn>
                      <a:cxn ang="0">
                        <a:pos x="0" y="24"/>
                      </a:cxn>
                      <a:cxn ang="0">
                        <a:pos x="0" y="35"/>
                      </a:cxn>
                      <a:cxn ang="0">
                        <a:pos x="0" y="47"/>
                      </a:cxn>
                      <a:cxn ang="0">
                        <a:pos x="60" y="83"/>
                      </a:cxn>
                      <a:cxn ang="0">
                        <a:pos x="83" y="71"/>
                      </a:cxn>
                    </a:cxnLst>
                    <a:rect l="0" t="0" r="r" b="b"/>
                    <a:pathLst>
                      <a:path w="95" h="83">
                        <a:moveTo>
                          <a:pt x="83" y="71"/>
                        </a:moveTo>
                        <a:lnTo>
                          <a:pt x="83" y="35"/>
                        </a:lnTo>
                        <a:lnTo>
                          <a:pt x="95" y="24"/>
                        </a:lnTo>
                        <a:lnTo>
                          <a:pt x="95" y="0"/>
                        </a:lnTo>
                        <a:lnTo>
                          <a:pt x="36" y="12"/>
                        </a:lnTo>
                        <a:lnTo>
                          <a:pt x="0" y="24"/>
                        </a:lnTo>
                        <a:lnTo>
                          <a:pt x="0" y="35"/>
                        </a:lnTo>
                        <a:lnTo>
                          <a:pt x="0" y="47"/>
                        </a:lnTo>
                        <a:lnTo>
                          <a:pt x="60" y="83"/>
                        </a:lnTo>
                        <a:lnTo>
                          <a:pt x="83" y="71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4" name="Freeform 262"/>
                  <p:cNvSpPr>
                    <a:spLocks/>
                  </p:cNvSpPr>
                  <p:nvPr/>
                </p:nvSpPr>
                <p:spPr bwMode="auto">
                  <a:xfrm>
                    <a:off x="25253950" y="-19218275"/>
                    <a:ext cx="225425" cy="339725"/>
                  </a:xfrm>
                  <a:custGeom>
                    <a:avLst/>
                    <a:gdLst/>
                    <a:ahLst/>
                    <a:cxnLst>
                      <a:cxn ang="0">
                        <a:pos x="11" y="202"/>
                      </a:cxn>
                      <a:cxn ang="0">
                        <a:pos x="23" y="214"/>
                      </a:cxn>
                      <a:cxn ang="0">
                        <a:pos x="47" y="190"/>
                      </a:cxn>
                      <a:cxn ang="0">
                        <a:pos x="95" y="190"/>
                      </a:cxn>
                      <a:cxn ang="0">
                        <a:pos x="130" y="107"/>
                      </a:cxn>
                      <a:cxn ang="0">
                        <a:pos x="142" y="71"/>
                      </a:cxn>
                      <a:cxn ang="0">
                        <a:pos x="130" y="59"/>
                      </a:cxn>
                      <a:cxn ang="0">
                        <a:pos x="106" y="59"/>
                      </a:cxn>
                      <a:cxn ang="0">
                        <a:pos x="83" y="95"/>
                      </a:cxn>
                      <a:cxn ang="0">
                        <a:pos x="71" y="95"/>
                      </a:cxn>
                      <a:cxn ang="0">
                        <a:pos x="59" y="83"/>
                      </a:cxn>
                      <a:cxn ang="0">
                        <a:pos x="83" y="48"/>
                      </a:cxn>
                      <a:cxn ang="0">
                        <a:pos x="142" y="24"/>
                      </a:cxn>
                      <a:cxn ang="0">
                        <a:pos x="142" y="0"/>
                      </a:cxn>
                      <a:cxn ang="0">
                        <a:pos x="95" y="0"/>
                      </a:cxn>
                      <a:cxn ang="0">
                        <a:pos x="47" y="36"/>
                      </a:cxn>
                      <a:cxn ang="0">
                        <a:pos x="0" y="59"/>
                      </a:cxn>
                      <a:cxn ang="0">
                        <a:pos x="0" y="95"/>
                      </a:cxn>
                      <a:cxn ang="0">
                        <a:pos x="11" y="202"/>
                      </a:cxn>
                    </a:cxnLst>
                    <a:rect l="0" t="0" r="r" b="b"/>
                    <a:pathLst>
                      <a:path w="142" h="214">
                        <a:moveTo>
                          <a:pt x="11" y="202"/>
                        </a:moveTo>
                        <a:lnTo>
                          <a:pt x="23" y="214"/>
                        </a:lnTo>
                        <a:lnTo>
                          <a:pt x="47" y="190"/>
                        </a:lnTo>
                        <a:lnTo>
                          <a:pt x="95" y="190"/>
                        </a:lnTo>
                        <a:lnTo>
                          <a:pt x="130" y="107"/>
                        </a:lnTo>
                        <a:lnTo>
                          <a:pt x="142" y="71"/>
                        </a:lnTo>
                        <a:lnTo>
                          <a:pt x="130" y="59"/>
                        </a:lnTo>
                        <a:lnTo>
                          <a:pt x="106" y="59"/>
                        </a:lnTo>
                        <a:lnTo>
                          <a:pt x="83" y="95"/>
                        </a:lnTo>
                        <a:lnTo>
                          <a:pt x="71" y="95"/>
                        </a:lnTo>
                        <a:lnTo>
                          <a:pt x="59" y="83"/>
                        </a:lnTo>
                        <a:lnTo>
                          <a:pt x="83" y="48"/>
                        </a:lnTo>
                        <a:lnTo>
                          <a:pt x="142" y="24"/>
                        </a:lnTo>
                        <a:lnTo>
                          <a:pt x="142" y="0"/>
                        </a:lnTo>
                        <a:lnTo>
                          <a:pt x="95" y="0"/>
                        </a:lnTo>
                        <a:lnTo>
                          <a:pt x="47" y="36"/>
                        </a:lnTo>
                        <a:lnTo>
                          <a:pt x="0" y="59"/>
                        </a:lnTo>
                        <a:lnTo>
                          <a:pt x="0" y="95"/>
                        </a:lnTo>
                        <a:lnTo>
                          <a:pt x="11" y="202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5" name="Freeform 264"/>
                  <p:cNvSpPr>
                    <a:spLocks/>
                  </p:cNvSpPr>
                  <p:nvPr/>
                </p:nvSpPr>
                <p:spPr bwMode="auto">
                  <a:xfrm>
                    <a:off x="25139650" y="-18916650"/>
                    <a:ext cx="76200" cy="112713"/>
                  </a:xfrm>
                  <a:custGeom>
                    <a:avLst/>
                    <a:gdLst/>
                    <a:ahLst/>
                    <a:cxnLst>
                      <a:cxn ang="0">
                        <a:pos x="36" y="71"/>
                      </a:cxn>
                      <a:cxn ang="0">
                        <a:pos x="48" y="0"/>
                      </a:cxn>
                      <a:cxn ang="0">
                        <a:pos x="12" y="12"/>
                      </a:cxn>
                      <a:cxn ang="0">
                        <a:pos x="0" y="36"/>
                      </a:cxn>
                      <a:cxn ang="0">
                        <a:pos x="12" y="71"/>
                      </a:cxn>
                      <a:cxn ang="0">
                        <a:pos x="36" y="71"/>
                      </a:cxn>
                    </a:cxnLst>
                    <a:rect l="0" t="0" r="r" b="b"/>
                    <a:pathLst>
                      <a:path w="48" h="71">
                        <a:moveTo>
                          <a:pt x="36" y="71"/>
                        </a:moveTo>
                        <a:lnTo>
                          <a:pt x="48" y="0"/>
                        </a:lnTo>
                        <a:lnTo>
                          <a:pt x="12" y="12"/>
                        </a:lnTo>
                        <a:lnTo>
                          <a:pt x="0" y="36"/>
                        </a:lnTo>
                        <a:lnTo>
                          <a:pt x="12" y="71"/>
                        </a:lnTo>
                        <a:lnTo>
                          <a:pt x="36" y="71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6" name="Freeform 266"/>
                  <p:cNvSpPr>
                    <a:spLocks/>
                  </p:cNvSpPr>
                  <p:nvPr/>
                </p:nvSpPr>
                <p:spPr bwMode="auto">
                  <a:xfrm>
                    <a:off x="25026938" y="-18840450"/>
                    <a:ext cx="93663" cy="131763"/>
                  </a:xfrm>
                  <a:custGeom>
                    <a:avLst/>
                    <a:gdLst/>
                    <a:ahLst/>
                    <a:cxnLst>
                      <a:cxn ang="0">
                        <a:pos x="36" y="83"/>
                      </a:cxn>
                      <a:cxn ang="0">
                        <a:pos x="59" y="47"/>
                      </a:cxn>
                      <a:cxn ang="0">
                        <a:pos x="59" y="35"/>
                      </a:cxn>
                      <a:cxn ang="0">
                        <a:pos x="47" y="23"/>
                      </a:cxn>
                      <a:cxn ang="0">
                        <a:pos x="36" y="0"/>
                      </a:cxn>
                      <a:cxn ang="0">
                        <a:pos x="12" y="12"/>
                      </a:cxn>
                      <a:cxn ang="0">
                        <a:pos x="0" y="71"/>
                      </a:cxn>
                      <a:cxn ang="0">
                        <a:pos x="24" y="83"/>
                      </a:cxn>
                      <a:cxn ang="0">
                        <a:pos x="36" y="83"/>
                      </a:cxn>
                    </a:cxnLst>
                    <a:rect l="0" t="0" r="r" b="b"/>
                    <a:pathLst>
                      <a:path w="59" h="83">
                        <a:moveTo>
                          <a:pt x="36" y="83"/>
                        </a:moveTo>
                        <a:lnTo>
                          <a:pt x="59" y="47"/>
                        </a:lnTo>
                        <a:lnTo>
                          <a:pt x="59" y="35"/>
                        </a:lnTo>
                        <a:lnTo>
                          <a:pt x="47" y="23"/>
                        </a:lnTo>
                        <a:lnTo>
                          <a:pt x="36" y="0"/>
                        </a:lnTo>
                        <a:lnTo>
                          <a:pt x="12" y="12"/>
                        </a:lnTo>
                        <a:lnTo>
                          <a:pt x="0" y="71"/>
                        </a:lnTo>
                        <a:lnTo>
                          <a:pt x="24" y="83"/>
                        </a:lnTo>
                        <a:lnTo>
                          <a:pt x="36" y="83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7" name="Freeform 268"/>
                  <p:cNvSpPr>
                    <a:spLocks/>
                  </p:cNvSpPr>
                  <p:nvPr/>
                </p:nvSpPr>
                <p:spPr bwMode="auto">
                  <a:xfrm>
                    <a:off x="23782338" y="-18897600"/>
                    <a:ext cx="150813" cy="188913"/>
                  </a:xfrm>
                  <a:custGeom>
                    <a:avLst/>
                    <a:gdLst/>
                    <a:ahLst/>
                    <a:cxnLst>
                      <a:cxn ang="0">
                        <a:pos x="0" y="107"/>
                      </a:cxn>
                      <a:cxn ang="0">
                        <a:pos x="11" y="119"/>
                      </a:cxn>
                      <a:cxn ang="0">
                        <a:pos x="23" y="119"/>
                      </a:cxn>
                      <a:cxn ang="0">
                        <a:pos x="35" y="107"/>
                      </a:cxn>
                      <a:cxn ang="0">
                        <a:pos x="59" y="71"/>
                      </a:cxn>
                      <a:cxn ang="0">
                        <a:pos x="95" y="36"/>
                      </a:cxn>
                      <a:cxn ang="0">
                        <a:pos x="71" y="24"/>
                      </a:cxn>
                      <a:cxn ang="0">
                        <a:pos x="83" y="12"/>
                      </a:cxn>
                      <a:cxn ang="0">
                        <a:pos x="59" y="0"/>
                      </a:cxn>
                      <a:cxn ang="0">
                        <a:pos x="23" y="0"/>
                      </a:cxn>
                      <a:cxn ang="0">
                        <a:pos x="11" y="12"/>
                      </a:cxn>
                      <a:cxn ang="0">
                        <a:pos x="11" y="59"/>
                      </a:cxn>
                      <a:cxn ang="0">
                        <a:pos x="0" y="107"/>
                      </a:cxn>
                    </a:cxnLst>
                    <a:rect l="0" t="0" r="r" b="b"/>
                    <a:pathLst>
                      <a:path w="95" h="119">
                        <a:moveTo>
                          <a:pt x="0" y="107"/>
                        </a:moveTo>
                        <a:lnTo>
                          <a:pt x="11" y="119"/>
                        </a:lnTo>
                        <a:lnTo>
                          <a:pt x="23" y="119"/>
                        </a:lnTo>
                        <a:lnTo>
                          <a:pt x="35" y="107"/>
                        </a:lnTo>
                        <a:lnTo>
                          <a:pt x="59" y="71"/>
                        </a:lnTo>
                        <a:lnTo>
                          <a:pt x="95" y="36"/>
                        </a:lnTo>
                        <a:lnTo>
                          <a:pt x="71" y="24"/>
                        </a:lnTo>
                        <a:lnTo>
                          <a:pt x="83" y="12"/>
                        </a:lnTo>
                        <a:lnTo>
                          <a:pt x="59" y="0"/>
                        </a:lnTo>
                        <a:lnTo>
                          <a:pt x="23" y="0"/>
                        </a:lnTo>
                        <a:lnTo>
                          <a:pt x="11" y="12"/>
                        </a:lnTo>
                        <a:lnTo>
                          <a:pt x="11" y="59"/>
                        </a:lnTo>
                        <a:lnTo>
                          <a:pt x="0" y="107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8" name="Freeform 270"/>
                  <p:cNvSpPr>
                    <a:spLocks/>
                  </p:cNvSpPr>
                  <p:nvPr/>
                </p:nvSpPr>
                <p:spPr bwMode="auto">
                  <a:xfrm>
                    <a:off x="23517225" y="-17992725"/>
                    <a:ext cx="112713" cy="169863"/>
                  </a:xfrm>
                  <a:custGeom>
                    <a:avLst/>
                    <a:gdLst/>
                    <a:ahLst/>
                    <a:cxnLst>
                      <a:cxn ang="0">
                        <a:pos x="71" y="60"/>
                      </a:cxn>
                      <a:cxn ang="0">
                        <a:pos x="71" y="0"/>
                      </a:cxn>
                      <a:cxn ang="0">
                        <a:pos x="60" y="0"/>
                      </a:cxn>
                      <a:cxn ang="0">
                        <a:pos x="48" y="24"/>
                      </a:cxn>
                      <a:cxn ang="0">
                        <a:pos x="0" y="36"/>
                      </a:cxn>
                      <a:cxn ang="0">
                        <a:pos x="0" y="84"/>
                      </a:cxn>
                      <a:cxn ang="0">
                        <a:pos x="12" y="107"/>
                      </a:cxn>
                      <a:cxn ang="0">
                        <a:pos x="48" y="96"/>
                      </a:cxn>
                      <a:cxn ang="0">
                        <a:pos x="71" y="60"/>
                      </a:cxn>
                    </a:cxnLst>
                    <a:rect l="0" t="0" r="r" b="b"/>
                    <a:pathLst>
                      <a:path w="71" h="107">
                        <a:moveTo>
                          <a:pt x="71" y="60"/>
                        </a:moveTo>
                        <a:lnTo>
                          <a:pt x="71" y="0"/>
                        </a:lnTo>
                        <a:lnTo>
                          <a:pt x="60" y="0"/>
                        </a:lnTo>
                        <a:lnTo>
                          <a:pt x="48" y="24"/>
                        </a:lnTo>
                        <a:lnTo>
                          <a:pt x="0" y="36"/>
                        </a:lnTo>
                        <a:lnTo>
                          <a:pt x="0" y="84"/>
                        </a:lnTo>
                        <a:lnTo>
                          <a:pt x="12" y="107"/>
                        </a:lnTo>
                        <a:lnTo>
                          <a:pt x="48" y="96"/>
                        </a:lnTo>
                        <a:lnTo>
                          <a:pt x="71" y="6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9" name="Freeform 272"/>
                  <p:cNvSpPr>
                    <a:spLocks/>
                  </p:cNvSpPr>
                  <p:nvPr/>
                </p:nvSpPr>
                <p:spPr bwMode="auto">
                  <a:xfrm>
                    <a:off x="23629938" y="-18368963"/>
                    <a:ext cx="207963" cy="622300"/>
                  </a:xfrm>
                  <a:custGeom>
                    <a:avLst/>
                    <a:gdLst/>
                    <a:ahLst/>
                    <a:cxnLst>
                      <a:cxn ang="0">
                        <a:pos x="36" y="356"/>
                      </a:cxn>
                      <a:cxn ang="0">
                        <a:pos x="107" y="309"/>
                      </a:cxn>
                      <a:cxn ang="0">
                        <a:pos x="119" y="285"/>
                      </a:cxn>
                      <a:cxn ang="0">
                        <a:pos x="119" y="237"/>
                      </a:cxn>
                      <a:cxn ang="0">
                        <a:pos x="131" y="214"/>
                      </a:cxn>
                      <a:cxn ang="0">
                        <a:pos x="131" y="154"/>
                      </a:cxn>
                      <a:cxn ang="0">
                        <a:pos x="119" y="154"/>
                      </a:cxn>
                      <a:cxn ang="0">
                        <a:pos x="107" y="178"/>
                      </a:cxn>
                      <a:cxn ang="0">
                        <a:pos x="96" y="178"/>
                      </a:cxn>
                      <a:cxn ang="0">
                        <a:pos x="107" y="142"/>
                      </a:cxn>
                      <a:cxn ang="0">
                        <a:pos x="131" y="119"/>
                      </a:cxn>
                      <a:cxn ang="0">
                        <a:pos x="119" y="0"/>
                      </a:cxn>
                      <a:cxn ang="0">
                        <a:pos x="96" y="12"/>
                      </a:cxn>
                      <a:cxn ang="0">
                        <a:pos x="60" y="71"/>
                      </a:cxn>
                      <a:cxn ang="0">
                        <a:pos x="24" y="83"/>
                      </a:cxn>
                      <a:cxn ang="0">
                        <a:pos x="0" y="95"/>
                      </a:cxn>
                      <a:cxn ang="0">
                        <a:pos x="0" y="166"/>
                      </a:cxn>
                      <a:cxn ang="0">
                        <a:pos x="36" y="261"/>
                      </a:cxn>
                      <a:cxn ang="0">
                        <a:pos x="36" y="297"/>
                      </a:cxn>
                      <a:cxn ang="0">
                        <a:pos x="0" y="368"/>
                      </a:cxn>
                      <a:cxn ang="0">
                        <a:pos x="0" y="392"/>
                      </a:cxn>
                      <a:cxn ang="0">
                        <a:pos x="12" y="392"/>
                      </a:cxn>
                      <a:cxn ang="0">
                        <a:pos x="36" y="356"/>
                      </a:cxn>
                    </a:cxnLst>
                    <a:rect l="0" t="0" r="r" b="b"/>
                    <a:pathLst>
                      <a:path w="131" h="392">
                        <a:moveTo>
                          <a:pt x="36" y="356"/>
                        </a:moveTo>
                        <a:lnTo>
                          <a:pt x="107" y="309"/>
                        </a:lnTo>
                        <a:lnTo>
                          <a:pt x="119" y="285"/>
                        </a:lnTo>
                        <a:lnTo>
                          <a:pt x="119" y="237"/>
                        </a:lnTo>
                        <a:lnTo>
                          <a:pt x="131" y="214"/>
                        </a:lnTo>
                        <a:lnTo>
                          <a:pt x="131" y="154"/>
                        </a:lnTo>
                        <a:lnTo>
                          <a:pt x="119" y="154"/>
                        </a:lnTo>
                        <a:lnTo>
                          <a:pt x="107" y="178"/>
                        </a:lnTo>
                        <a:lnTo>
                          <a:pt x="96" y="178"/>
                        </a:lnTo>
                        <a:lnTo>
                          <a:pt x="107" y="142"/>
                        </a:lnTo>
                        <a:lnTo>
                          <a:pt x="131" y="119"/>
                        </a:lnTo>
                        <a:lnTo>
                          <a:pt x="119" y="0"/>
                        </a:lnTo>
                        <a:lnTo>
                          <a:pt x="96" y="12"/>
                        </a:lnTo>
                        <a:lnTo>
                          <a:pt x="60" y="71"/>
                        </a:lnTo>
                        <a:lnTo>
                          <a:pt x="24" y="83"/>
                        </a:lnTo>
                        <a:lnTo>
                          <a:pt x="0" y="95"/>
                        </a:lnTo>
                        <a:lnTo>
                          <a:pt x="0" y="166"/>
                        </a:lnTo>
                        <a:lnTo>
                          <a:pt x="36" y="261"/>
                        </a:lnTo>
                        <a:lnTo>
                          <a:pt x="36" y="297"/>
                        </a:lnTo>
                        <a:lnTo>
                          <a:pt x="0" y="368"/>
                        </a:lnTo>
                        <a:lnTo>
                          <a:pt x="0" y="392"/>
                        </a:lnTo>
                        <a:lnTo>
                          <a:pt x="12" y="392"/>
                        </a:lnTo>
                        <a:lnTo>
                          <a:pt x="36" y="35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0" name="Freeform 274"/>
                  <p:cNvSpPr>
                    <a:spLocks/>
                  </p:cNvSpPr>
                  <p:nvPr/>
                </p:nvSpPr>
                <p:spPr bwMode="auto">
                  <a:xfrm>
                    <a:off x="23253700" y="-20577175"/>
                    <a:ext cx="282575" cy="227013"/>
                  </a:xfrm>
                  <a:custGeom>
                    <a:avLst/>
                    <a:gdLst/>
                    <a:ahLst/>
                    <a:cxnLst>
                      <a:cxn ang="0">
                        <a:pos x="154" y="95"/>
                      </a:cxn>
                      <a:cxn ang="0">
                        <a:pos x="154" y="36"/>
                      </a:cxn>
                      <a:cxn ang="0">
                        <a:pos x="131" y="36"/>
                      </a:cxn>
                      <a:cxn ang="0">
                        <a:pos x="119" y="48"/>
                      </a:cxn>
                      <a:cxn ang="0">
                        <a:pos x="107" y="72"/>
                      </a:cxn>
                      <a:cxn ang="0">
                        <a:pos x="95" y="24"/>
                      </a:cxn>
                      <a:cxn ang="0">
                        <a:pos x="83" y="12"/>
                      </a:cxn>
                      <a:cxn ang="0">
                        <a:pos x="71" y="0"/>
                      </a:cxn>
                      <a:cxn ang="0">
                        <a:pos x="47" y="0"/>
                      </a:cxn>
                      <a:cxn ang="0">
                        <a:pos x="47" y="12"/>
                      </a:cxn>
                      <a:cxn ang="0">
                        <a:pos x="12" y="24"/>
                      </a:cxn>
                      <a:cxn ang="0">
                        <a:pos x="12" y="24"/>
                      </a:cxn>
                      <a:cxn ang="0">
                        <a:pos x="0" y="131"/>
                      </a:cxn>
                      <a:cxn ang="0">
                        <a:pos x="35" y="143"/>
                      </a:cxn>
                      <a:cxn ang="0">
                        <a:pos x="59" y="131"/>
                      </a:cxn>
                      <a:cxn ang="0">
                        <a:pos x="107" y="119"/>
                      </a:cxn>
                      <a:cxn ang="0">
                        <a:pos x="142" y="143"/>
                      </a:cxn>
                      <a:cxn ang="0">
                        <a:pos x="166" y="131"/>
                      </a:cxn>
                      <a:cxn ang="0">
                        <a:pos x="178" y="107"/>
                      </a:cxn>
                      <a:cxn ang="0">
                        <a:pos x="154" y="95"/>
                      </a:cxn>
                    </a:cxnLst>
                    <a:rect l="0" t="0" r="r" b="b"/>
                    <a:pathLst>
                      <a:path w="178" h="143">
                        <a:moveTo>
                          <a:pt x="154" y="95"/>
                        </a:moveTo>
                        <a:lnTo>
                          <a:pt x="154" y="36"/>
                        </a:lnTo>
                        <a:lnTo>
                          <a:pt x="131" y="36"/>
                        </a:lnTo>
                        <a:lnTo>
                          <a:pt x="119" y="48"/>
                        </a:lnTo>
                        <a:lnTo>
                          <a:pt x="107" y="72"/>
                        </a:lnTo>
                        <a:lnTo>
                          <a:pt x="95" y="24"/>
                        </a:lnTo>
                        <a:lnTo>
                          <a:pt x="83" y="12"/>
                        </a:lnTo>
                        <a:lnTo>
                          <a:pt x="71" y="0"/>
                        </a:lnTo>
                        <a:lnTo>
                          <a:pt x="47" y="0"/>
                        </a:lnTo>
                        <a:lnTo>
                          <a:pt x="47" y="12"/>
                        </a:lnTo>
                        <a:lnTo>
                          <a:pt x="12" y="24"/>
                        </a:lnTo>
                        <a:lnTo>
                          <a:pt x="12" y="24"/>
                        </a:lnTo>
                        <a:lnTo>
                          <a:pt x="0" y="131"/>
                        </a:lnTo>
                        <a:lnTo>
                          <a:pt x="35" y="143"/>
                        </a:lnTo>
                        <a:lnTo>
                          <a:pt x="59" y="131"/>
                        </a:lnTo>
                        <a:lnTo>
                          <a:pt x="107" y="119"/>
                        </a:lnTo>
                        <a:lnTo>
                          <a:pt x="142" y="143"/>
                        </a:lnTo>
                        <a:lnTo>
                          <a:pt x="166" y="131"/>
                        </a:lnTo>
                        <a:lnTo>
                          <a:pt x="178" y="107"/>
                        </a:lnTo>
                        <a:lnTo>
                          <a:pt x="154" y="95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1" name="Freeform 276"/>
                  <p:cNvSpPr>
                    <a:spLocks/>
                  </p:cNvSpPr>
                  <p:nvPr/>
                </p:nvSpPr>
                <p:spPr bwMode="auto">
                  <a:xfrm>
                    <a:off x="23253700" y="-20747038"/>
                    <a:ext cx="93663" cy="133350"/>
                  </a:xfrm>
                  <a:custGeom>
                    <a:avLst/>
                    <a:gdLst/>
                    <a:ahLst/>
                    <a:cxnLst>
                      <a:cxn ang="0">
                        <a:pos x="12" y="84"/>
                      </a:cxn>
                      <a:cxn ang="0">
                        <a:pos x="47" y="72"/>
                      </a:cxn>
                      <a:cxn ang="0">
                        <a:pos x="59" y="48"/>
                      </a:cxn>
                      <a:cxn ang="0">
                        <a:pos x="35" y="12"/>
                      </a:cxn>
                      <a:cxn ang="0">
                        <a:pos x="24" y="0"/>
                      </a:cxn>
                      <a:cxn ang="0">
                        <a:pos x="12" y="0"/>
                      </a:cxn>
                      <a:cxn ang="0">
                        <a:pos x="0" y="12"/>
                      </a:cxn>
                      <a:cxn ang="0">
                        <a:pos x="12" y="48"/>
                      </a:cxn>
                      <a:cxn ang="0">
                        <a:pos x="12" y="84"/>
                      </a:cxn>
                    </a:cxnLst>
                    <a:rect l="0" t="0" r="r" b="b"/>
                    <a:pathLst>
                      <a:path w="59" h="84">
                        <a:moveTo>
                          <a:pt x="12" y="84"/>
                        </a:moveTo>
                        <a:lnTo>
                          <a:pt x="47" y="72"/>
                        </a:lnTo>
                        <a:lnTo>
                          <a:pt x="59" y="48"/>
                        </a:lnTo>
                        <a:lnTo>
                          <a:pt x="35" y="12"/>
                        </a:lnTo>
                        <a:lnTo>
                          <a:pt x="24" y="0"/>
                        </a:lnTo>
                        <a:lnTo>
                          <a:pt x="12" y="0"/>
                        </a:lnTo>
                        <a:lnTo>
                          <a:pt x="0" y="12"/>
                        </a:lnTo>
                        <a:lnTo>
                          <a:pt x="12" y="48"/>
                        </a:lnTo>
                        <a:lnTo>
                          <a:pt x="12" y="8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2" name="Freeform 278"/>
                  <p:cNvSpPr>
                    <a:spLocks/>
                  </p:cNvSpPr>
                  <p:nvPr/>
                </p:nvSpPr>
                <p:spPr bwMode="auto">
                  <a:xfrm>
                    <a:off x="22763163" y="-21067713"/>
                    <a:ext cx="358775" cy="227013"/>
                  </a:xfrm>
                  <a:custGeom>
                    <a:avLst/>
                    <a:gdLst/>
                    <a:ahLst/>
                    <a:cxnLst>
                      <a:cxn ang="0">
                        <a:pos x="142" y="84"/>
                      </a:cxn>
                      <a:cxn ang="0">
                        <a:pos x="202" y="84"/>
                      </a:cxn>
                      <a:cxn ang="0">
                        <a:pos x="226" y="72"/>
                      </a:cxn>
                      <a:cxn ang="0">
                        <a:pos x="202" y="48"/>
                      </a:cxn>
                      <a:cxn ang="0">
                        <a:pos x="190" y="0"/>
                      </a:cxn>
                      <a:cxn ang="0">
                        <a:pos x="71" y="0"/>
                      </a:cxn>
                      <a:cxn ang="0">
                        <a:pos x="71" y="60"/>
                      </a:cxn>
                      <a:cxn ang="0">
                        <a:pos x="35" y="48"/>
                      </a:cxn>
                      <a:cxn ang="0">
                        <a:pos x="0" y="60"/>
                      </a:cxn>
                      <a:cxn ang="0">
                        <a:pos x="0" y="72"/>
                      </a:cxn>
                      <a:cxn ang="0">
                        <a:pos x="24" y="84"/>
                      </a:cxn>
                      <a:cxn ang="0">
                        <a:pos x="35" y="131"/>
                      </a:cxn>
                      <a:cxn ang="0">
                        <a:pos x="59" y="143"/>
                      </a:cxn>
                      <a:cxn ang="0">
                        <a:pos x="83" y="143"/>
                      </a:cxn>
                      <a:cxn ang="0">
                        <a:pos x="142" y="84"/>
                      </a:cxn>
                    </a:cxnLst>
                    <a:rect l="0" t="0" r="r" b="b"/>
                    <a:pathLst>
                      <a:path w="226" h="143">
                        <a:moveTo>
                          <a:pt x="142" y="84"/>
                        </a:moveTo>
                        <a:lnTo>
                          <a:pt x="202" y="84"/>
                        </a:lnTo>
                        <a:lnTo>
                          <a:pt x="226" y="72"/>
                        </a:lnTo>
                        <a:lnTo>
                          <a:pt x="202" y="48"/>
                        </a:lnTo>
                        <a:lnTo>
                          <a:pt x="190" y="0"/>
                        </a:lnTo>
                        <a:lnTo>
                          <a:pt x="71" y="0"/>
                        </a:lnTo>
                        <a:lnTo>
                          <a:pt x="71" y="60"/>
                        </a:lnTo>
                        <a:lnTo>
                          <a:pt x="35" y="48"/>
                        </a:lnTo>
                        <a:lnTo>
                          <a:pt x="0" y="60"/>
                        </a:lnTo>
                        <a:lnTo>
                          <a:pt x="0" y="72"/>
                        </a:lnTo>
                        <a:lnTo>
                          <a:pt x="24" y="84"/>
                        </a:lnTo>
                        <a:lnTo>
                          <a:pt x="35" y="131"/>
                        </a:lnTo>
                        <a:lnTo>
                          <a:pt x="59" y="143"/>
                        </a:lnTo>
                        <a:lnTo>
                          <a:pt x="83" y="143"/>
                        </a:lnTo>
                        <a:lnTo>
                          <a:pt x="142" y="8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3" name="Freeform 282"/>
                  <p:cNvSpPr>
                    <a:spLocks/>
                  </p:cNvSpPr>
                  <p:nvPr/>
                </p:nvSpPr>
                <p:spPr bwMode="auto">
                  <a:xfrm>
                    <a:off x="22102763" y="-21048663"/>
                    <a:ext cx="169863" cy="284163"/>
                  </a:xfrm>
                  <a:custGeom>
                    <a:avLst/>
                    <a:gdLst/>
                    <a:ahLst/>
                    <a:cxnLst>
                      <a:cxn ang="0">
                        <a:pos x="47" y="179"/>
                      </a:cxn>
                      <a:cxn ang="0">
                        <a:pos x="107" y="155"/>
                      </a:cxn>
                      <a:cxn ang="0">
                        <a:pos x="107" y="131"/>
                      </a:cxn>
                      <a:cxn ang="0">
                        <a:pos x="83" y="83"/>
                      </a:cxn>
                      <a:cxn ang="0">
                        <a:pos x="95" y="36"/>
                      </a:cxn>
                      <a:cxn ang="0">
                        <a:pos x="59" y="0"/>
                      </a:cxn>
                      <a:cxn ang="0">
                        <a:pos x="36" y="0"/>
                      </a:cxn>
                      <a:cxn ang="0">
                        <a:pos x="24" y="0"/>
                      </a:cxn>
                      <a:cxn ang="0">
                        <a:pos x="24" y="24"/>
                      </a:cxn>
                      <a:cxn ang="0">
                        <a:pos x="36" y="48"/>
                      </a:cxn>
                      <a:cxn ang="0">
                        <a:pos x="12" y="72"/>
                      </a:cxn>
                      <a:cxn ang="0">
                        <a:pos x="12" y="83"/>
                      </a:cxn>
                      <a:cxn ang="0">
                        <a:pos x="24" y="107"/>
                      </a:cxn>
                      <a:cxn ang="0">
                        <a:pos x="0" y="143"/>
                      </a:cxn>
                      <a:cxn ang="0">
                        <a:pos x="0" y="167"/>
                      </a:cxn>
                      <a:cxn ang="0">
                        <a:pos x="47" y="179"/>
                      </a:cxn>
                    </a:cxnLst>
                    <a:rect l="0" t="0" r="r" b="b"/>
                    <a:pathLst>
                      <a:path w="107" h="179">
                        <a:moveTo>
                          <a:pt x="47" y="179"/>
                        </a:moveTo>
                        <a:lnTo>
                          <a:pt x="107" y="155"/>
                        </a:lnTo>
                        <a:lnTo>
                          <a:pt x="107" y="131"/>
                        </a:lnTo>
                        <a:lnTo>
                          <a:pt x="83" y="83"/>
                        </a:lnTo>
                        <a:lnTo>
                          <a:pt x="95" y="36"/>
                        </a:lnTo>
                        <a:lnTo>
                          <a:pt x="59" y="0"/>
                        </a:lnTo>
                        <a:lnTo>
                          <a:pt x="36" y="0"/>
                        </a:lnTo>
                        <a:lnTo>
                          <a:pt x="24" y="0"/>
                        </a:lnTo>
                        <a:lnTo>
                          <a:pt x="24" y="24"/>
                        </a:lnTo>
                        <a:lnTo>
                          <a:pt x="36" y="48"/>
                        </a:lnTo>
                        <a:lnTo>
                          <a:pt x="12" y="72"/>
                        </a:lnTo>
                        <a:lnTo>
                          <a:pt x="12" y="83"/>
                        </a:lnTo>
                        <a:lnTo>
                          <a:pt x="24" y="107"/>
                        </a:lnTo>
                        <a:lnTo>
                          <a:pt x="0" y="143"/>
                        </a:lnTo>
                        <a:lnTo>
                          <a:pt x="0" y="167"/>
                        </a:lnTo>
                        <a:lnTo>
                          <a:pt x="47" y="179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4" name="Freeform 284"/>
                  <p:cNvSpPr>
                    <a:spLocks/>
                  </p:cNvSpPr>
                  <p:nvPr/>
                </p:nvSpPr>
                <p:spPr bwMode="auto">
                  <a:xfrm>
                    <a:off x="21724938" y="-21255038"/>
                    <a:ext cx="95250" cy="74613"/>
                  </a:xfrm>
                  <a:custGeom>
                    <a:avLst/>
                    <a:gdLst/>
                    <a:ahLst/>
                    <a:cxnLst>
                      <a:cxn ang="0">
                        <a:pos x="48" y="35"/>
                      </a:cxn>
                      <a:cxn ang="0">
                        <a:pos x="60" y="35"/>
                      </a:cxn>
                      <a:cxn ang="0">
                        <a:pos x="60" y="23"/>
                      </a:cxn>
                      <a:cxn ang="0">
                        <a:pos x="48" y="0"/>
                      </a:cxn>
                      <a:cxn ang="0">
                        <a:pos x="36" y="0"/>
                      </a:cxn>
                      <a:cxn ang="0">
                        <a:pos x="0" y="23"/>
                      </a:cxn>
                      <a:cxn ang="0">
                        <a:pos x="0" y="47"/>
                      </a:cxn>
                      <a:cxn ang="0">
                        <a:pos x="12" y="47"/>
                      </a:cxn>
                      <a:cxn ang="0">
                        <a:pos x="24" y="35"/>
                      </a:cxn>
                      <a:cxn ang="0">
                        <a:pos x="48" y="35"/>
                      </a:cxn>
                    </a:cxnLst>
                    <a:rect l="0" t="0" r="r" b="b"/>
                    <a:pathLst>
                      <a:path w="60" h="47">
                        <a:moveTo>
                          <a:pt x="48" y="35"/>
                        </a:moveTo>
                        <a:lnTo>
                          <a:pt x="60" y="35"/>
                        </a:lnTo>
                        <a:lnTo>
                          <a:pt x="60" y="23"/>
                        </a:lnTo>
                        <a:lnTo>
                          <a:pt x="48" y="0"/>
                        </a:lnTo>
                        <a:lnTo>
                          <a:pt x="36" y="0"/>
                        </a:lnTo>
                        <a:lnTo>
                          <a:pt x="0" y="23"/>
                        </a:lnTo>
                        <a:lnTo>
                          <a:pt x="0" y="47"/>
                        </a:lnTo>
                        <a:lnTo>
                          <a:pt x="12" y="47"/>
                        </a:lnTo>
                        <a:lnTo>
                          <a:pt x="24" y="35"/>
                        </a:lnTo>
                        <a:lnTo>
                          <a:pt x="48" y="35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5" name="Freeform 286"/>
                  <p:cNvSpPr>
                    <a:spLocks/>
                  </p:cNvSpPr>
                  <p:nvPr/>
                </p:nvSpPr>
                <p:spPr bwMode="auto">
                  <a:xfrm>
                    <a:off x="22291675" y="-20426363"/>
                    <a:ext cx="93663" cy="133350"/>
                  </a:xfrm>
                  <a:custGeom>
                    <a:avLst/>
                    <a:gdLst/>
                    <a:ahLst/>
                    <a:cxnLst>
                      <a:cxn ang="0">
                        <a:pos x="0" y="72"/>
                      </a:cxn>
                      <a:cxn ang="0">
                        <a:pos x="0" y="84"/>
                      </a:cxn>
                      <a:cxn ang="0">
                        <a:pos x="24" y="72"/>
                      </a:cxn>
                      <a:cxn ang="0">
                        <a:pos x="47" y="48"/>
                      </a:cxn>
                      <a:cxn ang="0">
                        <a:pos x="59" y="0"/>
                      </a:cxn>
                      <a:cxn ang="0">
                        <a:pos x="35" y="0"/>
                      </a:cxn>
                      <a:cxn ang="0">
                        <a:pos x="24" y="36"/>
                      </a:cxn>
                      <a:cxn ang="0">
                        <a:pos x="0" y="60"/>
                      </a:cxn>
                      <a:cxn ang="0">
                        <a:pos x="0" y="72"/>
                      </a:cxn>
                    </a:cxnLst>
                    <a:rect l="0" t="0" r="r" b="b"/>
                    <a:pathLst>
                      <a:path w="59" h="84">
                        <a:moveTo>
                          <a:pt x="0" y="72"/>
                        </a:moveTo>
                        <a:lnTo>
                          <a:pt x="0" y="84"/>
                        </a:lnTo>
                        <a:lnTo>
                          <a:pt x="24" y="72"/>
                        </a:lnTo>
                        <a:lnTo>
                          <a:pt x="47" y="48"/>
                        </a:lnTo>
                        <a:lnTo>
                          <a:pt x="59" y="0"/>
                        </a:lnTo>
                        <a:lnTo>
                          <a:pt x="35" y="0"/>
                        </a:lnTo>
                        <a:lnTo>
                          <a:pt x="24" y="36"/>
                        </a:lnTo>
                        <a:lnTo>
                          <a:pt x="0" y="60"/>
                        </a:lnTo>
                        <a:lnTo>
                          <a:pt x="0" y="72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6" name="Freeform 288"/>
                  <p:cNvSpPr>
                    <a:spLocks/>
                  </p:cNvSpPr>
                  <p:nvPr/>
                </p:nvSpPr>
                <p:spPr bwMode="auto">
                  <a:xfrm>
                    <a:off x="22196425" y="-20500975"/>
                    <a:ext cx="95250" cy="244475"/>
                  </a:xfrm>
                  <a:custGeom>
                    <a:avLst/>
                    <a:gdLst/>
                    <a:ahLst/>
                    <a:cxnLst>
                      <a:cxn ang="0">
                        <a:pos x="12" y="154"/>
                      </a:cxn>
                      <a:cxn ang="0">
                        <a:pos x="24" y="143"/>
                      </a:cxn>
                      <a:cxn ang="0">
                        <a:pos x="36" y="119"/>
                      </a:cxn>
                      <a:cxn ang="0">
                        <a:pos x="36" y="59"/>
                      </a:cxn>
                      <a:cxn ang="0">
                        <a:pos x="60" y="47"/>
                      </a:cxn>
                      <a:cxn ang="0">
                        <a:pos x="48" y="0"/>
                      </a:cxn>
                      <a:cxn ang="0">
                        <a:pos x="24" y="12"/>
                      </a:cxn>
                      <a:cxn ang="0">
                        <a:pos x="12" y="71"/>
                      </a:cxn>
                      <a:cxn ang="0">
                        <a:pos x="0" y="143"/>
                      </a:cxn>
                      <a:cxn ang="0">
                        <a:pos x="12" y="154"/>
                      </a:cxn>
                    </a:cxnLst>
                    <a:rect l="0" t="0" r="r" b="b"/>
                    <a:pathLst>
                      <a:path w="60" h="154">
                        <a:moveTo>
                          <a:pt x="12" y="154"/>
                        </a:moveTo>
                        <a:lnTo>
                          <a:pt x="24" y="143"/>
                        </a:lnTo>
                        <a:lnTo>
                          <a:pt x="36" y="119"/>
                        </a:lnTo>
                        <a:lnTo>
                          <a:pt x="36" y="59"/>
                        </a:lnTo>
                        <a:lnTo>
                          <a:pt x="60" y="47"/>
                        </a:lnTo>
                        <a:lnTo>
                          <a:pt x="48" y="0"/>
                        </a:lnTo>
                        <a:lnTo>
                          <a:pt x="24" y="12"/>
                        </a:lnTo>
                        <a:lnTo>
                          <a:pt x="12" y="71"/>
                        </a:lnTo>
                        <a:lnTo>
                          <a:pt x="0" y="143"/>
                        </a:lnTo>
                        <a:lnTo>
                          <a:pt x="12" y="15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7" name="Freeform 290"/>
                  <p:cNvSpPr>
                    <a:spLocks/>
                  </p:cNvSpPr>
                  <p:nvPr/>
                </p:nvSpPr>
                <p:spPr bwMode="auto">
                  <a:xfrm>
                    <a:off x="21178838" y="-21539200"/>
                    <a:ext cx="74613" cy="150813"/>
                  </a:xfrm>
                  <a:custGeom>
                    <a:avLst/>
                    <a:gdLst/>
                    <a:ahLst/>
                    <a:cxnLst>
                      <a:cxn ang="0">
                        <a:pos x="0" y="72"/>
                      </a:cxn>
                      <a:cxn ang="0">
                        <a:pos x="23" y="95"/>
                      </a:cxn>
                      <a:cxn ang="0">
                        <a:pos x="35" y="83"/>
                      </a:cxn>
                      <a:cxn ang="0">
                        <a:pos x="35" y="72"/>
                      </a:cxn>
                      <a:cxn ang="0">
                        <a:pos x="35" y="48"/>
                      </a:cxn>
                      <a:cxn ang="0">
                        <a:pos x="47" y="48"/>
                      </a:cxn>
                      <a:cxn ang="0">
                        <a:pos x="47" y="24"/>
                      </a:cxn>
                      <a:cxn ang="0">
                        <a:pos x="35" y="0"/>
                      </a:cxn>
                      <a:cxn ang="0">
                        <a:pos x="11" y="0"/>
                      </a:cxn>
                      <a:cxn ang="0">
                        <a:pos x="11" y="24"/>
                      </a:cxn>
                      <a:cxn ang="0">
                        <a:pos x="11" y="36"/>
                      </a:cxn>
                      <a:cxn ang="0">
                        <a:pos x="0" y="72"/>
                      </a:cxn>
                    </a:cxnLst>
                    <a:rect l="0" t="0" r="r" b="b"/>
                    <a:pathLst>
                      <a:path w="47" h="95">
                        <a:moveTo>
                          <a:pt x="0" y="72"/>
                        </a:moveTo>
                        <a:lnTo>
                          <a:pt x="23" y="95"/>
                        </a:lnTo>
                        <a:lnTo>
                          <a:pt x="35" y="83"/>
                        </a:lnTo>
                        <a:lnTo>
                          <a:pt x="35" y="72"/>
                        </a:lnTo>
                        <a:lnTo>
                          <a:pt x="35" y="48"/>
                        </a:lnTo>
                        <a:lnTo>
                          <a:pt x="47" y="48"/>
                        </a:lnTo>
                        <a:lnTo>
                          <a:pt x="47" y="24"/>
                        </a:lnTo>
                        <a:lnTo>
                          <a:pt x="35" y="0"/>
                        </a:lnTo>
                        <a:lnTo>
                          <a:pt x="11" y="0"/>
                        </a:lnTo>
                        <a:lnTo>
                          <a:pt x="11" y="24"/>
                        </a:lnTo>
                        <a:lnTo>
                          <a:pt x="11" y="36"/>
                        </a:lnTo>
                        <a:lnTo>
                          <a:pt x="0" y="72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8" name="Freeform 292"/>
                  <p:cNvSpPr>
                    <a:spLocks/>
                  </p:cNvSpPr>
                  <p:nvPr/>
                </p:nvSpPr>
                <p:spPr bwMode="auto">
                  <a:xfrm>
                    <a:off x="20951825" y="-21558250"/>
                    <a:ext cx="76200" cy="150813"/>
                  </a:xfrm>
                  <a:custGeom>
                    <a:avLst/>
                    <a:gdLst/>
                    <a:ahLst/>
                    <a:cxnLst>
                      <a:cxn ang="0">
                        <a:pos x="0" y="60"/>
                      </a:cxn>
                      <a:cxn ang="0">
                        <a:pos x="12" y="95"/>
                      </a:cxn>
                      <a:cxn ang="0">
                        <a:pos x="36" y="95"/>
                      </a:cxn>
                      <a:cxn ang="0">
                        <a:pos x="48" y="60"/>
                      </a:cxn>
                      <a:cxn ang="0">
                        <a:pos x="36" y="36"/>
                      </a:cxn>
                      <a:cxn ang="0">
                        <a:pos x="24" y="0"/>
                      </a:cxn>
                      <a:cxn ang="0">
                        <a:pos x="12" y="0"/>
                      </a:cxn>
                      <a:cxn ang="0">
                        <a:pos x="0" y="60"/>
                      </a:cxn>
                    </a:cxnLst>
                    <a:rect l="0" t="0" r="r" b="b"/>
                    <a:pathLst>
                      <a:path w="48" h="95">
                        <a:moveTo>
                          <a:pt x="0" y="60"/>
                        </a:moveTo>
                        <a:lnTo>
                          <a:pt x="12" y="95"/>
                        </a:lnTo>
                        <a:lnTo>
                          <a:pt x="36" y="95"/>
                        </a:lnTo>
                        <a:lnTo>
                          <a:pt x="48" y="60"/>
                        </a:lnTo>
                        <a:lnTo>
                          <a:pt x="36" y="36"/>
                        </a:lnTo>
                        <a:lnTo>
                          <a:pt x="24" y="0"/>
                        </a:lnTo>
                        <a:lnTo>
                          <a:pt x="12" y="0"/>
                        </a:lnTo>
                        <a:lnTo>
                          <a:pt x="0" y="6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137" name="Group 676"/>
                <p:cNvGrpSpPr/>
                <p:nvPr/>
              </p:nvGrpSpPr>
              <p:grpSpPr>
                <a:xfrm>
                  <a:off x="29535443" y="-9332916"/>
                  <a:ext cx="12376152" cy="4319597"/>
                  <a:chOff x="29535438" y="-9332913"/>
                  <a:chExt cx="12376150" cy="4319588"/>
                </a:xfrm>
                <a:grpFill/>
              </p:grpSpPr>
              <p:sp>
                <p:nvSpPr>
                  <p:cNvPr id="138" name="Freeform 244"/>
                  <p:cNvSpPr>
                    <a:spLocks/>
                  </p:cNvSpPr>
                  <p:nvPr/>
                </p:nvSpPr>
                <p:spPr bwMode="auto">
                  <a:xfrm>
                    <a:off x="29535438" y="-9332913"/>
                    <a:ext cx="12376150" cy="4319588"/>
                  </a:xfrm>
                  <a:custGeom>
                    <a:avLst/>
                    <a:gdLst/>
                    <a:ahLst/>
                    <a:cxnLst>
                      <a:cxn ang="0">
                        <a:pos x="7344" y="1937"/>
                      </a:cxn>
                      <a:cxn ang="0">
                        <a:pos x="7499" y="1795"/>
                      </a:cxn>
                      <a:cxn ang="0">
                        <a:pos x="7582" y="1402"/>
                      </a:cxn>
                      <a:cxn ang="0">
                        <a:pos x="7713" y="1022"/>
                      </a:cxn>
                      <a:cxn ang="0">
                        <a:pos x="7760" y="689"/>
                      </a:cxn>
                      <a:cxn ang="0">
                        <a:pos x="7606" y="475"/>
                      </a:cxn>
                      <a:cxn ang="0">
                        <a:pos x="7119" y="392"/>
                      </a:cxn>
                      <a:cxn ang="0">
                        <a:pos x="6869" y="654"/>
                      </a:cxn>
                      <a:cxn ang="0">
                        <a:pos x="6477" y="773"/>
                      </a:cxn>
                      <a:cxn ang="0">
                        <a:pos x="6287" y="796"/>
                      </a:cxn>
                      <a:cxn ang="0">
                        <a:pos x="6037" y="832"/>
                      </a:cxn>
                      <a:cxn ang="0">
                        <a:pos x="5704" y="891"/>
                      </a:cxn>
                      <a:cxn ang="0">
                        <a:pos x="5039" y="1307"/>
                      </a:cxn>
                      <a:cxn ang="0">
                        <a:pos x="4908" y="963"/>
                      </a:cxn>
                      <a:cxn ang="0">
                        <a:pos x="4777" y="903"/>
                      </a:cxn>
                      <a:cxn ang="0">
                        <a:pos x="4956" y="475"/>
                      </a:cxn>
                      <a:cxn ang="0">
                        <a:pos x="5158" y="250"/>
                      </a:cxn>
                      <a:cxn ang="0">
                        <a:pos x="4754" y="190"/>
                      </a:cxn>
                      <a:cxn ang="0">
                        <a:pos x="4373" y="416"/>
                      </a:cxn>
                      <a:cxn ang="0">
                        <a:pos x="3910" y="701"/>
                      </a:cxn>
                      <a:cxn ang="0">
                        <a:pos x="3613" y="606"/>
                      </a:cxn>
                      <a:cxn ang="0">
                        <a:pos x="3268" y="582"/>
                      </a:cxn>
                      <a:cxn ang="0">
                        <a:pos x="2852" y="618"/>
                      </a:cxn>
                      <a:cxn ang="0">
                        <a:pos x="2722" y="701"/>
                      </a:cxn>
                      <a:cxn ang="0">
                        <a:pos x="2424" y="392"/>
                      </a:cxn>
                      <a:cxn ang="0">
                        <a:pos x="2222" y="226"/>
                      </a:cxn>
                      <a:cxn ang="0">
                        <a:pos x="1688" y="71"/>
                      </a:cxn>
                      <a:cxn ang="0">
                        <a:pos x="1272" y="12"/>
                      </a:cxn>
                      <a:cxn ang="0">
                        <a:pos x="963" y="131"/>
                      </a:cxn>
                      <a:cxn ang="0">
                        <a:pos x="880" y="369"/>
                      </a:cxn>
                      <a:cxn ang="0">
                        <a:pos x="1022" y="666"/>
                      </a:cxn>
                      <a:cxn ang="0">
                        <a:pos x="820" y="1082"/>
                      </a:cxn>
                      <a:cxn ang="0">
                        <a:pos x="523" y="1343"/>
                      </a:cxn>
                      <a:cxn ang="0">
                        <a:pos x="190" y="1533"/>
                      </a:cxn>
                      <a:cxn ang="0">
                        <a:pos x="273" y="1759"/>
                      </a:cxn>
                      <a:cxn ang="0">
                        <a:pos x="535" y="1949"/>
                      </a:cxn>
                      <a:cxn ang="0">
                        <a:pos x="654" y="2282"/>
                      </a:cxn>
                      <a:cxn ang="0">
                        <a:pos x="666" y="2567"/>
                      </a:cxn>
                      <a:cxn ang="0">
                        <a:pos x="1117" y="2448"/>
                      </a:cxn>
                      <a:cxn ang="0">
                        <a:pos x="1319" y="2104"/>
                      </a:cxn>
                      <a:cxn ang="0">
                        <a:pos x="1688" y="1973"/>
                      </a:cxn>
                      <a:cxn ang="0">
                        <a:pos x="1937" y="1664"/>
                      </a:cxn>
                      <a:cxn ang="0">
                        <a:pos x="2401" y="1509"/>
                      </a:cxn>
                      <a:cxn ang="0">
                        <a:pos x="2769" y="1830"/>
                      </a:cxn>
                      <a:cxn ang="0">
                        <a:pos x="3161" y="2044"/>
                      </a:cxn>
                      <a:cxn ang="0">
                        <a:pos x="3351" y="1937"/>
                      </a:cxn>
                      <a:cxn ang="0">
                        <a:pos x="3518" y="2175"/>
                      </a:cxn>
                      <a:cxn ang="0">
                        <a:pos x="3613" y="2615"/>
                      </a:cxn>
                      <a:cxn ang="0">
                        <a:pos x="4064" y="2222"/>
                      </a:cxn>
                      <a:cxn ang="0">
                        <a:pos x="4243" y="2056"/>
                      </a:cxn>
                      <a:cxn ang="0">
                        <a:pos x="4540" y="2210"/>
                      </a:cxn>
                      <a:cxn ang="0">
                        <a:pos x="4944" y="2579"/>
                      </a:cxn>
                      <a:cxn ang="0">
                        <a:pos x="5122" y="2686"/>
                      </a:cxn>
                      <a:cxn ang="0">
                        <a:pos x="5514" y="2686"/>
                      </a:cxn>
                      <a:cxn ang="0">
                        <a:pos x="5823" y="2603"/>
                      </a:cxn>
                      <a:cxn ang="0">
                        <a:pos x="6108" y="2389"/>
                      </a:cxn>
                      <a:cxn ang="0">
                        <a:pos x="6548" y="2163"/>
                      </a:cxn>
                      <a:cxn ang="0">
                        <a:pos x="6833" y="2127"/>
                      </a:cxn>
                      <a:cxn ang="0">
                        <a:pos x="7142" y="2175"/>
                      </a:cxn>
                      <a:cxn ang="0">
                        <a:pos x="7332" y="2175"/>
                      </a:cxn>
                    </a:cxnLst>
                    <a:rect l="0" t="0" r="r" b="b"/>
                    <a:pathLst>
                      <a:path w="7796" h="2721">
                        <a:moveTo>
                          <a:pt x="7332" y="2175"/>
                        </a:moveTo>
                        <a:lnTo>
                          <a:pt x="7332" y="2175"/>
                        </a:lnTo>
                        <a:lnTo>
                          <a:pt x="7321" y="2127"/>
                        </a:lnTo>
                        <a:lnTo>
                          <a:pt x="7332" y="2080"/>
                        </a:lnTo>
                        <a:lnTo>
                          <a:pt x="7380" y="1997"/>
                        </a:lnTo>
                        <a:lnTo>
                          <a:pt x="7368" y="1973"/>
                        </a:lnTo>
                        <a:lnTo>
                          <a:pt x="7356" y="1961"/>
                        </a:lnTo>
                        <a:lnTo>
                          <a:pt x="7344" y="1937"/>
                        </a:lnTo>
                        <a:lnTo>
                          <a:pt x="7344" y="1902"/>
                        </a:lnTo>
                        <a:lnTo>
                          <a:pt x="7356" y="1890"/>
                        </a:lnTo>
                        <a:lnTo>
                          <a:pt x="7380" y="1890"/>
                        </a:lnTo>
                        <a:lnTo>
                          <a:pt x="7404" y="1890"/>
                        </a:lnTo>
                        <a:lnTo>
                          <a:pt x="7404" y="1854"/>
                        </a:lnTo>
                        <a:lnTo>
                          <a:pt x="7404" y="1818"/>
                        </a:lnTo>
                        <a:lnTo>
                          <a:pt x="7463" y="1806"/>
                        </a:lnTo>
                        <a:lnTo>
                          <a:pt x="7499" y="1795"/>
                        </a:lnTo>
                        <a:lnTo>
                          <a:pt x="7511" y="1711"/>
                        </a:lnTo>
                        <a:lnTo>
                          <a:pt x="7546" y="1628"/>
                        </a:lnTo>
                        <a:lnTo>
                          <a:pt x="7582" y="1581"/>
                        </a:lnTo>
                        <a:lnTo>
                          <a:pt x="7582" y="1557"/>
                        </a:lnTo>
                        <a:lnTo>
                          <a:pt x="7558" y="1521"/>
                        </a:lnTo>
                        <a:lnTo>
                          <a:pt x="7594" y="1474"/>
                        </a:lnTo>
                        <a:lnTo>
                          <a:pt x="7582" y="1426"/>
                        </a:lnTo>
                        <a:lnTo>
                          <a:pt x="7582" y="1402"/>
                        </a:lnTo>
                        <a:lnTo>
                          <a:pt x="7641" y="1284"/>
                        </a:lnTo>
                        <a:lnTo>
                          <a:pt x="7689" y="1200"/>
                        </a:lnTo>
                        <a:lnTo>
                          <a:pt x="7701" y="1177"/>
                        </a:lnTo>
                        <a:lnTo>
                          <a:pt x="7737" y="1129"/>
                        </a:lnTo>
                        <a:lnTo>
                          <a:pt x="7784" y="975"/>
                        </a:lnTo>
                        <a:lnTo>
                          <a:pt x="7784" y="951"/>
                        </a:lnTo>
                        <a:lnTo>
                          <a:pt x="7760" y="939"/>
                        </a:lnTo>
                        <a:lnTo>
                          <a:pt x="7713" y="1022"/>
                        </a:lnTo>
                        <a:lnTo>
                          <a:pt x="7725" y="915"/>
                        </a:lnTo>
                        <a:lnTo>
                          <a:pt x="7689" y="832"/>
                        </a:lnTo>
                        <a:lnTo>
                          <a:pt x="7689" y="808"/>
                        </a:lnTo>
                        <a:lnTo>
                          <a:pt x="7713" y="737"/>
                        </a:lnTo>
                        <a:lnTo>
                          <a:pt x="7713" y="666"/>
                        </a:lnTo>
                        <a:lnTo>
                          <a:pt x="7713" y="618"/>
                        </a:lnTo>
                        <a:lnTo>
                          <a:pt x="7748" y="630"/>
                        </a:lnTo>
                        <a:lnTo>
                          <a:pt x="7760" y="689"/>
                        </a:lnTo>
                        <a:lnTo>
                          <a:pt x="7772" y="689"/>
                        </a:lnTo>
                        <a:lnTo>
                          <a:pt x="7784" y="677"/>
                        </a:lnTo>
                        <a:lnTo>
                          <a:pt x="7772" y="594"/>
                        </a:lnTo>
                        <a:lnTo>
                          <a:pt x="7796" y="547"/>
                        </a:lnTo>
                        <a:lnTo>
                          <a:pt x="7796" y="547"/>
                        </a:lnTo>
                        <a:lnTo>
                          <a:pt x="7713" y="547"/>
                        </a:lnTo>
                        <a:lnTo>
                          <a:pt x="7630" y="511"/>
                        </a:lnTo>
                        <a:lnTo>
                          <a:pt x="7606" y="475"/>
                        </a:lnTo>
                        <a:lnTo>
                          <a:pt x="7570" y="380"/>
                        </a:lnTo>
                        <a:lnTo>
                          <a:pt x="7487" y="333"/>
                        </a:lnTo>
                        <a:lnTo>
                          <a:pt x="7439" y="345"/>
                        </a:lnTo>
                        <a:lnTo>
                          <a:pt x="7428" y="345"/>
                        </a:lnTo>
                        <a:lnTo>
                          <a:pt x="7309" y="309"/>
                        </a:lnTo>
                        <a:lnTo>
                          <a:pt x="7237" y="333"/>
                        </a:lnTo>
                        <a:lnTo>
                          <a:pt x="7190" y="357"/>
                        </a:lnTo>
                        <a:lnTo>
                          <a:pt x="7119" y="392"/>
                        </a:lnTo>
                        <a:lnTo>
                          <a:pt x="7012" y="392"/>
                        </a:lnTo>
                        <a:lnTo>
                          <a:pt x="6988" y="404"/>
                        </a:lnTo>
                        <a:lnTo>
                          <a:pt x="6940" y="475"/>
                        </a:lnTo>
                        <a:lnTo>
                          <a:pt x="6952" y="487"/>
                        </a:lnTo>
                        <a:lnTo>
                          <a:pt x="6940" y="559"/>
                        </a:lnTo>
                        <a:lnTo>
                          <a:pt x="6928" y="606"/>
                        </a:lnTo>
                        <a:lnTo>
                          <a:pt x="6905" y="630"/>
                        </a:lnTo>
                        <a:lnTo>
                          <a:pt x="6869" y="654"/>
                        </a:lnTo>
                        <a:lnTo>
                          <a:pt x="6774" y="701"/>
                        </a:lnTo>
                        <a:lnTo>
                          <a:pt x="6726" y="713"/>
                        </a:lnTo>
                        <a:lnTo>
                          <a:pt x="6667" y="725"/>
                        </a:lnTo>
                        <a:lnTo>
                          <a:pt x="6608" y="761"/>
                        </a:lnTo>
                        <a:lnTo>
                          <a:pt x="6572" y="773"/>
                        </a:lnTo>
                        <a:lnTo>
                          <a:pt x="6536" y="725"/>
                        </a:lnTo>
                        <a:lnTo>
                          <a:pt x="6489" y="725"/>
                        </a:lnTo>
                        <a:lnTo>
                          <a:pt x="6477" y="773"/>
                        </a:lnTo>
                        <a:lnTo>
                          <a:pt x="6501" y="808"/>
                        </a:lnTo>
                        <a:lnTo>
                          <a:pt x="6512" y="844"/>
                        </a:lnTo>
                        <a:lnTo>
                          <a:pt x="6501" y="856"/>
                        </a:lnTo>
                        <a:lnTo>
                          <a:pt x="6465" y="868"/>
                        </a:lnTo>
                        <a:lnTo>
                          <a:pt x="6441" y="891"/>
                        </a:lnTo>
                        <a:lnTo>
                          <a:pt x="6417" y="891"/>
                        </a:lnTo>
                        <a:lnTo>
                          <a:pt x="6346" y="820"/>
                        </a:lnTo>
                        <a:lnTo>
                          <a:pt x="6287" y="796"/>
                        </a:lnTo>
                        <a:lnTo>
                          <a:pt x="6251" y="773"/>
                        </a:lnTo>
                        <a:lnTo>
                          <a:pt x="6227" y="784"/>
                        </a:lnTo>
                        <a:lnTo>
                          <a:pt x="6168" y="773"/>
                        </a:lnTo>
                        <a:lnTo>
                          <a:pt x="6085" y="773"/>
                        </a:lnTo>
                        <a:lnTo>
                          <a:pt x="6073" y="784"/>
                        </a:lnTo>
                        <a:lnTo>
                          <a:pt x="6073" y="808"/>
                        </a:lnTo>
                        <a:lnTo>
                          <a:pt x="6061" y="832"/>
                        </a:lnTo>
                        <a:lnTo>
                          <a:pt x="6037" y="832"/>
                        </a:lnTo>
                        <a:lnTo>
                          <a:pt x="5954" y="784"/>
                        </a:lnTo>
                        <a:lnTo>
                          <a:pt x="5906" y="773"/>
                        </a:lnTo>
                        <a:lnTo>
                          <a:pt x="5883" y="784"/>
                        </a:lnTo>
                        <a:lnTo>
                          <a:pt x="5859" y="820"/>
                        </a:lnTo>
                        <a:lnTo>
                          <a:pt x="5847" y="880"/>
                        </a:lnTo>
                        <a:lnTo>
                          <a:pt x="5811" y="915"/>
                        </a:lnTo>
                        <a:lnTo>
                          <a:pt x="5752" y="915"/>
                        </a:lnTo>
                        <a:lnTo>
                          <a:pt x="5704" y="891"/>
                        </a:lnTo>
                        <a:lnTo>
                          <a:pt x="5657" y="903"/>
                        </a:lnTo>
                        <a:lnTo>
                          <a:pt x="5645" y="927"/>
                        </a:lnTo>
                        <a:lnTo>
                          <a:pt x="5562" y="1188"/>
                        </a:lnTo>
                        <a:lnTo>
                          <a:pt x="5312" y="1295"/>
                        </a:lnTo>
                        <a:lnTo>
                          <a:pt x="5170" y="1379"/>
                        </a:lnTo>
                        <a:lnTo>
                          <a:pt x="5134" y="1367"/>
                        </a:lnTo>
                        <a:lnTo>
                          <a:pt x="5086" y="1319"/>
                        </a:lnTo>
                        <a:lnTo>
                          <a:pt x="5039" y="1307"/>
                        </a:lnTo>
                        <a:lnTo>
                          <a:pt x="5003" y="1272"/>
                        </a:lnTo>
                        <a:lnTo>
                          <a:pt x="4991" y="1248"/>
                        </a:lnTo>
                        <a:lnTo>
                          <a:pt x="5015" y="1188"/>
                        </a:lnTo>
                        <a:lnTo>
                          <a:pt x="4991" y="1165"/>
                        </a:lnTo>
                        <a:lnTo>
                          <a:pt x="4979" y="1141"/>
                        </a:lnTo>
                        <a:lnTo>
                          <a:pt x="5003" y="1058"/>
                        </a:lnTo>
                        <a:lnTo>
                          <a:pt x="4968" y="998"/>
                        </a:lnTo>
                        <a:lnTo>
                          <a:pt x="4908" y="963"/>
                        </a:lnTo>
                        <a:lnTo>
                          <a:pt x="4884" y="963"/>
                        </a:lnTo>
                        <a:lnTo>
                          <a:pt x="4837" y="975"/>
                        </a:lnTo>
                        <a:lnTo>
                          <a:pt x="4801" y="986"/>
                        </a:lnTo>
                        <a:lnTo>
                          <a:pt x="4777" y="975"/>
                        </a:lnTo>
                        <a:lnTo>
                          <a:pt x="4766" y="951"/>
                        </a:lnTo>
                        <a:lnTo>
                          <a:pt x="4766" y="927"/>
                        </a:lnTo>
                        <a:lnTo>
                          <a:pt x="4777" y="915"/>
                        </a:lnTo>
                        <a:lnTo>
                          <a:pt x="4777" y="903"/>
                        </a:lnTo>
                        <a:lnTo>
                          <a:pt x="4825" y="880"/>
                        </a:lnTo>
                        <a:lnTo>
                          <a:pt x="4920" y="784"/>
                        </a:lnTo>
                        <a:lnTo>
                          <a:pt x="4956" y="773"/>
                        </a:lnTo>
                        <a:lnTo>
                          <a:pt x="4979" y="737"/>
                        </a:lnTo>
                        <a:lnTo>
                          <a:pt x="4991" y="689"/>
                        </a:lnTo>
                        <a:lnTo>
                          <a:pt x="4991" y="654"/>
                        </a:lnTo>
                        <a:lnTo>
                          <a:pt x="4956" y="571"/>
                        </a:lnTo>
                        <a:lnTo>
                          <a:pt x="4956" y="475"/>
                        </a:lnTo>
                        <a:lnTo>
                          <a:pt x="5003" y="440"/>
                        </a:lnTo>
                        <a:lnTo>
                          <a:pt x="5039" y="428"/>
                        </a:lnTo>
                        <a:lnTo>
                          <a:pt x="5098" y="392"/>
                        </a:lnTo>
                        <a:lnTo>
                          <a:pt x="5134" y="392"/>
                        </a:lnTo>
                        <a:lnTo>
                          <a:pt x="5193" y="404"/>
                        </a:lnTo>
                        <a:lnTo>
                          <a:pt x="5205" y="380"/>
                        </a:lnTo>
                        <a:lnTo>
                          <a:pt x="5205" y="333"/>
                        </a:lnTo>
                        <a:lnTo>
                          <a:pt x="5158" y="250"/>
                        </a:lnTo>
                        <a:lnTo>
                          <a:pt x="5134" y="226"/>
                        </a:lnTo>
                        <a:lnTo>
                          <a:pt x="5027" y="190"/>
                        </a:lnTo>
                        <a:lnTo>
                          <a:pt x="4968" y="131"/>
                        </a:lnTo>
                        <a:lnTo>
                          <a:pt x="4908" y="95"/>
                        </a:lnTo>
                        <a:lnTo>
                          <a:pt x="4884" y="83"/>
                        </a:lnTo>
                        <a:lnTo>
                          <a:pt x="4837" y="83"/>
                        </a:lnTo>
                        <a:lnTo>
                          <a:pt x="4789" y="119"/>
                        </a:lnTo>
                        <a:lnTo>
                          <a:pt x="4754" y="190"/>
                        </a:lnTo>
                        <a:lnTo>
                          <a:pt x="4706" y="214"/>
                        </a:lnTo>
                        <a:lnTo>
                          <a:pt x="4623" y="214"/>
                        </a:lnTo>
                        <a:lnTo>
                          <a:pt x="4564" y="297"/>
                        </a:lnTo>
                        <a:lnTo>
                          <a:pt x="4528" y="333"/>
                        </a:lnTo>
                        <a:lnTo>
                          <a:pt x="4492" y="369"/>
                        </a:lnTo>
                        <a:lnTo>
                          <a:pt x="4409" y="380"/>
                        </a:lnTo>
                        <a:lnTo>
                          <a:pt x="4409" y="404"/>
                        </a:lnTo>
                        <a:lnTo>
                          <a:pt x="4373" y="416"/>
                        </a:lnTo>
                        <a:lnTo>
                          <a:pt x="4373" y="428"/>
                        </a:lnTo>
                        <a:lnTo>
                          <a:pt x="4314" y="428"/>
                        </a:lnTo>
                        <a:lnTo>
                          <a:pt x="4302" y="440"/>
                        </a:lnTo>
                        <a:lnTo>
                          <a:pt x="4100" y="559"/>
                        </a:lnTo>
                        <a:lnTo>
                          <a:pt x="4053" y="642"/>
                        </a:lnTo>
                        <a:lnTo>
                          <a:pt x="4017" y="654"/>
                        </a:lnTo>
                        <a:lnTo>
                          <a:pt x="3922" y="654"/>
                        </a:lnTo>
                        <a:lnTo>
                          <a:pt x="3910" y="701"/>
                        </a:lnTo>
                        <a:lnTo>
                          <a:pt x="3874" y="725"/>
                        </a:lnTo>
                        <a:lnTo>
                          <a:pt x="3791" y="701"/>
                        </a:lnTo>
                        <a:lnTo>
                          <a:pt x="3767" y="713"/>
                        </a:lnTo>
                        <a:lnTo>
                          <a:pt x="3732" y="749"/>
                        </a:lnTo>
                        <a:lnTo>
                          <a:pt x="3708" y="749"/>
                        </a:lnTo>
                        <a:lnTo>
                          <a:pt x="3660" y="725"/>
                        </a:lnTo>
                        <a:lnTo>
                          <a:pt x="3637" y="689"/>
                        </a:lnTo>
                        <a:lnTo>
                          <a:pt x="3613" y="606"/>
                        </a:lnTo>
                        <a:lnTo>
                          <a:pt x="3565" y="571"/>
                        </a:lnTo>
                        <a:lnTo>
                          <a:pt x="3530" y="571"/>
                        </a:lnTo>
                        <a:lnTo>
                          <a:pt x="3482" y="582"/>
                        </a:lnTo>
                        <a:lnTo>
                          <a:pt x="3363" y="630"/>
                        </a:lnTo>
                        <a:lnTo>
                          <a:pt x="3316" y="642"/>
                        </a:lnTo>
                        <a:lnTo>
                          <a:pt x="3292" y="618"/>
                        </a:lnTo>
                        <a:lnTo>
                          <a:pt x="3280" y="582"/>
                        </a:lnTo>
                        <a:lnTo>
                          <a:pt x="3268" y="582"/>
                        </a:lnTo>
                        <a:lnTo>
                          <a:pt x="3221" y="511"/>
                        </a:lnTo>
                        <a:lnTo>
                          <a:pt x="3161" y="475"/>
                        </a:lnTo>
                        <a:lnTo>
                          <a:pt x="3102" y="464"/>
                        </a:lnTo>
                        <a:lnTo>
                          <a:pt x="3042" y="475"/>
                        </a:lnTo>
                        <a:lnTo>
                          <a:pt x="3019" y="499"/>
                        </a:lnTo>
                        <a:lnTo>
                          <a:pt x="2983" y="582"/>
                        </a:lnTo>
                        <a:lnTo>
                          <a:pt x="2971" y="594"/>
                        </a:lnTo>
                        <a:lnTo>
                          <a:pt x="2852" y="618"/>
                        </a:lnTo>
                        <a:lnTo>
                          <a:pt x="2852" y="642"/>
                        </a:lnTo>
                        <a:lnTo>
                          <a:pt x="2840" y="689"/>
                        </a:lnTo>
                        <a:lnTo>
                          <a:pt x="2840" y="701"/>
                        </a:lnTo>
                        <a:lnTo>
                          <a:pt x="2817" y="713"/>
                        </a:lnTo>
                        <a:lnTo>
                          <a:pt x="2793" y="689"/>
                        </a:lnTo>
                        <a:lnTo>
                          <a:pt x="2769" y="677"/>
                        </a:lnTo>
                        <a:lnTo>
                          <a:pt x="2745" y="701"/>
                        </a:lnTo>
                        <a:lnTo>
                          <a:pt x="2722" y="701"/>
                        </a:lnTo>
                        <a:lnTo>
                          <a:pt x="2615" y="582"/>
                        </a:lnTo>
                        <a:lnTo>
                          <a:pt x="2615" y="559"/>
                        </a:lnTo>
                        <a:lnTo>
                          <a:pt x="2579" y="523"/>
                        </a:lnTo>
                        <a:lnTo>
                          <a:pt x="2531" y="499"/>
                        </a:lnTo>
                        <a:lnTo>
                          <a:pt x="2472" y="511"/>
                        </a:lnTo>
                        <a:lnTo>
                          <a:pt x="2436" y="487"/>
                        </a:lnTo>
                        <a:lnTo>
                          <a:pt x="2413" y="440"/>
                        </a:lnTo>
                        <a:lnTo>
                          <a:pt x="2424" y="392"/>
                        </a:lnTo>
                        <a:lnTo>
                          <a:pt x="2413" y="345"/>
                        </a:lnTo>
                        <a:lnTo>
                          <a:pt x="2377" y="262"/>
                        </a:lnTo>
                        <a:lnTo>
                          <a:pt x="2365" y="262"/>
                        </a:lnTo>
                        <a:lnTo>
                          <a:pt x="2341" y="238"/>
                        </a:lnTo>
                        <a:lnTo>
                          <a:pt x="2270" y="214"/>
                        </a:lnTo>
                        <a:lnTo>
                          <a:pt x="2270" y="226"/>
                        </a:lnTo>
                        <a:lnTo>
                          <a:pt x="2234" y="238"/>
                        </a:lnTo>
                        <a:lnTo>
                          <a:pt x="2222" y="226"/>
                        </a:lnTo>
                        <a:lnTo>
                          <a:pt x="2175" y="178"/>
                        </a:lnTo>
                        <a:lnTo>
                          <a:pt x="2163" y="143"/>
                        </a:lnTo>
                        <a:lnTo>
                          <a:pt x="2115" y="95"/>
                        </a:lnTo>
                        <a:lnTo>
                          <a:pt x="2044" y="48"/>
                        </a:lnTo>
                        <a:lnTo>
                          <a:pt x="2009" y="36"/>
                        </a:lnTo>
                        <a:lnTo>
                          <a:pt x="1878" y="83"/>
                        </a:lnTo>
                        <a:lnTo>
                          <a:pt x="1735" y="60"/>
                        </a:lnTo>
                        <a:lnTo>
                          <a:pt x="1688" y="71"/>
                        </a:lnTo>
                        <a:lnTo>
                          <a:pt x="1604" y="107"/>
                        </a:lnTo>
                        <a:lnTo>
                          <a:pt x="1533" y="107"/>
                        </a:lnTo>
                        <a:lnTo>
                          <a:pt x="1533" y="119"/>
                        </a:lnTo>
                        <a:lnTo>
                          <a:pt x="1391" y="107"/>
                        </a:lnTo>
                        <a:lnTo>
                          <a:pt x="1367" y="95"/>
                        </a:lnTo>
                        <a:lnTo>
                          <a:pt x="1331" y="71"/>
                        </a:lnTo>
                        <a:lnTo>
                          <a:pt x="1307" y="0"/>
                        </a:lnTo>
                        <a:lnTo>
                          <a:pt x="1272" y="12"/>
                        </a:lnTo>
                        <a:lnTo>
                          <a:pt x="1260" y="36"/>
                        </a:lnTo>
                        <a:lnTo>
                          <a:pt x="1260" y="48"/>
                        </a:lnTo>
                        <a:lnTo>
                          <a:pt x="1200" y="95"/>
                        </a:lnTo>
                        <a:lnTo>
                          <a:pt x="1153" y="83"/>
                        </a:lnTo>
                        <a:lnTo>
                          <a:pt x="1117" y="36"/>
                        </a:lnTo>
                        <a:lnTo>
                          <a:pt x="1058" y="24"/>
                        </a:lnTo>
                        <a:lnTo>
                          <a:pt x="1010" y="107"/>
                        </a:lnTo>
                        <a:lnTo>
                          <a:pt x="963" y="131"/>
                        </a:lnTo>
                        <a:lnTo>
                          <a:pt x="903" y="107"/>
                        </a:lnTo>
                        <a:lnTo>
                          <a:pt x="880" y="60"/>
                        </a:lnTo>
                        <a:lnTo>
                          <a:pt x="856" y="60"/>
                        </a:lnTo>
                        <a:lnTo>
                          <a:pt x="820" y="83"/>
                        </a:lnTo>
                        <a:lnTo>
                          <a:pt x="832" y="131"/>
                        </a:lnTo>
                        <a:lnTo>
                          <a:pt x="808" y="238"/>
                        </a:lnTo>
                        <a:lnTo>
                          <a:pt x="832" y="297"/>
                        </a:lnTo>
                        <a:lnTo>
                          <a:pt x="880" y="369"/>
                        </a:lnTo>
                        <a:lnTo>
                          <a:pt x="880" y="416"/>
                        </a:lnTo>
                        <a:lnTo>
                          <a:pt x="856" y="523"/>
                        </a:lnTo>
                        <a:lnTo>
                          <a:pt x="868" y="571"/>
                        </a:lnTo>
                        <a:lnTo>
                          <a:pt x="891" y="582"/>
                        </a:lnTo>
                        <a:lnTo>
                          <a:pt x="986" y="594"/>
                        </a:lnTo>
                        <a:lnTo>
                          <a:pt x="1010" y="606"/>
                        </a:lnTo>
                        <a:lnTo>
                          <a:pt x="1022" y="630"/>
                        </a:lnTo>
                        <a:lnTo>
                          <a:pt x="1022" y="666"/>
                        </a:lnTo>
                        <a:lnTo>
                          <a:pt x="1022" y="677"/>
                        </a:lnTo>
                        <a:lnTo>
                          <a:pt x="1010" y="689"/>
                        </a:lnTo>
                        <a:lnTo>
                          <a:pt x="998" y="761"/>
                        </a:lnTo>
                        <a:lnTo>
                          <a:pt x="939" y="868"/>
                        </a:lnTo>
                        <a:lnTo>
                          <a:pt x="927" y="986"/>
                        </a:lnTo>
                        <a:lnTo>
                          <a:pt x="903" y="1010"/>
                        </a:lnTo>
                        <a:lnTo>
                          <a:pt x="856" y="1022"/>
                        </a:lnTo>
                        <a:lnTo>
                          <a:pt x="820" y="1082"/>
                        </a:lnTo>
                        <a:lnTo>
                          <a:pt x="796" y="1105"/>
                        </a:lnTo>
                        <a:lnTo>
                          <a:pt x="701" y="1129"/>
                        </a:lnTo>
                        <a:lnTo>
                          <a:pt x="642" y="1260"/>
                        </a:lnTo>
                        <a:lnTo>
                          <a:pt x="606" y="1284"/>
                        </a:lnTo>
                        <a:lnTo>
                          <a:pt x="571" y="1260"/>
                        </a:lnTo>
                        <a:lnTo>
                          <a:pt x="547" y="1307"/>
                        </a:lnTo>
                        <a:lnTo>
                          <a:pt x="547" y="1331"/>
                        </a:lnTo>
                        <a:lnTo>
                          <a:pt x="523" y="1343"/>
                        </a:lnTo>
                        <a:lnTo>
                          <a:pt x="440" y="1307"/>
                        </a:lnTo>
                        <a:lnTo>
                          <a:pt x="404" y="1319"/>
                        </a:lnTo>
                        <a:lnTo>
                          <a:pt x="357" y="1391"/>
                        </a:lnTo>
                        <a:lnTo>
                          <a:pt x="309" y="1414"/>
                        </a:lnTo>
                        <a:lnTo>
                          <a:pt x="285" y="1450"/>
                        </a:lnTo>
                        <a:lnTo>
                          <a:pt x="238" y="1486"/>
                        </a:lnTo>
                        <a:lnTo>
                          <a:pt x="238" y="1486"/>
                        </a:lnTo>
                        <a:lnTo>
                          <a:pt x="190" y="1533"/>
                        </a:lnTo>
                        <a:lnTo>
                          <a:pt x="95" y="1616"/>
                        </a:lnTo>
                        <a:lnTo>
                          <a:pt x="0" y="1676"/>
                        </a:lnTo>
                        <a:lnTo>
                          <a:pt x="12" y="1688"/>
                        </a:lnTo>
                        <a:lnTo>
                          <a:pt x="60" y="1711"/>
                        </a:lnTo>
                        <a:lnTo>
                          <a:pt x="167" y="1688"/>
                        </a:lnTo>
                        <a:lnTo>
                          <a:pt x="226" y="1688"/>
                        </a:lnTo>
                        <a:lnTo>
                          <a:pt x="262" y="1699"/>
                        </a:lnTo>
                        <a:lnTo>
                          <a:pt x="273" y="1759"/>
                        </a:lnTo>
                        <a:lnTo>
                          <a:pt x="285" y="1771"/>
                        </a:lnTo>
                        <a:lnTo>
                          <a:pt x="333" y="1783"/>
                        </a:lnTo>
                        <a:lnTo>
                          <a:pt x="357" y="1795"/>
                        </a:lnTo>
                        <a:lnTo>
                          <a:pt x="357" y="1854"/>
                        </a:lnTo>
                        <a:lnTo>
                          <a:pt x="380" y="1866"/>
                        </a:lnTo>
                        <a:lnTo>
                          <a:pt x="452" y="1854"/>
                        </a:lnTo>
                        <a:lnTo>
                          <a:pt x="487" y="1878"/>
                        </a:lnTo>
                        <a:lnTo>
                          <a:pt x="535" y="1949"/>
                        </a:lnTo>
                        <a:lnTo>
                          <a:pt x="547" y="2020"/>
                        </a:lnTo>
                        <a:lnTo>
                          <a:pt x="582" y="2068"/>
                        </a:lnTo>
                        <a:lnTo>
                          <a:pt x="547" y="2115"/>
                        </a:lnTo>
                        <a:lnTo>
                          <a:pt x="547" y="2163"/>
                        </a:lnTo>
                        <a:lnTo>
                          <a:pt x="547" y="2187"/>
                        </a:lnTo>
                        <a:lnTo>
                          <a:pt x="582" y="2234"/>
                        </a:lnTo>
                        <a:lnTo>
                          <a:pt x="606" y="2258"/>
                        </a:lnTo>
                        <a:lnTo>
                          <a:pt x="654" y="2282"/>
                        </a:lnTo>
                        <a:lnTo>
                          <a:pt x="689" y="2294"/>
                        </a:lnTo>
                        <a:lnTo>
                          <a:pt x="689" y="2282"/>
                        </a:lnTo>
                        <a:lnTo>
                          <a:pt x="725" y="2282"/>
                        </a:lnTo>
                        <a:lnTo>
                          <a:pt x="737" y="2306"/>
                        </a:lnTo>
                        <a:lnTo>
                          <a:pt x="737" y="2353"/>
                        </a:lnTo>
                        <a:lnTo>
                          <a:pt x="713" y="2484"/>
                        </a:lnTo>
                        <a:lnTo>
                          <a:pt x="689" y="2543"/>
                        </a:lnTo>
                        <a:lnTo>
                          <a:pt x="666" y="2567"/>
                        </a:lnTo>
                        <a:lnTo>
                          <a:pt x="642" y="2567"/>
                        </a:lnTo>
                        <a:lnTo>
                          <a:pt x="642" y="2591"/>
                        </a:lnTo>
                        <a:lnTo>
                          <a:pt x="808" y="2591"/>
                        </a:lnTo>
                        <a:lnTo>
                          <a:pt x="891" y="2579"/>
                        </a:lnTo>
                        <a:lnTo>
                          <a:pt x="903" y="2579"/>
                        </a:lnTo>
                        <a:lnTo>
                          <a:pt x="939" y="2543"/>
                        </a:lnTo>
                        <a:lnTo>
                          <a:pt x="1022" y="2460"/>
                        </a:lnTo>
                        <a:lnTo>
                          <a:pt x="1117" y="2448"/>
                        </a:lnTo>
                        <a:lnTo>
                          <a:pt x="1165" y="2377"/>
                        </a:lnTo>
                        <a:lnTo>
                          <a:pt x="1200" y="2270"/>
                        </a:lnTo>
                        <a:lnTo>
                          <a:pt x="1200" y="2222"/>
                        </a:lnTo>
                        <a:lnTo>
                          <a:pt x="1224" y="2163"/>
                        </a:lnTo>
                        <a:lnTo>
                          <a:pt x="1236" y="2139"/>
                        </a:lnTo>
                        <a:lnTo>
                          <a:pt x="1260" y="2115"/>
                        </a:lnTo>
                        <a:lnTo>
                          <a:pt x="1307" y="2104"/>
                        </a:lnTo>
                        <a:lnTo>
                          <a:pt x="1319" y="2104"/>
                        </a:lnTo>
                        <a:lnTo>
                          <a:pt x="1355" y="2139"/>
                        </a:lnTo>
                        <a:lnTo>
                          <a:pt x="1414" y="2139"/>
                        </a:lnTo>
                        <a:lnTo>
                          <a:pt x="1497" y="2115"/>
                        </a:lnTo>
                        <a:lnTo>
                          <a:pt x="1557" y="2115"/>
                        </a:lnTo>
                        <a:lnTo>
                          <a:pt x="1616" y="2092"/>
                        </a:lnTo>
                        <a:lnTo>
                          <a:pt x="1640" y="2080"/>
                        </a:lnTo>
                        <a:lnTo>
                          <a:pt x="1664" y="2032"/>
                        </a:lnTo>
                        <a:lnTo>
                          <a:pt x="1688" y="1973"/>
                        </a:lnTo>
                        <a:lnTo>
                          <a:pt x="1700" y="1878"/>
                        </a:lnTo>
                        <a:lnTo>
                          <a:pt x="1711" y="1842"/>
                        </a:lnTo>
                        <a:lnTo>
                          <a:pt x="1818" y="1806"/>
                        </a:lnTo>
                        <a:lnTo>
                          <a:pt x="1854" y="1771"/>
                        </a:lnTo>
                        <a:lnTo>
                          <a:pt x="1902" y="1759"/>
                        </a:lnTo>
                        <a:lnTo>
                          <a:pt x="1925" y="1723"/>
                        </a:lnTo>
                        <a:lnTo>
                          <a:pt x="1925" y="1688"/>
                        </a:lnTo>
                        <a:lnTo>
                          <a:pt x="1937" y="1664"/>
                        </a:lnTo>
                        <a:lnTo>
                          <a:pt x="2020" y="1640"/>
                        </a:lnTo>
                        <a:lnTo>
                          <a:pt x="2104" y="1581"/>
                        </a:lnTo>
                        <a:lnTo>
                          <a:pt x="2199" y="1557"/>
                        </a:lnTo>
                        <a:lnTo>
                          <a:pt x="2222" y="1545"/>
                        </a:lnTo>
                        <a:lnTo>
                          <a:pt x="2246" y="1497"/>
                        </a:lnTo>
                        <a:lnTo>
                          <a:pt x="2258" y="1486"/>
                        </a:lnTo>
                        <a:lnTo>
                          <a:pt x="2341" y="1474"/>
                        </a:lnTo>
                        <a:lnTo>
                          <a:pt x="2401" y="1509"/>
                        </a:lnTo>
                        <a:lnTo>
                          <a:pt x="2448" y="1616"/>
                        </a:lnTo>
                        <a:lnTo>
                          <a:pt x="2520" y="1688"/>
                        </a:lnTo>
                        <a:lnTo>
                          <a:pt x="2531" y="1711"/>
                        </a:lnTo>
                        <a:lnTo>
                          <a:pt x="2591" y="1735"/>
                        </a:lnTo>
                        <a:lnTo>
                          <a:pt x="2662" y="1735"/>
                        </a:lnTo>
                        <a:lnTo>
                          <a:pt x="2686" y="1735"/>
                        </a:lnTo>
                        <a:lnTo>
                          <a:pt x="2722" y="1747"/>
                        </a:lnTo>
                        <a:lnTo>
                          <a:pt x="2769" y="1830"/>
                        </a:lnTo>
                        <a:lnTo>
                          <a:pt x="2781" y="1842"/>
                        </a:lnTo>
                        <a:lnTo>
                          <a:pt x="2828" y="1854"/>
                        </a:lnTo>
                        <a:lnTo>
                          <a:pt x="2912" y="1830"/>
                        </a:lnTo>
                        <a:lnTo>
                          <a:pt x="2947" y="1842"/>
                        </a:lnTo>
                        <a:lnTo>
                          <a:pt x="3054" y="1902"/>
                        </a:lnTo>
                        <a:lnTo>
                          <a:pt x="3078" y="1913"/>
                        </a:lnTo>
                        <a:lnTo>
                          <a:pt x="3126" y="2032"/>
                        </a:lnTo>
                        <a:lnTo>
                          <a:pt x="3161" y="2044"/>
                        </a:lnTo>
                        <a:lnTo>
                          <a:pt x="3173" y="2044"/>
                        </a:lnTo>
                        <a:lnTo>
                          <a:pt x="3185" y="2020"/>
                        </a:lnTo>
                        <a:lnTo>
                          <a:pt x="3209" y="1937"/>
                        </a:lnTo>
                        <a:lnTo>
                          <a:pt x="3233" y="1913"/>
                        </a:lnTo>
                        <a:lnTo>
                          <a:pt x="3268" y="1902"/>
                        </a:lnTo>
                        <a:lnTo>
                          <a:pt x="3328" y="1902"/>
                        </a:lnTo>
                        <a:lnTo>
                          <a:pt x="3339" y="1913"/>
                        </a:lnTo>
                        <a:lnTo>
                          <a:pt x="3351" y="1937"/>
                        </a:lnTo>
                        <a:lnTo>
                          <a:pt x="3351" y="1973"/>
                        </a:lnTo>
                        <a:lnTo>
                          <a:pt x="3292" y="2056"/>
                        </a:lnTo>
                        <a:lnTo>
                          <a:pt x="3316" y="2104"/>
                        </a:lnTo>
                        <a:lnTo>
                          <a:pt x="3351" y="2139"/>
                        </a:lnTo>
                        <a:lnTo>
                          <a:pt x="3399" y="2163"/>
                        </a:lnTo>
                        <a:lnTo>
                          <a:pt x="3470" y="2127"/>
                        </a:lnTo>
                        <a:lnTo>
                          <a:pt x="3518" y="2151"/>
                        </a:lnTo>
                        <a:lnTo>
                          <a:pt x="3518" y="2175"/>
                        </a:lnTo>
                        <a:lnTo>
                          <a:pt x="3518" y="2246"/>
                        </a:lnTo>
                        <a:lnTo>
                          <a:pt x="3542" y="2317"/>
                        </a:lnTo>
                        <a:lnTo>
                          <a:pt x="3542" y="2377"/>
                        </a:lnTo>
                        <a:lnTo>
                          <a:pt x="3565" y="2460"/>
                        </a:lnTo>
                        <a:lnTo>
                          <a:pt x="3565" y="2496"/>
                        </a:lnTo>
                        <a:lnTo>
                          <a:pt x="3589" y="2567"/>
                        </a:lnTo>
                        <a:lnTo>
                          <a:pt x="3601" y="2591"/>
                        </a:lnTo>
                        <a:lnTo>
                          <a:pt x="3613" y="2615"/>
                        </a:lnTo>
                        <a:lnTo>
                          <a:pt x="3625" y="2591"/>
                        </a:lnTo>
                        <a:lnTo>
                          <a:pt x="3648" y="2531"/>
                        </a:lnTo>
                        <a:lnTo>
                          <a:pt x="3732" y="2436"/>
                        </a:lnTo>
                        <a:lnTo>
                          <a:pt x="3803" y="2401"/>
                        </a:lnTo>
                        <a:lnTo>
                          <a:pt x="3886" y="2377"/>
                        </a:lnTo>
                        <a:lnTo>
                          <a:pt x="3946" y="2329"/>
                        </a:lnTo>
                        <a:lnTo>
                          <a:pt x="4005" y="2258"/>
                        </a:lnTo>
                        <a:lnTo>
                          <a:pt x="4064" y="2222"/>
                        </a:lnTo>
                        <a:lnTo>
                          <a:pt x="4100" y="2175"/>
                        </a:lnTo>
                        <a:lnTo>
                          <a:pt x="4124" y="2127"/>
                        </a:lnTo>
                        <a:lnTo>
                          <a:pt x="4136" y="2092"/>
                        </a:lnTo>
                        <a:lnTo>
                          <a:pt x="4148" y="2056"/>
                        </a:lnTo>
                        <a:lnTo>
                          <a:pt x="4159" y="2032"/>
                        </a:lnTo>
                        <a:lnTo>
                          <a:pt x="4195" y="1997"/>
                        </a:lnTo>
                        <a:lnTo>
                          <a:pt x="4219" y="2008"/>
                        </a:lnTo>
                        <a:lnTo>
                          <a:pt x="4243" y="2056"/>
                        </a:lnTo>
                        <a:lnTo>
                          <a:pt x="4278" y="2092"/>
                        </a:lnTo>
                        <a:lnTo>
                          <a:pt x="4302" y="2127"/>
                        </a:lnTo>
                        <a:lnTo>
                          <a:pt x="4338" y="2199"/>
                        </a:lnTo>
                        <a:lnTo>
                          <a:pt x="4362" y="2210"/>
                        </a:lnTo>
                        <a:lnTo>
                          <a:pt x="4409" y="2234"/>
                        </a:lnTo>
                        <a:lnTo>
                          <a:pt x="4480" y="2210"/>
                        </a:lnTo>
                        <a:lnTo>
                          <a:pt x="4516" y="2210"/>
                        </a:lnTo>
                        <a:lnTo>
                          <a:pt x="4540" y="2210"/>
                        </a:lnTo>
                        <a:lnTo>
                          <a:pt x="4575" y="2234"/>
                        </a:lnTo>
                        <a:lnTo>
                          <a:pt x="4623" y="2282"/>
                        </a:lnTo>
                        <a:lnTo>
                          <a:pt x="4730" y="2329"/>
                        </a:lnTo>
                        <a:lnTo>
                          <a:pt x="4777" y="2377"/>
                        </a:lnTo>
                        <a:lnTo>
                          <a:pt x="4825" y="2508"/>
                        </a:lnTo>
                        <a:lnTo>
                          <a:pt x="4861" y="2555"/>
                        </a:lnTo>
                        <a:lnTo>
                          <a:pt x="4908" y="2579"/>
                        </a:lnTo>
                        <a:lnTo>
                          <a:pt x="4944" y="2579"/>
                        </a:lnTo>
                        <a:lnTo>
                          <a:pt x="4956" y="2567"/>
                        </a:lnTo>
                        <a:lnTo>
                          <a:pt x="4968" y="2543"/>
                        </a:lnTo>
                        <a:lnTo>
                          <a:pt x="5015" y="2543"/>
                        </a:lnTo>
                        <a:lnTo>
                          <a:pt x="5027" y="2555"/>
                        </a:lnTo>
                        <a:lnTo>
                          <a:pt x="5027" y="2603"/>
                        </a:lnTo>
                        <a:lnTo>
                          <a:pt x="5039" y="2615"/>
                        </a:lnTo>
                        <a:lnTo>
                          <a:pt x="5075" y="2662"/>
                        </a:lnTo>
                        <a:lnTo>
                          <a:pt x="5122" y="2686"/>
                        </a:lnTo>
                        <a:lnTo>
                          <a:pt x="5158" y="2721"/>
                        </a:lnTo>
                        <a:lnTo>
                          <a:pt x="5181" y="2721"/>
                        </a:lnTo>
                        <a:lnTo>
                          <a:pt x="5193" y="2710"/>
                        </a:lnTo>
                        <a:lnTo>
                          <a:pt x="5205" y="2674"/>
                        </a:lnTo>
                        <a:lnTo>
                          <a:pt x="5253" y="2615"/>
                        </a:lnTo>
                        <a:lnTo>
                          <a:pt x="5300" y="2603"/>
                        </a:lnTo>
                        <a:lnTo>
                          <a:pt x="5431" y="2626"/>
                        </a:lnTo>
                        <a:lnTo>
                          <a:pt x="5514" y="2686"/>
                        </a:lnTo>
                        <a:lnTo>
                          <a:pt x="5574" y="2721"/>
                        </a:lnTo>
                        <a:lnTo>
                          <a:pt x="5574" y="2698"/>
                        </a:lnTo>
                        <a:lnTo>
                          <a:pt x="5609" y="2698"/>
                        </a:lnTo>
                        <a:lnTo>
                          <a:pt x="5657" y="2662"/>
                        </a:lnTo>
                        <a:lnTo>
                          <a:pt x="5681" y="2615"/>
                        </a:lnTo>
                        <a:lnTo>
                          <a:pt x="5692" y="2603"/>
                        </a:lnTo>
                        <a:lnTo>
                          <a:pt x="5799" y="2591"/>
                        </a:lnTo>
                        <a:lnTo>
                          <a:pt x="5823" y="2603"/>
                        </a:lnTo>
                        <a:lnTo>
                          <a:pt x="5859" y="2579"/>
                        </a:lnTo>
                        <a:lnTo>
                          <a:pt x="5906" y="2531"/>
                        </a:lnTo>
                        <a:lnTo>
                          <a:pt x="5906" y="2519"/>
                        </a:lnTo>
                        <a:lnTo>
                          <a:pt x="5966" y="2508"/>
                        </a:lnTo>
                        <a:lnTo>
                          <a:pt x="6001" y="2460"/>
                        </a:lnTo>
                        <a:lnTo>
                          <a:pt x="6025" y="2436"/>
                        </a:lnTo>
                        <a:lnTo>
                          <a:pt x="6085" y="2413"/>
                        </a:lnTo>
                        <a:lnTo>
                          <a:pt x="6108" y="2389"/>
                        </a:lnTo>
                        <a:lnTo>
                          <a:pt x="6144" y="2341"/>
                        </a:lnTo>
                        <a:lnTo>
                          <a:pt x="6156" y="2270"/>
                        </a:lnTo>
                        <a:lnTo>
                          <a:pt x="6180" y="2246"/>
                        </a:lnTo>
                        <a:lnTo>
                          <a:pt x="6203" y="2222"/>
                        </a:lnTo>
                        <a:lnTo>
                          <a:pt x="6239" y="2199"/>
                        </a:lnTo>
                        <a:lnTo>
                          <a:pt x="6358" y="2187"/>
                        </a:lnTo>
                        <a:lnTo>
                          <a:pt x="6465" y="2151"/>
                        </a:lnTo>
                        <a:lnTo>
                          <a:pt x="6548" y="2163"/>
                        </a:lnTo>
                        <a:lnTo>
                          <a:pt x="6572" y="2187"/>
                        </a:lnTo>
                        <a:lnTo>
                          <a:pt x="6596" y="2187"/>
                        </a:lnTo>
                        <a:lnTo>
                          <a:pt x="6643" y="2199"/>
                        </a:lnTo>
                        <a:lnTo>
                          <a:pt x="6667" y="2187"/>
                        </a:lnTo>
                        <a:lnTo>
                          <a:pt x="6691" y="2187"/>
                        </a:lnTo>
                        <a:lnTo>
                          <a:pt x="6726" y="2187"/>
                        </a:lnTo>
                        <a:lnTo>
                          <a:pt x="6774" y="2163"/>
                        </a:lnTo>
                        <a:lnTo>
                          <a:pt x="6833" y="2127"/>
                        </a:lnTo>
                        <a:lnTo>
                          <a:pt x="6893" y="2104"/>
                        </a:lnTo>
                        <a:lnTo>
                          <a:pt x="6940" y="2104"/>
                        </a:lnTo>
                        <a:lnTo>
                          <a:pt x="6940" y="2092"/>
                        </a:lnTo>
                        <a:lnTo>
                          <a:pt x="7047" y="2139"/>
                        </a:lnTo>
                        <a:lnTo>
                          <a:pt x="7059" y="2151"/>
                        </a:lnTo>
                        <a:lnTo>
                          <a:pt x="7071" y="2151"/>
                        </a:lnTo>
                        <a:lnTo>
                          <a:pt x="7083" y="2163"/>
                        </a:lnTo>
                        <a:lnTo>
                          <a:pt x="7142" y="2175"/>
                        </a:lnTo>
                        <a:lnTo>
                          <a:pt x="7202" y="2187"/>
                        </a:lnTo>
                        <a:lnTo>
                          <a:pt x="7226" y="2151"/>
                        </a:lnTo>
                        <a:lnTo>
                          <a:pt x="7249" y="2163"/>
                        </a:lnTo>
                        <a:lnTo>
                          <a:pt x="7261" y="2175"/>
                        </a:lnTo>
                        <a:lnTo>
                          <a:pt x="7285" y="2175"/>
                        </a:lnTo>
                        <a:lnTo>
                          <a:pt x="7297" y="2163"/>
                        </a:lnTo>
                        <a:lnTo>
                          <a:pt x="7309" y="2163"/>
                        </a:lnTo>
                        <a:lnTo>
                          <a:pt x="7332" y="2175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39" name="Freeform 246"/>
                  <p:cNvSpPr>
                    <a:spLocks/>
                  </p:cNvSpPr>
                  <p:nvPr/>
                </p:nvSpPr>
                <p:spPr bwMode="auto">
                  <a:xfrm>
                    <a:off x="41798876" y="-8148643"/>
                    <a:ext cx="93662" cy="174631"/>
                  </a:xfrm>
                  <a:custGeom>
                    <a:avLst/>
                    <a:gdLst>
                      <a:gd name="connsiteX0" fmla="*/ 4894 w 10000"/>
                      <a:gd name="connsiteY0" fmla="*/ 252 h 9244"/>
                      <a:gd name="connsiteX1" fmla="*/ 10000 w 10000"/>
                      <a:gd name="connsiteY1" fmla="*/ 0 h 9244"/>
                      <a:gd name="connsiteX2" fmla="*/ 10000 w 10000"/>
                      <a:gd name="connsiteY2" fmla="*/ 2269 h 9244"/>
                      <a:gd name="connsiteX3" fmla="*/ 4894 w 10000"/>
                      <a:gd name="connsiteY3" fmla="*/ 7227 h 9244"/>
                      <a:gd name="connsiteX4" fmla="*/ 2553 w 10000"/>
                      <a:gd name="connsiteY4" fmla="*/ 9244 h 9244"/>
                      <a:gd name="connsiteX5" fmla="*/ 0 w 10000"/>
                      <a:gd name="connsiteY5" fmla="*/ 8236 h 9244"/>
                      <a:gd name="connsiteX6" fmla="*/ 2553 w 10000"/>
                      <a:gd name="connsiteY6" fmla="*/ 4202 h 9244"/>
                      <a:gd name="connsiteX7" fmla="*/ 4894 w 10000"/>
                      <a:gd name="connsiteY7" fmla="*/ 252 h 9244"/>
                      <a:gd name="connsiteX0" fmla="*/ 4894 w 12553"/>
                      <a:gd name="connsiteY0" fmla="*/ 273 h 10000"/>
                      <a:gd name="connsiteX1" fmla="*/ 10000 w 12553"/>
                      <a:gd name="connsiteY1" fmla="*/ 0 h 10000"/>
                      <a:gd name="connsiteX2" fmla="*/ 12553 w 12553"/>
                      <a:gd name="connsiteY2" fmla="*/ 2455 h 10000"/>
                      <a:gd name="connsiteX3" fmla="*/ 4894 w 12553"/>
                      <a:gd name="connsiteY3" fmla="*/ 7818 h 10000"/>
                      <a:gd name="connsiteX4" fmla="*/ 2553 w 12553"/>
                      <a:gd name="connsiteY4" fmla="*/ 10000 h 10000"/>
                      <a:gd name="connsiteX5" fmla="*/ 0 w 12553"/>
                      <a:gd name="connsiteY5" fmla="*/ 8910 h 10000"/>
                      <a:gd name="connsiteX6" fmla="*/ 2553 w 12553"/>
                      <a:gd name="connsiteY6" fmla="*/ 4546 h 10000"/>
                      <a:gd name="connsiteX7" fmla="*/ 4894 w 12553"/>
                      <a:gd name="connsiteY7" fmla="*/ 273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2553" h="10000">
                        <a:moveTo>
                          <a:pt x="4894" y="273"/>
                        </a:moveTo>
                        <a:lnTo>
                          <a:pt x="10000" y="0"/>
                        </a:lnTo>
                        <a:lnTo>
                          <a:pt x="12553" y="2455"/>
                        </a:lnTo>
                        <a:lnTo>
                          <a:pt x="4894" y="7818"/>
                        </a:lnTo>
                        <a:lnTo>
                          <a:pt x="2553" y="10000"/>
                        </a:lnTo>
                        <a:lnTo>
                          <a:pt x="0" y="8910"/>
                        </a:lnTo>
                        <a:lnTo>
                          <a:pt x="2553" y="4546"/>
                        </a:lnTo>
                        <a:lnTo>
                          <a:pt x="4894" y="273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0" name="Freeform 248"/>
                  <p:cNvSpPr>
                    <a:spLocks/>
                  </p:cNvSpPr>
                  <p:nvPr/>
                </p:nvSpPr>
                <p:spPr bwMode="auto">
                  <a:xfrm>
                    <a:off x="41798875" y="-8294688"/>
                    <a:ext cx="36513" cy="55563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23" y="0"/>
                      </a:cxn>
                      <a:cxn ang="0">
                        <a:pos x="23" y="23"/>
                      </a:cxn>
                      <a:cxn ang="0">
                        <a:pos x="12" y="35"/>
                      </a:cxn>
                      <a:cxn ang="0">
                        <a:pos x="0" y="23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23" h="35">
                        <a:moveTo>
                          <a:pt x="12" y="0"/>
                        </a:moveTo>
                        <a:lnTo>
                          <a:pt x="23" y="0"/>
                        </a:lnTo>
                        <a:lnTo>
                          <a:pt x="23" y="23"/>
                        </a:lnTo>
                        <a:lnTo>
                          <a:pt x="12" y="35"/>
                        </a:lnTo>
                        <a:lnTo>
                          <a:pt x="0" y="23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</p:grpSp>
          <p:grpSp>
            <p:nvGrpSpPr>
              <p:cNvPr id="14" name="Group 261"/>
              <p:cNvGrpSpPr/>
              <p:nvPr/>
            </p:nvGrpSpPr>
            <p:grpSpPr>
              <a:xfrm>
                <a:off x="960962" y="2510072"/>
                <a:ext cx="3060000" cy="3060000"/>
                <a:chOff x="-1022350" y="-2544763"/>
                <a:chExt cx="11952288" cy="11949113"/>
              </a:xfrm>
              <a:noFill/>
            </p:grpSpPr>
            <p:grpSp>
              <p:nvGrpSpPr>
                <p:cNvPr id="16" name="Group 225"/>
                <p:cNvGrpSpPr/>
                <p:nvPr/>
              </p:nvGrpSpPr>
              <p:grpSpPr>
                <a:xfrm>
                  <a:off x="6705600" y="-604838"/>
                  <a:ext cx="4224338" cy="5449888"/>
                  <a:chOff x="6705600" y="-604838"/>
                  <a:chExt cx="4224338" cy="5449888"/>
                </a:xfrm>
                <a:grpFill/>
              </p:grpSpPr>
              <p:sp>
                <p:nvSpPr>
                  <p:cNvPr id="85" name="Freeform 8"/>
                  <p:cNvSpPr>
                    <a:spLocks/>
                  </p:cNvSpPr>
                  <p:nvPr/>
                </p:nvSpPr>
                <p:spPr bwMode="auto">
                  <a:xfrm>
                    <a:off x="6705600" y="-588963"/>
                    <a:ext cx="4224338" cy="5434013"/>
                  </a:xfrm>
                  <a:custGeom>
                    <a:avLst/>
                    <a:gdLst/>
                    <a:ahLst/>
                    <a:cxnLst>
                      <a:cxn ang="0">
                        <a:pos x="2007" y="2293"/>
                      </a:cxn>
                      <a:cxn ang="0">
                        <a:pos x="1875" y="2318"/>
                      </a:cxn>
                      <a:cxn ang="0">
                        <a:pos x="1848" y="2352"/>
                      </a:cxn>
                      <a:cxn ang="0">
                        <a:pos x="1798" y="2519"/>
                      </a:cxn>
                      <a:cxn ang="0">
                        <a:pos x="1792" y="2563"/>
                      </a:cxn>
                      <a:cxn ang="0">
                        <a:pos x="1771" y="2770"/>
                      </a:cxn>
                      <a:cxn ang="0">
                        <a:pos x="1725" y="3147"/>
                      </a:cxn>
                      <a:cxn ang="0">
                        <a:pos x="1508" y="3296"/>
                      </a:cxn>
                      <a:cxn ang="0">
                        <a:pos x="1468" y="3139"/>
                      </a:cxn>
                      <a:cxn ang="0">
                        <a:pos x="1570" y="2941"/>
                      </a:cxn>
                      <a:cxn ang="0">
                        <a:pos x="1389" y="2889"/>
                      </a:cxn>
                      <a:cxn ang="0">
                        <a:pos x="1074" y="2701"/>
                      </a:cxn>
                      <a:cxn ang="0">
                        <a:pos x="875" y="2584"/>
                      </a:cxn>
                      <a:cxn ang="0">
                        <a:pos x="478" y="2732"/>
                      </a:cxn>
                      <a:cxn ang="0">
                        <a:pos x="445" y="2425"/>
                      </a:cxn>
                      <a:cxn ang="0">
                        <a:pos x="462" y="2298"/>
                      </a:cxn>
                      <a:cxn ang="0">
                        <a:pos x="435" y="2058"/>
                      </a:cxn>
                      <a:cxn ang="0">
                        <a:pos x="420" y="1916"/>
                      </a:cxn>
                      <a:cxn ang="0">
                        <a:pos x="529" y="1782"/>
                      </a:cxn>
                      <a:cxn ang="0">
                        <a:pos x="403" y="1694"/>
                      </a:cxn>
                      <a:cxn ang="0">
                        <a:pos x="340" y="1483"/>
                      </a:cxn>
                      <a:cxn ang="0">
                        <a:pos x="303" y="1350"/>
                      </a:cxn>
                      <a:cxn ang="0">
                        <a:pos x="184" y="1187"/>
                      </a:cxn>
                      <a:cxn ang="0">
                        <a:pos x="128" y="802"/>
                      </a:cxn>
                      <a:cxn ang="0">
                        <a:pos x="259" y="598"/>
                      </a:cxn>
                      <a:cxn ang="0">
                        <a:pos x="370" y="402"/>
                      </a:cxn>
                      <a:cxn ang="0">
                        <a:pos x="397" y="320"/>
                      </a:cxn>
                      <a:cxn ang="0">
                        <a:pos x="449" y="220"/>
                      </a:cxn>
                      <a:cxn ang="0">
                        <a:pos x="495" y="92"/>
                      </a:cxn>
                      <a:cxn ang="0">
                        <a:pos x="545" y="7"/>
                      </a:cxn>
                      <a:cxn ang="0">
                        <a:pos x="577" y="23"/>
                      </a:cxn>
                      <a:cxn ang="0">
                        <a:pos x="581" y="57"/>
                      </a:cxn>
                      <a:cxn ang="0">
                        <a:pos x="631" y="40"/>
                      </a:cxn>
                      <a:cxn ang="0">
                        <a:pos x="645" y="117"/>
                      </a:cxn>
                      <a:cxn ang="0">
                        <a:pos x="675" y="115"/>
                      </a:cxn>
                      <a:cxn ang="0">
                        <a:pos x="716" y="101"/>
                      </a:cxn>
                      <a:cxn ang="0">
                        <a:pos x="771" y="128"/>
                      </a:cxn>
                      <a:cxn ang="0">
                        <a:pos x="792" y="159"/>
                      </a:cxn>
                      <a:cxn ang="0">
                        <a:pos x="777" y="249"/>
                      </a:cxn>
                      <a:cxn ang="0">
                        <a:pos x="808" y="253"/>
                      </a:cxn>
                      <a:cxn ang="0">
                        <a:pos x="777" y="395"/>
                      </a:cxn>
                      <a:cxn ang="0">
                        <a:pos x="787" y="402"/>
                      </a:cxn>
                      <a:cxn ang="0">
                        <a:pos x="902" y="253"/>
                      </a:cxn>
                      <a:cxn ang="0">
                        <a:pos x="871" y="324"/>
                      </a:cxn>
                      <a:cxn ang="0">
                        <a:pos x="963" y="276"/>
                      </a:cxn>
                      <a:cxn ang="0">
                        <a:pos x="1011" y="259"/>
                      </a:cxn>
                      <a:cxn ang="0">
                        <a:pos x="1222" y="335"/>
                      </a:cxn>
                      <a:cxn ang="0">
                        <a:pos x="1299" y="331"/>
                      </a:cxn>
                      <a:cxn ang="0">
                        <a:pos x="1435" y="379"/>
                      </a:cxn>
                      <a:cxn ang="0">
                        <a:pos x="1525" y="358"/>
                      </a:cxn>
                      <a:cxn ang="0">
                        <a:pos x="1802" y="422"/>
                      </a:cxn>
                      <a:cxn ang="0">
                        <a:pos x="2022" y="592"/>
                      </a:cxn>
                      <a:cxn ang="0">
                        <a:pos x="2274" y="781"/>
                      </a:cxn>
                      <a:cxn ang="0">
                        <a:pos x="2575" y="878"/>
                      </a:cxn>
                      <a:cxn ang="0">
                        <a:pos x="2638" y="1164"/>
                      </a:cxn>
                      <a:cxn ang="0">
                        <a:pos x="2648" y="1335"/>
                      </a:cxn>
                      <a:cxn ang="0">
                        <a:pos x="2585" y="1538"/>
                      </a:cxn>
                      <a:cxn ang="0">
                        <a:pos x="2510" y="1694"/>
                      </a:cxn>
                      <a:cxn ang="0">
                        <a:pos x="2425" y="1780"/>
                      </a:cxn>
                      <a:cxn ang="0">
                        <a:pos x="2303" y="1895"/>
                      </a:cxn>
                      <a:cxn ang="0">
                        <a:pos x="2195" y="1964"/>
                      </a:cxn>
                      <a:cxn ang="0">
                        <a:pos x="2176" y="2018"/>
                      </a:cxn>
                    </a:cxnLst>
                    <a:rect l="0" t="0" r="r" b="b"/>
                    <a:pathLst>
                      <a:path w="2661" h="3423">
                        <a:moveTo>
                          <a:pt x="2097" y="2093"/>
                        </a:moveTo>
                        <a:lnTo>
                          <a:pt x="2101" y="2095"/>
                        </a:lnTo>
                        <a:lnTo>
                          <a:pt x="2103" y="2095"/>
                        </a:lnTo>
                        <a:lnTo>
                          <a:pt x="2109" y="2093"/>
                        </a:lnTo>
                        <a:lnTo>
                          <a:pt x="2128" y="2080"/>
                        </a:lnTo>
                        <a:lnTo>
                          <a:pt x="2130" y="2082"/>
                        </a:lnTo>
                        <a:lnTo>
                          <a:pt x="2132" y="2083"/>
                        </a:lnTo>
                        <a:lnTo>
                          <a:pt x="2116" y="2103"/>
                        </a:lnTo>
                        <a:lnTo>
                          <a:pt x="2109" y="2106"/>
                        </a:lnTo>
                        <a:lnTo>
                          <a:pt x="2099" y="2124"/>
                        </a:lnTo>
                        <a:lnTo>
                          <a:pt x="2093" y="2128"/>
                        </a:lnTo>
                        <a:lnTo>
                          <a:pt x="2088" y="2129"/>
                        </a:lnTo>
                        <a:lnTo>
                          <a:pt x="2088" y="2131"/>
                        </a:lnTo>
                        <a:lnTo>
                          <a:pt x="2088" y="2133"/>
                        </a:lnTo>
                        <a:lnTo>
                          <a:pt x="2095" y="2131"/>
                        </a:lnTo>
                        <a:lnTo>
                          <a:pt x="2097" y="2135"/>
                        </a:lnTo>
                        <a:lnTo>
                          <a:pt x="2088" y="2156"/>
                        </a:lnTo>
                        <a:lnTo>
                          <a:pt x="2076" y="2162"/>
                        </a:lnTo>
                        <a:lnTo>
                          <a:pt x="2076" y="2166"/>
                        </a:lnTo>
                        <a:lnTo>
                          <a:pt x="2084" y="2166"/>
                        </a:lnTo>
                        <a:lnTo>
                          <a:pt x="2086" y="2172"/>
                        </a:lnTo>
                        <a:lnTo>
                          <a:pt x="2076" y="2199"/>
                        </a:lnTo>
                        <a:lnTo>
                          <a:pt x="2057" y="2229"/>
                        </a:lnTo>
                        <a:lnTo>
                          <a:pt x="2055" y="2233"/>
                        </a:lnTo>
                        <a:lnTo>
                          <a:pt x="2049" y="2237"/>
                        </a:lnTo>
                        <a:lnTo>
                          <a:pt x="2032" y="2258"/>
                        </a:lnTo>
                        <a:lnTo>
                          <a:pt x="2022" y="2270"/>
                        </a:lnTo>
                        <a:lnTo>
                          <a:pt x="2011" y="2283"/>
                        </a:lnTo>
                        <a:lnTo>
                          <a:pt x="2007" y="2293"/>
                        </a:lnTo>
                        <a:lnTo>
                          <a:pt x="2003" y="2300"/>
                        </a:lnTo>
                        <a:lnTo>
                          <a:pt x="1996" y="2308"/>
                        </a:lnTo>
                        <a:lnTo>
                          <a:pt x="1994" y="2308"/>
                        </a:lnTo>
                        <a:lnTo>
                          <a:pt x="1994" y="2308"/>
                        </a:lnTo>
                        <a:lnTo>
                          <a:pt x="1982" y="2319"/>
                        </a:lnTo>
                        <a:lnTo>
                          <a:pt x="1978" y="2327"/>
                        </a:lnTo>
                        <a:lnTo>
                          <a:pt x="1974" y="2333"/>
                        </a:lnTo>
                        <a:lnTo>
                          <a:pt x="1967" y="2339"/>
                        </a:lnTo>
                        <a:lnTo>
                          <a:pt x="1951" y="2354"/>
                        </a:lnTo>
                        <a:lnTo>
                          <a:pt x="1946" y="2360"/>
                        </a:lnTo>
                        <a:lnTo>
                          <a:pt x="1925" y="2375"/>
                        </a:lnTo>
                        <a:lnTo>
                          <a:pt x="1900" y="2387"/>
                        </a:lnTo>
                        <a:lnTo>
                          <a:pt x="1890" y="2387"/>
                        </a:lnTo>
                        <a:lnTo>
                          <a:pt x="1888" y="2385"/>
                        </a:lnTo>
                        <a:lnTo>
                          <a:pt x="1890" y="2381"/>
                        </a:lnTo>
                        <a:lnTo>
                          <a:pt x="1894" y="2375"/>
                        </a:lnTo>
                        <a:lnTo>
                          <a:pt x="1896" y="2366"/>
                        </a:lnTo>
                        <a:lnTo>
                          <a:pt x="1902" y="2362"/>
                        </a:lnTo>
                        <a:lnTo>
                          <a:pt x="1902" y="2358"/>
                        </a:lnTo>
                        <a:lnTo>
                          <a:pt x="1905" y="2346"/>
                        </a:lnTo>
                        <a:lnTo>
                          <a:pt x="1907" y="2341"/>
                        </a:lnTo>
                        <a:lnTo>
                          <a:pt x="1905" y="2337"/>
                        </a:lnTo>
                        <a:lnTo>
                          <a:pt x="1902" y="2333"/>
                        </a:lnTo>
                        <a:lnTo>
                          <a:pt x="1892" y="2329"/>
                        </a:lnTo>
                        <a:lnTo>
                          <a:pt x="1884" y="2331"/>
                        </a:lnTo>
                        <a:lnTo>
                          <a:pt x="1880" y="2331"/>
                        </a:lnTo>
                        <a:lnTo>
                          <a:pt x="1878" y="2329"/>
                        </a:lnTo>
                        <a:lnTo>
                          <a:pt x="1878" y="2323"/>
                        </a:lnTo>
                        <a:lnTo>
                          <a:pt x="1875" y="2318"/>
                        </a:lnTo>
                        <a:lnTo>
                          <a:pt x="1875" y="2312"/>
                        </a:lnTo>
                        <a:lnTo>
                          <a:pt x="1869" y="2306"/>
                        </a:lnTo>
                        <a:lnTo>
                          <a:pt x="1863" y="2306"/>
                        </a:lnTo>
                        <a:lnTo>
                          <a:pt x="1861" y="2310"/>
                        </a:lnTo>
                        <a:lnTo>
                          <a:pt x="1857" y="2314"/>
                        </a:lnTo>
                        <a:lnTo>
                          <a:pt x="1859" y="2318"/>
                        </a:lnTo>
                        <a:lnTo>
                          <a:pt x="1852" y="2339"/>
                        </a:lnTo>
                        <a:lnTo>
                          <a:pt x="1848" y="2344"/>
                        </a:lnTo>
                        <a:lnTo>
                          <a:pt x="1842" y="2346"/>
                        </a:lnTo>
                        <a:lnTo>
                          <a:pt x="1832" y="2337"/>
                        </a:lnTo>
                        <a:lnTo>
                          <a:pt x="1831" y="2331"/>
                        </a:lnTo>
                        <a:lnTo>
                          <a:pt x="1831" y="2323"/>
                        </a:lnTo>
                        <a:lnTo>
                          <a:pt x="1836" y="2314"/>
                        </a:lnTo>
                        <a:lnTo>
                          <a:pt x="1834" y="2312"/>
                        </a:lnTo>
                        <a:lnTo>
                          <a:pt x="1831" y="2312"/>
                        </a:lnTo>
                        <a:lnTo>
                          <a:pt x="1825" y="2321"/>
                        </a:lnTo>
                        <a:lnTo>
                          <a:pt x="1817" y="2321"/>
                        </a:lnTo>
                        <a:lnTo>
                          <a:pt x="1817" y="2323"/>
                        </a:lnTo>
                        <a:lnTo>
                          <a:pt x="1823" y="2333"/>
                        </a:lnTo>
                        <a:lnTo>
                          <a:pt x="1821" y="2346"/>
                        </a:lnTo>
                        <a:lnTo>
                          <a:pt x="1821" y="2346"/>
                        </a:lnTo>
                        <a:lnTo>
                          <a:pt x="1825" y="2346"/>
                        </a:lnTo>
                        <a:lnTo>
                          <a:pt x="1829" y="2341"/>
                        </a:lnTo>
                        <a:lnTo>
                          <a:pt x="1832" y="2339"/>
                        </a:lnTo>
                        <a:lnTo>
                          <a:pt x="1834" y="2341"/>
                        </a:lnTo>
                        <a:lnTo>
                          <a:pt x="1836" y="2348"/>
                        </a:lnTo>
                        <a:lnTo>
                          <a:pt x="1840" y="2352"/>
                        </a:lnTo>
                        <a:lnTo>
                          <a:pt x="1844" y="2354"/>
                        </a:lnTo>
                        <a:lnTo>
                          <a:pt x="1848" y="2352"/>
                        </a:lnTo>
                        <a:lnTo>
                          <a:pt x="1855" y="2354"/>
                        </a:lnTo>
                        <a:lnTo>
                          <a:pt x="1857" y="2358"/>
                        </a:lnTo>
                        <a:lnTo>
                          <a:pt x="1852" y="2364"/>
                        </a:lnTo>
                        <a:lnTo>
                          <a:pt x="1850" y="2371"/>
                        </a:lnTo>
                        <a:lnTo>
                          <a:pt x="1844" y="2377"/>
                        </a:lnTo>
                        <a:lnTo>
                          <a:pt x="1840" y="2387"/>
                        </a:lnTo>
                        <a:lnTo>
                          <a:pt x="1829" y="2390"/>
                        </a:lnTo>
                        <a:lnTo>
                          <a:pt x="1823" y="2394"/>
                        </a:lnTo>
                        <a:lnTo>
                          <a:pt x="1815" y="2392"/>
                        </a:lnTo>
                        <a:lnTo>
                          <a:pt x="1815" y="2394"/>
                        </a:lnTo>
                        <a:lnTo>
                          <a:pt x="1815" y="2398"/>
                        </a:lnTo>
                        <a:lnTo>
                          <a:pt x="1834" y="2404"/>
                        </a:lnTo>
                        <a:lnTo>
                          <a:pt x="1836" y="2408"/>
                        </a:lnTo>
                        <a:lnTo>
                          <a:pt x="1817" y="2419"/>
                        </a:lnTo>
                        <a:lnTo>
                          <a:pt x="1811" y="2427"/>
                        </a:lnTo>
                        <a:lnTo>
                          <a:pt x="1807" y="2444"/>
                        </a:lnTo>
                        <a:lnTo>
                          <a:pt x="1804" y="2446"/>
                        </a:lnTo>
                        <a:lnTo>
                          <a:pt x="1796" y="2448"/>
                        </a:lnTo>
                        <a:lnTo>
                          <a:pt x="1794" y="2446"/>
                        </a:lnTo>
                        <a:lnTo>
                          <a:pt x="1792" y="2442"/>
                        </a:lnTo>
                        <a:lnTo>
                          <a:pt x="1788" y="2444"/>
                        </a:lnTo>
                        <a:lnTo>
                          <a:pt x="1781" y="2481"/>
                        </a:lnTo>
                        <a:lnTo>
                          <a:pt x="1783" y="2488"/>
                        </a:lnTo>
                        <a:lnTo>
                          <a:pt x="1792" y="2488"/>
                        </a:lnTo>
                        <a:lnTo>
                          <a:pt x="1798" y="2490"/>
                        </a:lnTo>
                        <a:lnTo>
                          <a:pt x="1798" y="2494"/>
                        </a:lnTo>
                        <a:lnTo>
                          <a:pt x="1800" y="2500"/>
                        </a:lnTo>
                        <a:lnTo>
                          <a:pt x="1802" y="2508"/>
                        </a:lnTo>
                        <a:lnTo>
                          <a:pt x="1798" y="2519"/>
                        </a:lnTo>
                        <a:lnTo>
                          <a:pt x="1800" y="2536"/>
                        </a:lnTo>
                        <a:lnTo>
                          <a:pt x="1798" y="2538"/>
                        </a:lnTo>
                        <a:lnTo>
                          <a:pt x="1794" y="2538"/>
                        </a:lnTo>
                        <a:lnTo>
                          <a:pt x="1792" y="2532"/>
                        </a:lnTo>
                        <a:lnTo>
                          <a:pt x="1788" y="2531"/>
                        </a:lnTo>
                        <a:lnTo>
                          <a:pt x="1788" y="2515"/>
                        </a:lnTo>
                        <a:lnTo>
                          <a:pt x="1786" y="2511"/>
                        </a:lnTo>
                        <a:lnTo>
                          <a:pt x="1784" y="2513"/>
                        </a:lnTo>
                        <a:lnTo>
                          <a:pt x="1783" y="2517"/>
                        </a:lnTo>
                        <a:lnTo>
                          <a:pt x="1781" y="2517"/>
                        </a:lnTo>
                        <a:lnTo>
                          <a:pt x="1777" y="2511"/>
                        </a:lnTo>
                        <a:lnTo>
                          <a:pt x="1773" y="2513"/>
                        </a:lnTo>
                        <a:lnTo>
                          <a:pt x="1771" y="2515"/>
                        </a:lnTo>
                        <a:lnTo>
                          <a:pt x="1773" y="2519"/>
                        </a:lnTo>
                        <a:lnTo>
                          <a:pt x="1783" y="2525"/>
                        </a:lnTo>
                        <a:lnTo>
                          <a:pt x="1784" y="2534"/>
                        </a:lnTo>
                        <a:lnTo>
                          <a:pt x="1790" y="2542"/>
                        </a:lnTo>
                        <a:lnTo>
                          <a:pt x="1790" y="2546"/>
                        </a:lnTo>
                        <a:lnTo>
                          <a:pt x="1790" y="2548"/>
                        </a:lnTo>
                        <a:lnTo>
                          <a:pt x="1784" y="2544"/>
                        </a:lnTo>
                        <a:lnTo>
                          <a:pt x="1773" y="2546"/>
                        </a:lnTo>
                        <a:lnTo>
                          <a:pt x="1773" y="2552"/>
                        </a:lnTo>
                        <a:lnTo>
                          <a:pt x="1777" y="2555"/>
                        </a:lnTo>
                        <a:lnTo>
                          <a:pt x="1777" y="2563"/>
                        </a:lnTo>
                        <a:lnTo>
                          <a:pt x="1781" y="2563"/>
                        </a:lnTo>
                        <a:lnTo>
                          <a:pt x="1783" y="2559"/>
                        </a:lnTo>
                        <a:lnTo>
                          <a:pt x="1786" y="2559"/>
                        </a:lnTo>
                        <a:lnTo>
                          <a:pt x="1790" y="2561"/>
                        </a:lnTo>
                        <a:lnTo>
                          <a:pt x="1792" y="2563"/>
                        </a:lnTo>
                        <a:lnTo>
                          <a:pt x="1790" y="2573"/>
                        </a:lnTo>
                        <a:lnTo>
                          <a:pt x="1792" y="2575"/>
                        </a:lnTo>
                        <a:lnTo>
                          <a:pt x="1792" y="2580"/>
                        </a:lnTo>
                        <a:lnTo>
                          <a:pt x="1783" y="2582"/>
                        </a:lnTo>
                        <a:lnTo>
                          <a:pt x="1779" y="2588"/>
                        </a:lnTo>
                        <a:lnTo>
                          <a:pt x="1779" y="2594"/>
                        </a:lnTo>
                        <a:lnTo>
                          <a:pt x="1781" y="2598"/>
                        </a:lnTo>
                        <a:lnTo>
                          <a:pt x="1784" y="2600"/>
                        </a:lnTo>
                        <a:lnTo>
                          <a:pt x="1784" y="2594"/>
                        </a:lnTo>
                        <a:lnTo>
                          <a:pt x="1794" y="2586"/>
                        </a:lnTo>
                        <a:lnTo>
                          <a:pt x="1802" y="2557"/>
                        </a:lnTo>
                        <a:lnTo>
                          <a:pt x="1802" y="2554"/>
                        </a:lnTo>
                        <a:lnTo>
                          <a:pt x="1806" y="2550"/>
                        </a:lnTo>
                        <a:lnTo>
                          <a:pt x="1807" y="2554"/>
                        </a:lnTo>
                        <a:lnTo>
                          <a:pt x="1806" y="2557"/>
                        </a:lnTo>
                        <a:lnTo>
                          <a:pt x="1798" y="2590"/>
                        </a:lnTo>
                        <a:lnTo>
                          <a:pt x="1792" y="2615"/>
                        </a:lnTo>
                        <a:lnTo>
                          <a:pt x="1790" y="2621"/>
                        </a:lnTo>
                        <a:lnTo>
                          <a:pt x="1790" y="2632"/>
                        </a:lnTo>
                        <a:lnTo>
                          <a:pt x="1786" y="2646"/>
                        </a:lnTo>
                        <a:lnTo>
                          <a:pt x="1777" y="2667"/>
                        </a:lnTo>
                        <a:lnTo>
                          <a:pt x="1769" y="2697"/>
                        </a:lnTo>
                        <a:lnTo>
                          <a:pt x="1767" y="2707"/>
                        </a:lnTo>
                        <a:lnTo>
                          <a:pt x="1767" y="2715"/>
                        </a:lnTo>
                        <a:lnTo>
                          <a:pt x="1771" y="2726"/>
                        </a:lnTo>
                        <a:lnTo>
                          <a:pt x="1771" y="2730"/>
                        </a:lnTo>
                        <a:lnTo>
                          <a:pt x="1771" y="2740"/>
                        </a:lnTo>
                        <a:lnTo>
                          <a:pt x="1771" y="2747"/>
                        </a:lnTo>
                        <a:lnTo>
                          <a:pt x="1771" y="2770"/>
                        </a:lnTo>
                        <a:lnTo>
                          <a:pt x="1769" y="2803"/>
                        </a:lnTo>
                        <a:lnTo>
                          <a:pt x="1769" y="2830"/>
                        </a:lnTo>
                        <a:lnTo>
                          <a:pt x="1775" y="2872"/>
                        </a:lnTo>
                        <a:lnTo>
                          <a:pt x="1773" y="2901"/>
                        </a:lnTo>
                        <a:lnTo>
                          <a:pt x="1775" y="2907"/>
                        </a:lnTo>
                        <a:lnTo>
                          <a:pt x="1779" y="2912"/>
                        </a:lnTo>
                        <a:lnTo>
                          <a:pt x="1781" y="2918"/>
                        </a:lnTo>
                        <a:lnTo>
                          <a:pt x="1781" y="2935"/>
                        </a:lnTo>
                        <a:lnTo>
                          <a:pt x="1779" y="2939"/>
                        </a:lnTo>
                        <a:lnTo>
                          <a:pt x="1769" y="2937"/>
                        </a:lnTo>
                        <a:lnTo>
                          <a:pt x="1767" y="2937"/>
                        </a:lnTo>
                        <a:lnTo>
                          <a:pt x="1777" y="2945"/>
                        </a:lnTo>
                        <a:lnTo>
                          <a:pt x="1781" y="2945"/>
                        </a:lnTo>
                        <a:lnTo>
                          <a:pt x="1781" y="2949"/>
                        </a:lnTo>
                        <a:lnTo>
                          <a:pt x="1773" y="2966"/>
                        </a:lnTo>
                        <a:lnTo>
                          <a:pt x="1767" y="2999"/>
                        </a:lnTo>
                        <a:lnTo>
                          <a:pt x="1756" y="3016"/>
                        </a:lnTo>
                        <a:lnTo>
                          <a:pt x="1754" y="3024"/>
                        </a:lnTo>
                        <a:lnTo>
                          <a:pt x="1754" y="3037"/>
                        </a:lnTo>
                        <a:lnTo>
                          <a:pt x="1746" y="3049"/>
                        </a:lnTo>
                        <a:lnTo>
                          <a:pt x="1735" y="3083"/>
                        </a:lnTo>
                        <a:lnTo>
                          <a:pt x="1733" y="3099"/>
                        </a:lnTo>
                        <a:lnTo>
                          <a:pt x="1731" y="3106"/>
                        </a:lnTo>
                        <a:lnTo>
                          <a:pt x="1725" y="3110"/>
                        </a:lnTo>
                        <a:lnTo>
                          <a:pt x="1723" y="3116"/>
                        </a:lnTo>
                        <a:lnTo>
                          <a:pt x="1721" y="3133"/>
                        </a:lnTo>
                        <a:lnTo>
                          <a:pt x="1723" y="3139"/>
                        </a:lnTo>
                        <a:lnTo>
                          <a:pt x="1725" y="3143"/>
                        </a:lnTo>
                        <a:lnTo>
                          <a:pt x="1725" y="3147"/>
                        </a:lnTo>
                        <a:lnTo>
                          <a:pt x="1719" y="3156"/>
                        </a:lnTo>
                        <a:lnTo>
                          <a:pt x="1715" y="3162"/>
                        </a:lnTo>
                        <a:lnTo>
                          <a:pt x="1702" y="3206"/>
                        </a:lnTo>
                        <a:lnTo>
                          <a:pt x="1700" y="3227"/>
                        </a:lnTo>
                        <a:lnTo>
                          <a:pt x="1708" y="3246"/>
                        </a:lnTo>
                        <a:lnTo>
                          <a:pt x="1708" y="3269"/>
                        </a:lnTo>
                        <a:lnTo>
                          <a:pt x="1708" y="3279"/>
                        </a:lnTo>
                        <a:lnTo>
                          <a:pt x="1712" y="3294"/>
                        </a:lnTo>
                        <a:lnTo>
                          <a:pt x="1704" y="3302"/>
                        </a:lnTo>
                        <a:lnTo>
                          <a:pt x="1685" y="3321"/>
                        </a:lnTo>
                        <a:lnTo>
                          <a:pt x="1679" y="3327"/>
                        </a:lnTo>
                        <a:lnTo>
                          <a:pt x="1671" y="3329"/>
                        </a:lnTo>
                        <a:lnTo>
                          <a:pt x="1656" y="3333"/>
                        </a:lnTo>
                        <a:lnTo>
                          <a:pt x="1646" y="3346"/>
                        </a:lnTo>
                        <a:lnTo>
                          <a:pt x="1646" y="3346"/>
                        </a:lnTo>
                        <a:lnTo>
                          <a:pt x="1633" y="3363"/>
                        </a:lnTo>
                        <a:lnTo>
                          <a:pt x="1629" y="3377"/>
                        </a:lnTo>
                        <a:lnTo>
                          <a:pt x="1614" y="3402"/>
                        </a:lnTo>
                        <a:lnTo>
                          <a:pt x="1604" y="3423"/>
                        </a:lnTo>
                        <a:lnTo>
                          <a:pt x="1562" y="3384"/>
                        </a:lnTo>
                        <a:lnTo>
                          <a:pt x="1562" y="3384"/>
                        </a:lnTo>
                        <a:lnTo>
                          <a:pt x="1558" y="3379"/>
                        </a:lnTo>
                        <a:lnTo>
                          <a:pt x="1510" y="3335"/>
                        </a:lnTo>
                        <a:lnTo>
                          <a:pt x="1512" y="3329"/>
                        </a:lnTo>
                        <a:lnTo>
                          <a:pt x="1520" y="3319"/>
                        </a:lnTo>
                        <a:lnTo>
                          <a:pt x="1520" y="3312"/>
                        </a:lnTo>
                        <a:lnTo>
                          <a:pt x="1518" y="3308"/>
                        </a:lnTo>
                        <a:lnTo>
                          <a:pt x="1516" y="3304"/>
                        </a:lnTo>
                        <a:lnTo>
                          <a:pt x="1508" y="3296"/>
                        </a:lnTo>
                        <a:lnTo>
                          <a:pt x="1506" y="3294"/>
                        </a:lnTo>
                        <a:lnTo>
                          <a:pt x="1502" y="3290"/>
                        </a:lnTo>
                        <a:lnTo>
                          <a:pt x="1500" y="3287"/>
                        </a:lnTo>
                        <a:lnTo>
                          <a:pt x="1493" y="3277"/>
                        </a:lnTo>
                        <a:lnTo>
                          <a:pt x="1489" y="3264"/>
                        </a:lnTo>
                        <a:lnTo>
                          <a:pt x="1481" y="3262"/>
                        </a:lnTo>
                        <a:lnTo>
                          <a:pt x="1476" y="3260"/>
                        </a:lnTo>
                        <a:lnTo>
                          <a:pt x="1470" y="3256"/>
                        </a:lnTo>
                        <a:lnTo>
                          <a:pt x="1470" y="3246"/>
                        </a:lnTo>
                        <a:lnTo>
                          <a:pt x="1474" y="3231"/>
                        </a:lnTo>
                        <a:lnTo>
                          <a:pt x="1472" y="3231"/>
                        </a:lnTo>
                        <a:lnTo>
                          <a:pt x="1468" y="3233"/>
                        </a:lnTo>
                        <a:lnTo>
                          <a:pt x="1462" y="3231"/>
                        </a:lnTo>
                        <a:lnTo>
                          <a:pt x="1460" y="3225"/>
                        </a:lnTo>
                        <a:lnTo>
                          <a:pt x="1464" y="3218"/>
                        </a:lnTo>
                        <a:lnTo>
                          <a:pt x="1462" y="3216"/>
                        </a:lnTo>
                        <a:lnTo>
                          <a:pt x="1460" y="3218"/>
                        </a:lnTo>
                        <a:lnTo>
                          <a:pt x="1454" y="3223"/>
                        </a:lnTo>
                        <a:lnTo>
                          <a:pt x="1451" y="3227"/>
                        </a:lnTo>
                        <a:lnTo>
                          <a:pt x="1447" y="3223"/>
                        </a:lnTo>
                        <a:lnTo>
                          <a:pt x="1445" y="3219"/>
                        </a:lnTo>
                        <a:lnTo>
                          <a:pt x="1449" y="3214"/>
                        </a:lnTo>
                        <a:lnTo>
                          <a:pt x="1454" y="3210"/>
                        </a:lnTo>
                        <a:lnTo>
                          <a:pt x="1456" y="3206"/>
                        </a:lnTo>
                        <a:lnTo>
                          <a:pt x="1454" y="3198"/>
                        </a:lnTo>
                        <a:lnTo>
                          <a:pt x="1458" y="3193"/>
                        </a:lnTo>
                        <a:lnTo>
                          <a:pt x="1458" y="3179"/>
                        </a:lnTo>
                        <a:lnTo>
                          <a:pt x="1460" y="3158"/>
                        </a:lnTo>
                        <a:lnTo>
                          <a:pt x="1468" y="3139"/>
                        </a:lnTo>
                        <a:lnTo>
                          <a:pt x="1474" y="3131"/>
                        </a:lnTo>
                        <a:lnTo>
                          <a:pt x="1477" y="3129"/>
                        </a:lnTo>
                        <a:lnTo>
                          <a:pt x="1491" y="3129"/>
                        </a:lnTo>
                        <a:lnTo>
                          <a:pt x="1508" y="3129"/>
                        </a:lnTo>
                        <a:lnTo>
                          <a:pt x="1520" y="3127"/>
                        </a:lnTo>
                        <a:lnTo>
                          <a:pt x="1525" y="3122"/>
                        </a:lnTo>
                        <a:lnTo>
                          <a:pt x="1525" y="3116"/>
                        </a:lnTo>
                        <a:lnTo>
                          <a:pt x="1520" y="3102"/>
                        </a:lnTo>
                        <a:lnTo>
                          <a:pt x="1520" y="3089"/>
                        </a:lnTo>
                        <a:lnTo>
                          <a:pt x="1522" y="3079"/>
                        </a:lnTo>
                        <a:lnTo>
                          <a:pt x="1527" y="3068"/>
                        </a:lnTo>
                        <a:lnTo>
                          <a:pt x="1533" y="3060"/>
                        </a:lnTo>
                        <a:lnTo>
                          <a:pt x="1539" y="3060"/>
                        </a:lnTo>
                        <a:lnTo>
                          <a:pt x="1550" y="3064"/>
                        </a:lnTo>
                        <a:lnTo>
                          <a:pt x="1552" y="3060"/>
                        </a:lnTo>
                        <a:lnTo>
                          <a:pt x="1554" y="3047"/>
                        </a:lnTo>
                        <a:lnTo>
                          <a:pt x="1558" y="3043"/>
                        </a:lnTo>
                        <a:lnTo>
                          <a:pt x="1564" y="3035"/>
                        </a:lnTo>
                        <a:lnTo>
                          <a:pt x="1575" y="3029"/>
                        </a:lnTo>
                        <a:lnTo>
                          <a:pt x="1581" y="3028"/>
                        </a:lnTo>
                        <a:lnTo>
                          <a:pt x="1585" y="3024"/>
                        </a:lnTo>
                        <a:lnTo>
                          <a:pt x="1604" y="2995"/>
                        </a:lnTo>
                        <a:lnTo>
                          <a:pt x="1604" y="2981"/>
                        </a:lnTo>
                        <a:lnTo>
                          <a:pt x="1598" y="2972"/>
                        </a:lnTo>
                        <a:lnTo>
                          <a:pt x="1596" y="2964"/>
                        </a:lnTo>
                        <a:lnTo>
                          <a:pt x="1587" y="2958"/>
                        </a:lnTo>
                        <a:lnTo>
                          <a:pt x="1587" y="2955"/>
                        </a:lnTo>
                        <a:lnTo>
                          <a:pt x="1575" y="2951"/>
                        </a:lnTo>
                        <a:lnTo>
                          <a:pt x="1570" y="2941"/>
                        </a:lnTo>
                        <a:lnTo>
                          <a:pt x="1568" y="2939"/>
                        </a:lnTo>
                        <a:lnTo>
                          <a:pt x="1568" y="2937"/>
                        </a:lnTo>
                        <a:lnTo>
                          <a:pt x="1550" y="2928"/>
                        </a:lnTo>
                        <a:lnTo>
                          <a:pt x="1539" y="2916"/>
                        </a:lnTo>
                        <a:lnTo>
                          <a:pt x="1520" y="2914"/>
                        </a:lnTo>
                        <a:lnTo>
                          <a:pt x="1508" y="2910"/>
                        </a:lnTo>
                        <a:lnTo>
                          <a:pt x="1504" y="2909"/>
                        </a:lnTo>
                        <a:lnTo>
                          <a:pt x="1500" y="2907"/>
                        </a:lnTo>
                        <a:lnTo>
                          <a:pt x="1497" y="2901"/>
                        </a:lnTo>
                        <a:lnTo>
                          <a:pt x="1491" y="2903"/>
                        </a:lnTo>
                        <a:lnTo>
                          <a:pt x="1481" y="2907"/>
                        </a:lnTo>
                        <a:lnTo>
                          <a:pt x="1474" y="2907"/>
                        </a:lnTo>
                        <a:lnTo>
                          <a:pt x="1468" y="2893"/>
                        </a:lnTo>
                        <a:lnTo>
                          <a:pt x="1462" y="2891"/>
                        </a:lnTo>
                        <a:lnTo>
                          <a:pt x="1454" y="2891"/>
                        </a:lnTo>
                        <a:lnTo>
                          <a:pt x="1447" y="2895"/>
                        </a:lnTo>
                        <a:lnTo>
                          <a:pt x="1445" y="2895"/>
                        </a:lnTo>
                        <a:lnTo>
                          <a:pt x="1439" y="2895"/>
                        </a:lnTo>
                        <a:lnTo>
                          <a:pt x="1435" y="2891"/>
                        </a:lnTo>
                        <a:lnTo>
                          <a:pt x="1431" y="2882"/>
                        </a:lnTo>
                        <a:lnTo>
                          <a:pt x="1428" y="2882"/>
                        </a:lnTo>
                        <a:lnTo>
                          <a:pt x="1424" y="2884"/>
                        </a:lnTo>
                        <a:lnTo>
                          <a:pt x="1420" y="2887"/>
                        </a:lnTo>
                        <a:lnTo>
                          <a:pt x="1416" y="2887"/>
                        </a:lnTo>
                        <a:lnTo>
                          <a:pt x="1410" y="2884"/>
                        </a:lnTo>
                        <a:lnTo>
                          <a:pt x="1405" y="2876"/>
                        </a:lnTo>
                        <a:lnTo>
                          <a:pt x="1401" y="2876"/>
                        </a:lnTo>
                        <a:lnTo>
                          <a:pt x="1395" y="2880"/>
                        </a:lnTo>
                        <a:lnTo>
                          <a:pt x="1389" y="2889"/>
                        </a:lnTo>
                        <a:lnTo>
                          <a:pt x="1372" y="2893"/>
                        </a:lnTo>
                        <a:lnTo>
                          <a:pt x="1362" y="2897"/>
                        </a:lnTo>
                        <a:lnTo>
                          <a:pt x="1360" y="2897"/>
                        </a:lnTo>
                        <a:lnTo>
                          <a:pt x="1347" y="2889"/>
                        </a:lnTo>
                        <a:lnTo>
                          <a:pt x="1337" y="2887"/>
                        </a:lnTo>
                        <a:lnTo>
                          <a:pt x="1332" y="2882"/>
                        </a:lnTo>
                        <a:lnTo>
                          <a:pt x="1334" y="2857"/>
                        </a:lnTo>
                        <a:lnTo>
                          <a:pt x="1334" y="2847"/>
                        </a:lnTo>
                        <a:lnTo>
                          <a:pt x="1330" y="2839"/>
                        </a:lnTo>
                        <a:lnTo>
                          <a:pt x="1324" y="2832"/>
                        </a:lnTo>
                        <a:lnTo>
                          <a:pt x="1322" y="2830"/>
                        </a:lnTo>
                        <a:lnTo>
                          <a:pt x="1259" y="2759"/>
                        </a:lnTo>
                        <a:lnTo>
                          <a:pt x="1245" y="2759"/>
                        </a:lnTo>
                        <a:lnTo>
                          <a:pt x="1238" y="2768"/>
                        </a:lnTo>
                        <a:lnTo>
                          <a:pt x="1224" y="2770"/>
                        </a:lnTo>
                        <a:lnTo>
                          <a:pt x="1216" y="2767"/>
                        </a:lnTo>
                        <a:lnTo>
                          <a:pt x="1197" y="2765"/>
                        </a:lnTo>
                        <a:lnTo>
                          <a:pt x="1188" y="2761"/>
                        </a:lnTo>
                        <a:lnTo>
                          <a:pt x="1180" y="2753"/>
                        </a:lnTo>
                        <a:lnTo>
                          <a:pt x="1174" y="2751"/>
                        </a:lnTo>
                        <a:lnTo>
                          <a:pt x="1168" y="2755"/>
                        </a:lnTo>
                        <a:lnTo>
                          <a:pt x="1163" y="2755"/>
                        </a:lnTo>
                        <a:lnTo>
                          <a:pt x="1136" y="2738"/>
                        </a:lnTo>
                        <a:lnTo>
                          <a:pt x="1128" y="2734"/>
                        </a:lnTo>
                        <a:lnTo>
                          <a:pt x="1122" y="2730"/>
                        </a:lnTo>
                        <a:lnTo>
                          <a:pt x="1121" y="2730"/>
                        </a:lnTo>
                        <a:lnTo>
                          <a:pt x="1117" y="2724"/>
                        </a:lnTo>
                        <a:lnTo>
                          <a:pt x="1096" y="2715"/>
                        </a:lnTo>
                        <a:lnTo>
                          <a:pt x="1074" y="2701"/>
                        </a:lnTo>
                        <a:lnTo>
                          <a:pt x="1073" y="2690"/>
                        </a:lnTo>
                        <a:lnTo>
                          <a:pt x="1067" y="2684"/>
                        </a:lnTo>
                        <a:lnTo>
                          <a:pt x="1046" y="2669"/>
                        </a:lnTo>
                        <a:lnTo>
                          <a:pt x="1042" y="2669"/>
                        </a:lnTo>
                        <a:lnTo>
                          <a:pt x="1036" y="2665"/>
                        </a:lnTo>
                        <a:lnTo>
                          <a:pt x="1015" y="2661"/>
                        </a:lnTo>
                        <a:lnTo>
                          <a:pt x="1011" y="2659"/>
                        </a:lnTo>
                        <a:lnTo>
                          <a:pt x="1002" y="2653"/>
                        </a:lnTo>
                        <a:lnTo>
                          <a:pt x="992" y="2653"/>
                        </a:lnTo>
                        <a:lnTo>
                          <a:pt x="982" y="2655"/>
                        </a:lnTo>
                        <a:lnTo>
                          <a:pt x="977" y="2661"/>
                        </a:lnTo>
                        <a:lnTo>
                          <a:pt x="971" y="2661"/>
                        </a:lnTo>
                        <a:lnTo>
                          <a:pt x="965" y="2663"/>
                        </a:lnTo>
                        <a:lnTo>
                          <a:pt x="959" y="2665"/>
                        </a:lnTo>
                        <a:lnTo>
                          <a:pt x="955" y="2669"/>
                        </a:lnTo>
                        <a:lnTo>
                          <a:pt x="952" y="2671"/>
                        </a:lnTo>
                        <a:lnTo>
                          <a:pt x="946" y="2680"/>
                        </a:lnTo>
                        <a:lnTo>
                          <a:pt x="940" y="2682"/>
                        </a:lnTo>
                        <a:lnTo>
                          <a:pt x="934" y="2682"/>
                        </a:lnTo>
                        <a:lnTo>
                          <a:pt x="929" y="2673"/>
                        </a:lnTo>
                        <a:lnTo>
                          <a:pt x="911" y="2667"/>
                        </a:lnTo>
                        <a:lnTo>
                          <a:pt x="896" y="2655"/>
                        </a:lnTo>
                        <a:lnTo>
                          <a:pt x="881" y="2651"/>
                        </a:lnTo>
                        <a:lnTo>
                          <a:pt x="877" y="2648"/>
                        </a:lnTo>
                        <a:lnTo>
                          <a:pt x="873" y="2632"/>
                        </a:lnTo>
                        <a:lnTo>
                          <a:pt x="875" y="2619"/>
                        </a:lnTo>
                        <a:lnTo>
                          <a:pt x="888" y="2584"/>
                        </a:lnTo>
                        <a:lnTo>
                          <a:pt x="883" y="2586"/>
                        </a:lnTo>
                        <a:lnTo>
                          <a:pt x="875" y="2584"/>
                        </a:lnTo>
                        <a:lnTo>
                          <a:pt x="858" y="2577"/>
                        </a:lnTo>
                        <a:lnTo>
                          <a:pt x="835" y="2575"/>
                        </a:lnTo>
                        <a:lnTo>
                          <a:pt x="810" y="2567"/>
                        </a:lnTo>
                        <a:lnTo>
                          <a:pt x="800" y="2569"/>
                        </a:lnTo>
                        <a:lnTo>
                          <a:pt x="794" y="2569"/>
                        </a:lnTo>
                        <a:lnTo>
                          <a:pt x="785" y="2569"/>
                        </a:lnTo>
                        <a:lnTo>
                          <a:pt x="775" y="2573"/>
                        </a:lnTo>
                        <a:lnTo>
                          <a:pt x="762" y="2579"/>
                        </a:lnTo>
                        <a:lnTo>
                          <a:pt x="741" y="2588"/>
                        </a:lnTo>
                        <a:lnTo>
                          <a:pt x="729" y="2598"/>
                        </a:lnTo>
                        <a:lnTo>
                          <a:pt x="719" y="2600"/>
                        </a:lnTo>
                        <a:lnTo>
                          <a:pt x="710" y="2609"/>
                        </a:lnTo>
                        <a:lnTo>
                          <a:pt x="702" y="2611"/>
                        </a:lnTo>
                        <a:lnTo>
                          <a:pt x="695" y="2621"/>
                        </a:lnTo>
                        <a:lnTo>
                          <a:pt x="687" y="2628"/>
                        </a:lnTo>
                        <a:lnTo>
                          <a:pt x="658" y="2644"/>
                        </a:lnTo>
                        <a:lnTo>
                          <a:pt x="647" y="2657"/>
                        </a:lnTo>
                        <a:lnTo>
                          <a:pt x="627" y="2659"/>
                        </a:lnTo>
                        <a:lnTo>
                          <a:pt x="610" y="2667"/>
                        </a:lnTo>
                        <a:lnTo>
                          <a:pt x="602" y="2673"/>
                        </a:lnTo>
                        <a:lnTo>
                          <a:pt x="591" y="2688"/>
                        </a:lnTo>
                        <a:lnTo>
                          <a:pt x="585" y="2692"/>
                        </a:lnTo>
                        <a:lnTo>
                          <a:pt x="572" y="2699"/>
                        </a:lnTo>
                        <a:lnTo>
                          <a:pt x="549" y="2701"/>
                        </a:lnTo>
                        <a:lnTo>
                          <a:pt x="531" y="2719"/>
                        </a:lnTo>
                        <a:lnTo>
                          <a:pt x="520" y="2726"/>
                        </a:lnTo>
                        <a:lnTo>
                          <a:pt x="501" y="2730"/>
                        </a:lnTo>
                        <a:lnTo>
                          <a:pt x="491" y="2734"/>
                        </a:lnTo>
                        <a:lnTo>
                          <a:pt x="478" y="2732"/>
                        </a:lnTo>
                        <a:lnTo>
                          <a:pt x="468" y="2742"/>
                        </a:lnTo>
                        <a:lnTo>
                          <a:pt x="464" y="2744"/>
                        </a:lnTo>
                        <a:lnTo>
                          <a:pt x="457" y="2740"/>
                        </a:lnTo>
                        <a:lnTo>
                          <a:pt x="464" y="2728"/>
                        </a:lnTo>
                        <a:lnTo>
                          <a:pt x="468" y="2721"/>
                        </a:lnTo>
                        <a:lnTo>
                          <a:pt x="476" y="2713"/>
                        </a:lnTo>
                        <a:lnTo>
                          <a:pt x="476" y="2701"/>
                        </a:lnTo>
                        <a:lnTo>
                          <a:pt x="476" y="2688"/>
                        </a:lnTo>
                        <a:lnTo>
                          <a:pt x="470" y="2678"/>
                        </a:lnTo>
                        <a:lnTo>
                          <a:pt x="472" y="2671"/>
                        </a:lnTo>
                        <a:lnTo>
                          <a:pt x="470" y="2653"/>
                        </a:lnTo>
                        <a:lnTo>
                          <a:pt x="470" y="2644"/>
                        </a:lnTo>
                        <a:lnTo>
                          <a:pt x="476" y="2615"/>
                        </a:lnTo>
                        <a:lnTo>
                          <a:pt x="470" y="2598"/>
                        </a:lnTo>
                        <a:lnTo>
                          <a:pt x="474" y="2594"/>
                        </a:lnTo>
                        <a:lnTo>
                          <a:pt x="485" y="2588"/>
                        </a:lnTo>
                        <a:lnTo>
                          <a:pt x="487" y="2579"/>
                        </a:lnTo>
                        <a:lnTo>
                          <a:pt x="478" y="2561"/>
                        </a:lnTo>
                        <a:lnTo>
                          <a:pt x="464" y="2554"/>
                        </a:lnTo>
                        <a:lnTo>
                          <a:pt x="455" y="2542"/>
                        </a:lnTo>
                        <a:lnTo>
                          <a:pt x="443" y="2538"/>
                        </a:lnTo>
                        <a:lnTo>
                          <a:pt x="437" y="2531"/>
                        </a:lnTo>
                        <a:lnTo>
                          <a:pt x="434" y="2515"/>
                        </a:lnTo>
                        <a:lnTo>
                          <a:pt x="432" y="2502"/>
                        </a:lnTo>
                        <a:lnTo>
                          <a:pt x="430" y="2488"/>
                        </a:lnTo>
                        <a:lnTo>
                          <a:pt x="430" y="2471"/>
                        </a:lnTo>
                        <a:lnTo>
                          <a:pt x="435" y="2446"/>
                        </a:lnTo>
                        <a:lnTo>
                          <a:pt x="443" y="2431"/>
                        </a:lnTo>
                        <a:lnTo>
                          <a:pt x="445" y="2425"/>
                        </a:lnTo>
                        <a:lnTo>
                          <a:pt x="443" y="2421"/>
                        </a:lnTo>
                        <a:lnTo>
                          <a:pt x="437" y="2419"/>
                        </a:lnTo>
                        <a:lnTo>
                          <a:pt x="435" y="2413"/>
                        </a:lnTo>
                        <a:lnTo>
                          <a:pt x="437" y="2402"/>
                        </a:lnTo>
                        <a:lnTo>
                          <a:pt x="441" y="2396"/>
                        </a:lnTo>
                        <a:lnTo>
                          <a:pt x="449" y="2389"/>
                        </a:lnTo>
                        <a:lnTo>
                          <a:pt x="466" y="2379"/>
                        </a:lnTo>
                        <a:lnTo>
                          <a:pt x="472" y="2371"/>
                        </a:lnTo>
                        <a:lnTo>
                          <a:pt x="472" y="2367"/>
                        </a:lnTo>
                        <a:lnTo>
                          <a:pt x="468" y="2367"/>
                        </a:lnTo>
                        <a:lnTo>
                          <a:pt x="458" y="2369"/>
                        </a:lnTo>
                        <a:lnTo>
                          <a:pt x="453" y="2375"/>
                        </a:lnTo>
                        <a:lnTo>
                          <a:pt x="445" y="2377"/>
                        </a:lnTo>
                        <a:lnTo>
                          <a:pt x="445" y="2379"/>
                        </a:lnTo>
                        <a:lnTo>
                          <a:pt x="439" y="2379"/>
                        </a:lnTo>
                        <a:lnTo>
                          <a:pt x="432" y="2381"/>
                        </a:lnTo>
                        <a:lnTo>
                          <a:pt x="430" y="2379"/>
                        </a:lnTo>
                        <a:lnTo>
                          <a:pt x="428" y="2377"/>
                        </a:lnTo>
                        <a:lnTo>
                          <a:pt x="424" y="2367"/>
                        </a:lnTo>
                        <a:lnTo>
                          <a:pt x="422" y="2346"/>
                        </a:lnTo>
                        <a:lnTo>
                          <a:pt x="426" y="2339"/>
                        </a:lnTo>
                        <a:lnTo>
                          <a:pt x="426" y="2333"/>
                        </a:lnTo>
                        <a:lnTo>
                          <a:pt x="428" y="2325"/>
                        </a:lnTo>
                        <a:lnTo>
                          <a:pt x="435" y="2319"/>
                        </a:lnTo>
                        <a:lnTo>
                          <a:pt x="441" y="2316"/>
                        </a:lnTo>
                        <a:lnTo>
                          <a:pt x="451" y="2312"/>
                        </a:lnTo>
                        <a:lnTo>
                          <a:pt x="462" y="2304"/>
                        </a:lnTo>
                        <a:lnTo>
                          <a:pt x="462" y="2302"/>
                        </a:lnTo>
                        <a:lnTo>
                          <a:pt x="462" y="2298"/>
                        </a:lnTo>
                        <a:lnTo>
                          <a:pt x="460" y="2296"/>
                        </a:lnTo>
                        <a:lnTo>
                          <a:pt x="457" y="2296"/>
                        </a:lnTo>
                        <a:lnTo>
                          <a:pt x="443" y="2304"/>
                        </a:lnTo>
                        <a:lnTo>
                          <a:pt x="434" y="2302"/>
                        </a:lnTo>
                        <a:lnTo>
                          <a:pt x="430" y="2296"/>
                        </a:lnTo>
                        <a:lnTo>
                          <a:pt x="430" y="2285"/>
                        </a:lnTo>
                        <a:lnTo>
                          <a:pt x="430" y="2250"/>
                        </a:lnTo>
                        <a:lnTo>
                          <a:pt x="432" y="2237"/>
                        </a:lnTo>
                        <a:lnTo>
                          <a:pt x="443" y="2212"/>
                        </a:lnTo>
                        <a:lnTo>
                          <a:pt x="441" y="2204"/>
                        </a:lnTo>
                        <a:lnTo>
                          <a:pt x="426" y="2191"/>
                        </a:lnTo>
                        <a:lnTo>
                          <a:pt x="422" y="2183"/>
                        </a:lnTo>
                        <a:lnTo>
                          <a:pt x="420" y="2176"/>
                        </a:lnTo>
                        <a:lnTo>
                          <a:pt x="416" y="2145"/>
                        </a:lnTo>
                        <a:lnTo>
                          <a:pt x="414" y="2139"/>
                        </a:lnTo>
                        <a:lnTo>
                          <a:pt x="412" y="2135"/>
                        </a:lnTo>
                        <a:lnTo>
                          <a:pt x="416" y="2126"/>
                        </a:lnTo>
                        <a:lnTo>
                          <a:pt x="422" y="2116"/>
                        </a:lnTo>
                        <a:lnTo>
                          <a:pt x="434" y="2112"/>
                        </a:lnTo>
                        <a:lnTo>
                          <a:pt x="451" y="2110"/>
                        </a:lnTo>
                        <a:lnTo>
                          <a:pt x="457" y="2106"/>
                        </a:lnTo>
                        <a:lnTo>
                          <a:pt x="458" y="2105"/>
                        </a:lnTo>
                        <a:lnTo>
                          <a:pt x="453" y="2099"/>
                        </a:lnTo>
                        <a:lnTo>
                          <a:pt x="428" y="2099"/>
                        </a:lnTo>
                        <a:lnTo>
                          <a:pt x="422" y="2095"/>
                        </a:lnTo>
                        <a:lnTo>
                          <a:pt x="422" y="2083"/>
                        </a:lnTo>
                        <a:lnTo>
                          <a:pt x="426" y="2074"/>
                        </a:lnTo>
                        <a:lnTo>
                          <a:pt x="437" y="2058"/>
                        </a:lnTo>
                        <a:lnTo>
                          <a:pt x="435" y="2058"/>
                        </a:lnTo>
                        <a:lnTo>
                          <a:pt x="435" y="2051"/>
                        </a:lnTo>
                        <a:lnTo>
                          <a:pt x="435" y="2047"/>
                        </a:lnTo>
                        <a:lnTo>
                          <a:pt x="441" y="2047"/>
                        </a:lnTo>
                        <a:lnTo>
                          <a:pt x="445" y="2051"/>
                        </a:lnTo>
                        <a:lnTo>
                          <a:pt x="451" y="2055"/>
                        </a:lnTo>
                        <a:lnTo>
                          <a:pt x="457" y="2053"/>
                        </a:lnTo>
                        <a:lnTo>
                          <a:pt x="462" y="2051"/>
                        </a:lnTo>
                        <a:lnTo>
                          <a:pt x="466" y="2047"/>
                        </a:lnTo>
                        <a:lnTo>
                          <a:pt x="466" y="2043"/>
                        </a:lnTo>
                        <a:lnTo>
                          <a:pt x="462" y="2039"/>
                        </a:lnTo>
                        <a:lnTo>
                          <a:pt x="451" y="2035"/>
                        </a:lnTo>
                        <a:lnTo>
                          <a:pt x="432" y="2028"/>
                        </a:lnTo>
                        <a:lnTo>
                          <a:pt x="414" y="2026"/>
                        </a:lnTo>
                        <a:lnTo>
                          <a:pt x="405" y="2022"/>
                        </a:lnTo>
                        <a:lnTo>
                          <a:pt x="401" y="2016"/>
                        </a:lnTo>
                        <a:lnTo>
                          <a:pt x="397" y="2005"/>
                        </a:lnTo>
                        <a:lnTo>
                          <a:pt x="389" y="2001"/>
                        </a:lnTo>
                        <a:lnTo>
                          <a:pt x="380" y="1993"/>
                        </a:lnTo>
                        <a:lnTo>
                          <a:pt x="378" y="1986"/>
                        </a:lnTo>
                        <a:lnTo>
                          <a:pt x="378" y="1978"/>
                        </a:lnTo>
                        <a:lnTo>
                          <a:pt x="378" y="1974"/>
                        </a:lnTo>
                        <a:lnTo>
                          <a:pt x="382" y="1964"/>
                        </a:lnTo>
                        <a:lnTo>
                          <a:pt x="393" y="1957"/>
                        </a:lnTo>
                        <a:lnTo>
                          <a:pt x="399" y="1949"/>
                        </a:lnTo>
                        <a:lnTo>
                          <a:pt x="393" y="1940"/>
                        </a:lnTo>
                        <a:lnTo>
                          <a:pt x="393" y="1936"/>
                        </a:lnTo>
                        <a:lnTo>
                          <a:pt x="397" y="1930"/>
                        </a:lnTo>
                        <a:lnTo>
                          <a:pt x="412" y="1924"/>
                        </a:lnTo>
                        <a:lnTo>
                          <a:pt x="420" y="1916"/>
                        </a:lnTo>
                        <a:lnTo>
                          <a:pt x="432" y="1913"/>
                        </a:lnTo>
                        <a:lnTo>
                          <a:pt x="437" y="1907"/>
                        </a:lnTo>
                        <a:lnTo>
                          <a:pt x="439" y="1892"/>
                        </a:lnTo>
                        <a:lnTo>
                          <a:pt x="441" y="1890"/>
                        </a:lnTo>
                        <a:lnTo>
                          <a:pt x="441" y="1888"/>
                        </a:lnTo>
                        <a:lnTo>
                          <a:pt x="457" y="1869"/>
                        </a:lnTo>
                        <a:lnTo>
                          <a:pt x="458" y="1867"/>
                        </a:lnTo>
                        <a:lnTo>
                          <a:pt x="464" y="1861"/>
                        </a:lnTo>
                        <a:lnTo>
                          <a:pt x="470" y="1857"/>
                        </a:lnTo>
                        <a:lnTo>
                          <a:pt x="470" y="1855"/>
                        </a:lnTo>
                        <a:lnTo>
                          <a:pt x="472" y="1855"/>
                        </a:lnTo>
                        <a:lnTo>
                          <a:pt x="491" y="1845"/>
                        </a:lnTo>
                        <a:lnTo>
                          <a:pt x="499" y="1844"/>
                        </a:lnTo>
                        <a:lnTo>
                          <a:pt x="510" y="1832"/>
                        </a:lnTo>
                        <a:lnTo>
                          <a:pt x="518" y="1828"/>
                        </a:lnTo>
                        <a:lnTo>
                          <a:pt x="526" y="1826"/>
                        </a:lnTo>
                        <a:lnTo>
                          <a:pt x="528" y="1822"/>
                        </a:lnTo>
                        <a:lnTo>
                          <a:pt x="531" y="1807"/>
                        </a:lnTo>
                        <a:lnTo>
                          <a:pt x="533" y="1805"/>
                        </a:lnTo>
                        <a:lnTo>
                          <a:pt x="549" y="1799"/>
                        </a:lnTo>
                        <a:lnTo>
                          <a:pt x="554" y="1792"/>
                        </a:lnTo>
                        <a:lnTo>
                          <a:pt x="556" y="1778"/>
                        </a:lnTo>
                        <a:lnTo>
                          <a:pt x="554" y="1771"/>
                        </a:lnTo>
                        <a:lnTo>
                          <a:pt x="554" y="1771"/>
                        </a:lnTo>
                        <a:lnTo>
                          <a:pt x="558" y="1767"/>
                        </a:lnTo>
                        <a:lnTo>
                          <a:pt x="549" y="1778"/>
                        </a:lnTo>
                        <a:lnTo>
                          <a:pt x="545" y="1782"/>
                        </a:lnTo>
                        <a:lnTo>
                          <a:pt x="533" y="1782"/>
                        </a:lnTo>
                        <a:lnTo>
                          <a:pt x="529" y="1782"/>
                        </a:lnTo>
                        <a:lnTo>
                          <a:pt x="526" y="1780"/>
                        </a:lnTo>
                        <a:lnTo>
                          <a:pt x="516" y="1780"/>
                        </a:lnTo>
                        <a:lnTo>
                          <a:pt x="514" y="1782"/>
                        </a:lnTo>
                        <a:lnTo>
                          <a:pt x="510" y="1784"/>
                        </a:lnTo>
                        <a:lnTo>
                          <a:pt x="505" y="1784"/>
                        </a:lnTo>
                        <a:lnTo>
                          <a:pt x="497" y="1784"/>
                        </a:lnTo>
                        <a:lnTo>
                          <a:pt x="493" y="1780"/>
                        </a:lnTo>
                        <a:lnTo>
                          <a:pt x="493" y="1780"/>
                        </a:lnTo>
                        <a:lnTo>
                          <a:pt x="489" y="1776"/>
                        </a:lnTo>
                        <a:lnTo>
                          <a:pt x="485" y="1776"/>
                        </a:lnTo>
                        <a:lnTo>
                          <a:pt x="455" y="1765"/>
                        </a:lnTo>
                        <a:lnTo>
                          <a:pt x="441" y="1769"/>
                        </a:lnTo>
                        <a:lnTo>
                          <a:pt x="435" y="1769"/>
                        </a:lnTo>
                        <a:lnTo>
                          <a:pt x="432" y="1765"/>
                        </a:lnTo>
                        <a:lnTo>
                          <a:pt x="430" y="1757"/>
                        </a:lnTo>
                        <a:lnTo>
                          <a:pt x="424" y="1751"/>
                        </a:lnTo>
                        <a:lnTo>
                          <a:pt x="422" y="1750"/>
                        </a:lnTo>
                        <a:lnTo>
                          <a:pt x="422" y="1744"/>
                        </a:lnTo>
                        <a:lnTo>
                          <a:pt x="414" y="1736"/>
                        </a:lnTo>
                        <a:lnTo>
                          <a:pt x="411" y="1727"/>
                        </a:lnTo>
                        <a:lnTo>
                          <a:pt x="411" y="1721"/>
                        </a:lnTo>
                        <a:lnTo>
                          <a:pt x="414" y="1717"/>
                        </a:lnTo>
                        <a:lnTo>
                          <a:pt x="426" y="1707"/>
                        </a:lnTo>
                        <a:lnTo>
                          <a:pt x="430" y="1702"/>
                        </a:lnTo>
                        <a:lnTo>
                          <a:pt x="430" y="1700"/>
                        </a:lnTo>
                        <a:lnTo>
                          <a:pt x="428" y="1690"/>
                        </a:lnTo>
                        <a:lnTo>
                          <a:pt x="422" y="1696"/>
                        </a:lnTo>
                        <a:lnTo>
                          <a:pt x="407" y="1696"/>
                        </a:lnTo>
                        <a:lnTo>
                          <a:pt x="403" y="1694"/>
                        </a:lnTo>
                        <a:lnTo>
                          <a:pt x="401" y="1692"/>
                        </a:lnTo>
                        <a:lnTo>
                          <a:pt x="397" y="1682"/>
                        </a:lnTo>
                        <a:lnTo>
                          <a:pt x="380" y="1682"/>
                        </a:lnTo>
                        <a:lnTo>
                          <a:pt x="376" y="1677"/>
                        </a:lnTo>
                        <a:lnTo>
                          <a:pt x="378" y="1669"/>
                        </a:lnTo>
                        <a:lnTo>
                          <a:pt x="393" y="1652"/>
                        </a:lnTo>
                        <a:lnTo>
                          <a:pt x="397" y="1642"/>
                        </a:lnTo>
                        <a:lnTo>
                          <a:pt x="395" y="1634"/>
                        </a:lnTo>
                        <a:lnTo>
                          <a:pt x="389" y="1625"/>
                        </a:lnTo>
                        <a:lnTo>
                          <a:pt x="374" y="1615"/>
                        </a:lnTo>
                        <a:lnTo>
                          <a:pt x="364" y="1621"/>
                        </a:lnTo>
                        <a:lnTo>
                          <a:pt x="361" y="1619"/>
                        </a:lnTo>
                        <a:lnTo>
                          <a:pt x="359" y="1615"/>
                        </a:lnTo>
                        <a:lnTo>
                          <a:pt x="355" y="1606"/>
                        </a:lnTo>
                        <a:lnTo>
                          <a:pt x="349" y="1604"/>
                        </a:lnTo>
                        <a:lnTo>
                          <a:pt x="345" y="1598"/>
                        </a:lnTo>
                        <a:lnTo>
                          <a:pt x="347" y="1579"/>
                        </a:lnTo>
                        <a:lnTo>
                          <a:pt x="345" y="1575"/>
                        </a:lnTo>
                        <a:lnTo>
                          <a:pt x="341" y="1571"/>
                        </a:lnTo>
                        <a:lnTo>
                          <a:pt x="328" y="1554"/>
                        </a:lnTo>
                        <a:lnTo>
                          <a:pt x="316" y="1548"/>
                        </a:lnTo>
                        <a:lnTo>
                          <a:pt x="313" y="1546"/>
                        </a:lnTo>
                        <a:lnTo>
                          <a:pt x="307" y="1535"/>
                        </a:lnTo>
                        <a:lnTo>
                          <a:pt x="316" y="1521"/>
                        </a:lnTo>
                        <a:lnTo>
                          <a:pt x="332" y="1508"/>
                        </a:lnTo>
                        <a:lnTo>
                          <a:pt x="334" y="1502"/>
                        </a:lnTo>
                        <a:lnTo>
                          <a:pt x="332" y="1492"/>
                        </a:lnTo>
                        <a:lnTo>
                          <a:pt x="332" y="1489"/>
                        </a:lnTo>
                        <a:lnTo>
                          <a:pt x="340" y="1483"/>
                        </a:lnTo>
                        <a:lnTo>
                          <a:pt x="340" y="1467"/>
                        </a:lnTo>
                        <a:lnTo>
                          <a:pt x="349" y="1452"/>
                        </a:lnTo>
                        <a:lnTo>
                          <a:pt x="359" y="1420"/>
                        </a:lnTo>
                        <a:lnTo>
                          <a:pt x="366" y="1410"/>
                        </a:lnTo>
                        <a:lnTo>
                          <a:pt x="368" y="1406"/>
                        </a:lnTo>
                        <a:lnTo>
                          <a:pt x="387" y="1404"/>
                        </a:lnTo>
                        <a:lnTo>
                          <a:pt x="397" y="1402"/>
                        </a:lnTo>
                        <a:lnTo>
                          <a:pt x="401" y="1402"/>
                        </a:lnTo>
                        <a:lnTo>
                          <a:pt x="409" y="1393"/>
                        </a:lnTo>
                        <a:lnTo>
                          <a:pt x="411" y="1387"/>
                        </a:lnTo>
                        <a:lnTo>
                          <a:pt x="409" y="1368"/>
                        </a:lnTo>
                        <a:lnTo>
                          <a:pt x="416" y="1356"/>
                        </a:lnTo>
                        <a:lnTo>
                          <a:pt x="416" y="1345"/>
                        </a:lnTo>
                        <a:lnTo>
                          <a:pt x="416" y="1343"/>
                        </a:lnTo>
                        <a:lnTo>
                          <a:pt x="405" y="1337"/>
                        </a:lnTo>
                        <a:lnTo>
                          <a:pt x="399" y="1327"/>
                        </a:lnTo>
                        <a:lnTo>
                          <a:pt x="393" y="1325"/>
                        </a:lnTo>
                        <a:lnTo>
                          <a:pt x="387" y="1325"/>
                        </a:lnTo>
                        <a:lnTo>
                          <a:pt x="382" y="1325"/>
                        </a:lnTo>
                        <a:lnTo>
                          <a:pt x="376" y="1327"/>
                        </a:lnTo>
                        <a:lnTo>
                          <a:pt x="366" y="1329"/>
                        </a:lnTo>
                        <a:lnTo>
                          <a:pt x="355" y="1329"/>
                        </a:lnTo>
                        <a:lnTo>
                          <a:pt x="347" y="1331"/>
                        </a:lnTo>
                        <a:lnTo>
                          <a:pt x="338" y="1339"/>
                        </a:lnTo>
                        <a:lnTo>
                          <a:pt x="328" y="1341"/>
                        </a:lnTo>
                        <a:lnTo>
                          <a:pt x="322" y="1345"/>
                        </a:lnTo>
                        <a:lnTo>
                          <a:pt x="315" y="1354"/>
                        </a:lnTo>
                        <a:lnTo>
                          <a:pt x="309" y="1354"/>
                        </a:lnTo>
                        <a:lnTo>
                          <a:pt x="303" y="1350"/>
                        </a:lnTo>
                        <a:lnTo>
                          <a:pt x="297" y="1341"/>
                        </a:lnTo>
                        <a:lnTo>
                          <a:pt x="292" y="1337"/>
                        </a:lnTo>
                        <a:lnTo>
                          <a:pt x="292" y="1333"/>
                        </a:lnTo>
                        <a:lnTo>
                          <a:pt x="286" y="1318"/>
                        </a:lnTo>
                        <a:lnTo>
                          <a:pt x="272" y="1306"/>
                        </a:lnTo>
                        <a:lnTo>
                          <a:pt x="272" y="1304"/>
                        </a:lnTo>
                        <a:lnTo>
                          <a:pt x="265" y="1291"/>
                        </a:lnTo>
                        <a:lnTo>
                          <a:pt x="253" y="1281"/>
                        </a:lnTo>
                        <a:lnTo>
                          <a:pt x="253" y="1274"/>
                        </a:lnTo>
                        <a:lnTo>
                          <a:pt x="249" y="1272"/>
                        </a:lnTo>
                        <a:lnTo>
                          <a:pt x="245" y="1270"/>
                        </a:lnTo>
                        <a:lnTo>
                          <a:pt x="240" y="1264"/>
                        </a:lnTo>
                        <a:lnTo>
                          <a:pt x="240" y="1258"/>
                        </a:lnTo>
                        <a:lnTo>
                          <a:pt x="242" y="1253"/>
                        </a:lnTo>
                        <a:lnTo>
                          <a:pt x="236" y="1245"/>
                        </a:lnTo>
                        <a:lnTo>
                          <a:pt x="228" y="1243"/>
                        </a:lnTo>
                        <a:lnTo>
                          <a:pt x="224" y="1228"/>
                        </a:lnTo>
                        <a:lnTo>
                          <a:pt x="217" y="1230"/>
                        </a:lnTo>
                        <a:lnTo>
                          <a:pt x="211" y="1230"/>
                        </a:lnTo>
                        <a:lnTo>
                          <a:pt x="209" y="1228"/>
                        </a:lnTo>
                        <a:lnTo>
                          <a:pt x="209" y="1224"/>
                        </a:lnTo>
                        <a:lnTo>
                          <a:pt x="221" y="1218"/>
                        </a:lnTo>
                        <a:lnTo>
                          <a:pt x="224" y="1212"/>
                        </a:lnTo>
                        <a:lnTo>
                          <a:pt x="226" y="1205"/>
                        </a:lnTo>
                        <a:lnTo>
                          <a:pt x="224" y="1199"/>
                        </a:lnTo>
                        <a:lnTo>
                          <a:pt x="219" y="1195"/>
                        </a:lnTo>
                        <a:lnTo>
                          <a:pt x="209" y="1193"/>
                        </a:lnTo>
                        <a:lnTo>
                          <a:pt x="196" y="1197"/>
                        </a:lnTo>
                        <a:lnTo>
                          <a:pt x="184" y="1187"/>
                        </a:lnTo>
                        <a:lnTo>
                          <a:pt x="178" y="1183"/>
                        </a:lnTo>
                        <a:lnTo>
                          <a:pt x="176" y="1176"/>
                        </a:lnTo>
                        <a:lnTo>
                          <a:pt x="178" y="1172"/>
                        </a:lnTo>
                        <a:lnTo>
                          <a:pt x="182" y="1170"/>
                        </a:lnTo>
                        <a:lnTo>
                          <a:pt x="196" y="1166"/>
                        </a:lnTo>
                        <a:lnTo>
                          <a:pt x="217" y="1136"/>
                        </a:lnTo>
                        <a:lnTo>
                          <a:pt x="221" y="1122"/>
                        </a:lnTo>
                        <a:lnTo>
                          <a:pt x="222" y="1103"/>
                        </a:lnTo>
                        <a:lnTo>
                          <a:pt x="228" y="1089"/>
                        </a:lnTo>
                        <a:lnTo>
                          <a:pt x="226" y="1074"/>
                        </a:lnTo>
                        <a:lnTo>
                          <a:pt x="240" y="1043"/>
                        </a:lnTo>
                        <a:lnTo>
                          <a:pt x="240" y="1026"/>
                        </a:lnTo>
                        <a:lnTo>
                          <a:pt x="247" y="1001"/>
                        </a:lnTo>
                        <a:lnTo>
                          <a:pt x="245" y="988"/>
                        </a:lnTo>
                        <a:lnTo>
                          <a:pt x="240" y="976"/>
                        </a:lnTo>
                        <a:lnTo>
                          <a:pt x="238" y="951"/>
                        </a:lnTo>
                        <a:lnTo>
                          <a:pt x="240" y="924"/>
                        </a:lnTo>
                        <a:lnTo>
                          <a:pt x="230" y="898"/>
                        </a:lnTo>
                        <a:lnTo>
                          <a:pt x="232" y="882"/>
                        </a:lnTo>
                        <a:lnTo>
                          <a:pt x="228" y="861"/>
                        </a:lnTo>
                        <a:lnTo>
                          <a:pt x="219" y="852"/>
                        </a:lnTo>
                        <a:lnTo>
                          <a:pt x="203" y="842"/>
                        </a:lnTo>
                        <a:lnTo>
                          <a:pt x="194" y="838"/>
                        </a:lnTo>
                        <a:lnTo>
                          <a:pt x="188" y="832"/>
                        </a:lnTo>
                        <a:lnTo>
                          <a:pt x="163" y="828"/>
                        </a:lnTo>
                        <a:lnTo>
                          <a:pt x="161" y="827"/>
                        </a:lnTo>
                        <a:lnTo>
                          <a:pt x="153" y="809"/>
                        </a:lnTo>
                        <a:lnTo>
                          <a:pt x="144" y="804"/>
                        </a:lnTo>
                        <a:lnTo>
                          <a:pt x="128" y="802"/>
                        </a:lnTo>
                        <a:lnTo>
                          <a:pt x="119" y="805"/>
                        </a:lnTo>
                        <a:lnTo>
                          <a:pt x="113" y="807"/>
                        </a:lnTo>
                        <a:lnTo>
                          <a:pt x="92" y="804"/>
                        </a:lnTo>
                        <a:lnTo>
                          <a:pt x="77" y="796"/>
                        </a:lnTo>
                        <a:lnTo>
                          <a:pt x="69" y="790"/>
                        </a:lnTo>
                        <a:lnTo>
                          <a:pt x="65" y="788"/>
                        </a:lnTo>
                        <a:lnTo>
                          <a:pt x="52" y="790"/>
                        </a:lnTo>
                        <a:lnTo>
                          <a:pt x="42" y="790"/>
                        </a:lnTo>
                        <a:lnTo>
                          <a:pt x="34" y="796"/>
                        </a:lnTo>
                        <a:lnTo>
                          <a:pt x="27" y="804"/>
                        </a:lnTo>
                        <a:lnTo>
                          <a:pt x="19" y="815"/>
                        </a:lnTo>
                        <a:lnTo>
                          <a:pt x="15" y="817"/>
                        </a:lnTo>
                        <a:lnTo>
                          <a:pt x="0" y="813"/>
                        </a:lnTo>
                        <a:lnTo>
                          <a:pt x="6" y="811"/>
                        </a:lnTo>
                        <a:lnTo>
                          <a:pt x="6" y="811"/>
                        </a:lnTo>
                        <a:lnTo>
                          <a:pt x="6" y="809"/>
                        </a:lnTo>
                        <a:lnTo>
                          <a:pt x="38" y="786"/>
                        </a:lnTo>
                        <a:lnTo>
                          <a:pt x="178" y="683"/>
                        </a:lnTo>
                        <a:lnTo>
                          <a:pt x="186" y="677"/>
                        </a:lnTo>
                        <a:lnTo>
                          <a:pt x="192" y="681"/>
                        </a:lnTo>
                        <a:lnTo>
                          <a:pt x="198" y="681"/>
                        </a:lnTo>
                        <a:lnTo>
                          <a:pt x="203" y="671"/>
                        </a:lnTo>
                        <a:lnTo>
                          <a:pt x="213" y="665"/>
                        </a:lnTo>
                        <a:lnTo>
                          <a:pt x="219" y="652"/>
                        </a:lnTo>
                        <a:lnTo>
                          <a:pt x="226" y="646"/>
                        </a:lnTo>
                        <a:lnTo>
                          <a:pt x="234" y="625"/>
                        </a:lnTo>
                        <a:lnTo>
                          <a:pt x="240" y="621"/>
                        </a:lnTo>
                        <a:lnTo>
                          <a:pt x="245" y="617"/>
                        </a:lnTo>
                        <a:lnTo>
                          <a:pt x="259" y="598"/>
                        </a:lnTo>
                        <a:lnTo>
                          <a:pt x="259" y="585"/>
                        </a:lnTo>
                        <a:lnTo>
                          <a:pt x="261" y="581"/>
                        </a:lnTo>
                        <a:lnTo>
                          <a:pt x="265" y="569"/>
                        </a:lnTo>
                        <a:lnTo>
                          <a:pt x="272" y="566"/>
                        </a:lnTo>
                        <a:lnTo>
                          <a:pt x="278" y="558"/>
                        </a:lnTo>
                        <a:lnTo>
                          <a:pt x="288" y="554"/>
                        </a:lnTo>
                        <a:lnTo>
                          <a:pt x="297" y="537"/>
                        </a:lnTo>
                        <a:lnTo>
                          <a:pt x="309" y="527"/>
                        </a:lnTo>
                        <a:lnTo>
                          <a:pt x="315" y="518"/>
                        </a:lnTo>
                        <a:lnTo>
                          <a:pt x="316" y="510"/>
                        </a:lnTo>
                        <a:lnTo>
                          <a:pt x="318" y="485"/>
                        </a:lnTo>
                        <a:lnTo>
                          <a:pt x="320" y="473"/>
                        </a:lnTo>
                        <a:lnTo>
                          <a:pt x="324" y="470"/>
                        </a:lnTo>
                        <a:lnTo>
                          <a:pt x="328" y="468"/>
                        </a:lnTo>
                        <a:lnTo>
                          <a:pt x="332" y="460"/>
                        </a:lnTo>
                        <a:lnTo>
                          <a:pt x="338" y="456"/>
                        </a:lnTo>
                        <a:lnTo>
                          <a:pt x="336" y="449"/>
                        </a:lnTo>
                        <a:lnTo>
                          <a:pt x="340" y="443"/>
                        </a:lnTo>
                        <a:lnTo>
                          <a:pt x="340" y="439"/>
                        </a:lnTo>
                        <a:lnTo>
                          <a:pt x="343" y="437"/>
                        </a:lnTo>
                        <a:lnTo>
                          <a:pt x="347" y="431"/>
                        </a:lnTo>
                        <a:lnTo>
                          <a:pt x="351" y="429"/>
                        </a:lnTo>
                        <a:lnTo>
                          <a:pt x="355" y="426"/>
                        </a:lnTo>
                        <a:lnTo>
                          <a:pt x="359" y="424"/>
                        </a:lnTo>
                        <a:lnTo>
                          <a:pt x="359" y="420"/>
                        </a:lnTo>
                        <a:lnTo>
                          <a:pt x="363" y="416"/>
                        </a:lnTo>
                        <a:lnTo>
                          <a:pt x="364" y="412"/>
                        </a:lnTo>
                        <a:lnTo>
                          <a:pt x="370" y="408"/>
                        </a:lnTo>
                        <a:lnTo>
                          <a:pt x="370" y="402"/>
                        </a:lnTo>
                        <a:lnTo>
                          <a:pt x="374" y="402"/>
                        </a:lnTo>
                        <a:lnTo>
                          <a:pt x="376" y="399"/>
                        </a:lnTo>
                        <a:lnTo>
                          <a:pt x="380" y="399"/>
                        </a:lnTo>
                        <a:lnTo>
                          <a:pt x="380" y="395"/>
                        </a:lnTo>
                        <a:lnTo>
                          <a:pt x="376" y="393"/>
                        </a:lnTo>
                        <a:lnTo>
                          <a:pt x="376" y="389"/>
                        </a:lnTo>
                        <a:lnTo>
                          <a:pt x="380" y="389"/>
                        </a:lnTo>
                        <a:lnTo>
                          <a:pt x="384" y="387"/>
                        </a:lnTo>
                        <a:lnTo>
                          <a:pt x="387" y="385"/>
                        </a:lnTo>
                        <a:lnTo>
                          <a:pt x="387" y="378"/>
                        </a:lnTo>
                        <a:lnTo>
                          <a:pt x="389" y="376"/>
                        </a:lnTo>
                        <a:lnTo>
                          <a:pt x="391" y="370"/>
                        </a:lnTo>
                        <a:lnTo>
                          <a:pt x="393" y="368"/>
                        </a:lnTo>
                        <a:lnTo>
                          <a:pt x="395" y="362"/>
                        </a:lnTo>
                        <a:lnTo>
                          <a:pt x="399" y="358"/>
                        </a:lnTo>
                        <a:lnTo>
                          <a:pt x="397" y="351"/>
                        </a:lnTo>
                        <a:lnTo>
                          <a:pt x="389" y="349"/>
                        </a:lnTo>
                        <a:lnTo>
                          <a:pt x="389" y="345"/>
                        </a:lnTo>
                        <a:lnTo>
                          <a:pt x="395" y="343"/>
                        </a:lnTo>
                        <a:lnTo>
                          <a:pt x="397" y="339"/>
                        </a:lnTo>
                        <a:lnTo>
                          <a:pt x="403" y="337"/>
                        </a:lnTo>
                        <a:lnTo>
                          <a:pt x="403" y="335"/>
                        </a:lnTo>
                        <a:lnTo>
                          <a:pt x="405" y="333"/>
                        </a:lnTo>
                        <a:lnTo>
                          <a:pt x="403" y="326"/>
                        </a:lnTo>
                        <a:lnTo>
                          <a:pt x="401" y="326"/>
                        </a:lnTo>
                        <a:lnTo>
                          <a:pt x="399" y="330"/>
                        </a:lnTo>
                        <a:lnTo>
                          <a:pt x="395" y="328"/>
                        </a:lnTo>
                        <a:lnTo>
                          <a:pt x="395" y="324"/>
                        </a:lnTo>
                        <a:lnTo>
                          <a:pt x="397" y="320"/>
                        </a:lnTo>
                        <a:lnTo>
                          <a:pt x="397" y="318"/>
                        </a:lnTo>
                        <a:lnTo>
                          <a:pt x="391" y="316"/>
                        </a:lnTo>
                        <a:lnTo>
                          <a:pt x="389" y="312"/>
                        </a:lnTo>
                        <a:lnTo>
                          <a:pt x="393" y="307"/>
                        </a:lnTo>
                        <a:lnTo>
                          <a:pt x="399" y="305"/>
                        </a:lnTo>
                        <a:lnTo>
                          <a:pt x="401" y="299"/>
                        </a:lnTo>
                        <a:lnTo>
                          <a:pt x="405" y="301"/>
                        </a:lnTo>
                        <a:lnTo>
                          <a:pt x="411" y="295"/>
                        </a:lnTo>
                        <a:lnTo>
                          <a:pt x="418" y="295"/>
                        </a:lnTo>
                        <a:lnTo>
                          <a:pt x="420" y="287"/>
                        </a:lnTo>
                        <a:lnTo>
                          <a:pt x="424" y="287"/>
                        </a:lnTo>
                        <a:lnTo>
                          <a:pt x="426" y="285"/>
                        </a:lnTo>
                        <a:lnTo>
                          <a:pt x="426" y="282"/>
                        </a:lnTo>
                        <a:lnTo>
                          <a:pt x="428" y="278"/>
                        </a:lnTo>
                        <a:lnTo>
                          <a:pt x="437" y="276"/>
                        </a:lnTo>
                        <a:lnTo>
                          <a:pt x="441" y="276"/>
                        </a:lnTo>
                        <a:lnTo>
                          <a:pt x="435" y="259"/>
                        </a:lnTo>
                        <a:lnTo>
                          <a:pt x="441" y="243"/>
                        </a:lnTo>
                        <a:lnTo>
                          <a:pt x="437" y="243"/>
                        </a:lnTo>
                        <a:lnTo>
                          <a:pt x="434" y="247"/>
                        </a:lnTo>
                        <a:lnTo>
                          <a:pt x="430" y="245"/>
                        </a:lnTo>
                        <a:lnTo>
                          <a:pt x="437" y="237"/>
                        </a:lnTo>
                        <a:lnTo>
                          <a:pt x="437" y="232"/>
                        </a:lnTo>
                        <a:lnTo>
                          <a:pt x="441" y="228"/>
                        </a:lnTo>
                        <a:lnTo>
                          <a:pt x="439" y="220"/>
                        </a:lnTo>
                        <a:lnTo>
                          <a:pt x="439" y="218"/>
                        </a:lnTo>
                        <a:lnTo>
                          <a:pt x="443" y="218"/>
                        </a:lnTo>
                        <a:lnTo>
                          <a:pt x="447" y="222"/>
                        </a:lnTo>
                        <a:lnTo>
                          <a:pt x="449" y="220"/>
                        </a:lnTo>
                        <a:lnTo>
                          <a:pt x="457" y="214"/>
                        </a:lnTo>
                        <a:lnTo>
                          <a:pt x="458" y="211"/>
                        </a:lnTo>
                        <a:lnTo>
                          <a:pt x="466" y="207"/>
                        </a:lnTo>
                        <a:lnTo>
                          <a:pt x="466" y="201"/>
                        </a:lnTo>
                        <a:lnTo>
                          <a:pt x="470" y="195"/>
                        </a:lnTo>
                        <a:lnTo>
                          <a:pt x="470" y="182"/>
                        </a:lnTo>
                        <a:lnTo>
                          <a:pt x="476" y="172"/>
                        </a:lnTo>
                        <a:lnTo>
                          <a:pt x="478" y="165"/>
                        </a:lnTo>
                        <a:lnTo>
                          <a:pt x="480" y="161"/>
                        </a:lnTo>
                        <a:lnTo>
                          <a:pt x="480" y="157"/>
                        </a:lnTo>
                        <a:lnTo>
                          <a:pt x="482" y="153"/>
                        </a:lnTo>
                        <a:lnTo>
                          <a:pt x="480" y="147"/>
                        </a:lnTo>
                        <a:lnTo>
                          <a:pt x="482" y="142"/>
                        </a:lnTo>
                        <a:lnTo>
                          <a:pt x="482" y="138"/>
                        </a:lnTo>
                        <a:lnTo>
                          <a:pt x="468" y="132"/>
                        </a:lnTo>
                        <a:lnTo>
                          <a:pt x="460" y="132"/>
                        </a:lnTo>
                        <a:lnTo>
                          <a:pt x="460" y="130"/>
                        </a:lnTo>
                        <a:lnTo>
                          <a:pt x="462" y="120"/>
                        </a:lnTo>
                        <a:lnTo>
                          <a:pt x="466" y="120"/>
                        </a:lnTo>
                        <a:lnTo>
                          <a:pt x="470" y="124"/>
                        </a:lnTo>
                        <a:lnTo>
                          <a:pt x="472" y="122"/>
                        </a:lnTo>
                        <a:lnTo>
                          <a:pt x="476" y="118"/>
                        </a:lnTo>
                        <a:lnTo>
                          <a:pt x="482" y="120"/>
                        </a:lnTo>
                        <a:lnTo>
                          <a:pt x="485" y="115"/>
                        </a:lnTo>
                        <a:lnTo>
                          <a:pt x="491" y="115"/>
                        </a:lnTo>
                        <a:lnTo>
                          <a:pt x="491" y="109"/>
                        </a:lnTo>
                        <a:lnTo>
                          <a:pt x="491" y="101"/>
                        </a:lnTo>
                        <a:lnTo>
                          <a:pt x="493" y="97"/>
                        </a:lnTo>
                        <a:lnTo>
                          <a:pt x="495" y="92"/>
                        </a:lnTo>
                        <a:lnTo>
                          <a:pt x="489" y="76"/>
                        </a:lnTo>
                        <a:lnTo>
                          <a:pt x="489" y="72"/>
                        </a:lnTo>
                        <a:lnTo>
                          <a:pt x="493" y="63"/>
                        </a:lnTo>
                        <a:lnTo>
                          <a:pt x="497" y="61"/>
                        </a:lnTo>
                        <a:lnTo>
                          <a:pt x="501" y="55"/>
                        </a:lnTo>
                        <a:lnTo>
                          <a:pt x="503" y="51"/>
                        </a:lnTo>
                        <a:lnTo>
                          <a:pt x="505" y="46"/>
                        </a:lnTo>
                        <a:lnTo>
                          <a:pt x="499" y="36"/>
                        </a:lnTo>
                        <a:lnTo>
                          <a:pt x="499" y="26"/>
                        </a:lnTo>
                        <a:lnTo>
                          <a:pt x="508" y="17"/>
                        </a:lnTo>
                        <a:lnTo>
                          <a:pt x="508" y="11"/>
                        </a:lnTo>
                        <a:lnTo>
                          <a:pt x="514" y="0"/>
                        </a:lnTo>
                        <a:lnTo>
                          <a:pt x="516" y="0"/>
                        </a:lnTo>
                        <a:lnTo>
                          <a:pt x="518" y="0"/>
                        </a:lnTo>
                        <a:lnTo>
                          <a:pt x="520" y="1"/>
                        </a:lnTo>
                        <a:lnTo>
                          <a:pt x="522" y="19"/>
                        </a:lnTo>
                        <a:lnTo>
                          <a:pt x="524" y="19"/>
                        </a:lnTo>
                        <a:lnTo>
                          <a:pt x="526" y="19"/>
                        </a:lnTo>
                        <a:lnTo>
                          <a:pt x="526" y="13"/>
                        </a:lnTo>
                        <a:lnTo>
                          <a:pt x="529" y="11"/>
                        </a:lnTo>
                        <a:lnTo>
                          <a:pt x="533" y="13"/>
                        </a:lnTo>
                        <a:lnTo>
                          <a:pt x="531" y="26"/>
                        </a:lnTo>
                        <a:lnTo>
                          <a:pt x="531" y="28"/>
                        </a:lnTo>
                        <a:lnTo>
                          <a:pt x="533" y="30"/>
                        </a:lnTo>
                        <a:lnTo>
                          <a:pt x="535" y="28"/>
                        </a:lnTo>
                        <a:lnTo>
                          <a:pt x="537" y="17"/>
                        </a:lnTo>
                        <a:lnTo>
                          <a:pt x="539" y="7"/>
                        </a:lnTo>
                        <a:lnTo>
                          <a:pt x="541" y="7"/>
                        </a:lnTo>
                        <a:lnTo>
                          <a:pt x="545" y="7"/>
                        </a:lnTo>
                        <a:lnTo>
                          <a:pt x="545" y="9"/>
                        </a:lnTo>
                        <a:lnTo>
                          <a:pt x="543" y="15"/>
                        </a:lnTo>
                        <a:lnTo>
                          <a:pt x="545" y="17"/>
                        </a:lnTo>
                        <a:lnTo>
                          <a:pt x="547" y="13"/>
                        </a:lnTo>
                        <a:lnTo>
                          <a:pt x="549" y="13"/>
                        </a:lnTo>
                        <a:lnTo>
                          <a:pt x="549" y="17"/>
                        </a:lnTo>
                        <a:lnTo>
                          <a:pt x="545" y="24"/>
                        </a:lnTo>
                        <a:lnTo>
                          <a:pt x="541" y="26"/>
                        </a:lnTo>
                        <a:lnTo>
                          <a:pt x="541" y="28"/>
                        </a:lnTo>
                        <a:lnTo>
                          <a:pt x="545" y="28"/>
                        </a:lnTo>
                        <a:lnTo>
                          <a:pt x="549" y="26"/>
                        </a:lnTo>
                        <a:lnTo>
                          <a:pt x="549" y="28"/>
                        </a:lnTo>
                        <a:lnTo>
                          <a:pt x="543" y="36"/>
                        </a:lnTo>
                        <a:lnTo>
                          <a:pt x="539" y="38"/>
                        </a:lnTo>
                        <a:lnTo>
                          <a:pt x="539" y="40"/>
                        </a:lnTo>
                        <a:lnTo>
                          <a:pt x="541" y="42"/>
                        </a:lnTo>
                        <a:lnTo>
                          <a:pt x="543" y="42"/>
                        </a:lnTo>
                        <a:lnTo>
                          <a:pt x="547" y="40"/>
                        </a:lnTo>
                        <a:lnTo>
                          <a:pt x="554" y="23"/>
                        </a:lnTo>
                        <a:lnTo>
                          <a:pt x="558" y="17"/>
                        </a:lnTo>
                        <a:lnTo>
                          <a:pt x="562" y="17"/>
                        </a:lnTo>
                        <a:lnTo>
                          <a:pt x="562" y="21"/>
                        </a:lnTo>
                        <a:lnTo>
                          <a:pt x="566" y="23"/>
                        </a:lnTo>
                        <a:lnTo>
                          <a:pt x="566" y="26"/>
                        </a:lnTo>
                        <a:lnTo>
                          <a:pt x="574" y="9"/>
                        </a:lnTo>
                        <a:lnTo>
                          <a:pt x="577" y="7"/>
                        </a:lnTo>
                        <a:lnTo>
                          <a:pt x="581" y="7"/>
                        </a:lnTo>
                        <a:lnTo>
                          <a:pt x="585" y="13"/>
                        </a:lnTo>
                        <a:lnTo>
                          <a:pt x="577" y="23"/>
                        </a:lnTo>
                        <a:lnTo>
                          <a:pt x="574" y="26"/>
                        </a:lnTo>
                        <a:lnTo>
                          <a:pt x="574" y="28"/>
                        </a:lnTo>
                        <a:lnTo>
                          <a:pt x="577" y="32"/>
                        </a:lnTo>
                        <a:lnTo>
                          <a:pt x="581" y="34"/>
                        </a:lnTo>
                        <a:lnTo>
                          <a:pt x="585" y="34"/>
                        </a:lnTo>
                        <a:lnTo>
                          <a:pt x="585" y="34"/>
                        </a:lnTo>
                        <a:lnTo>
                          <a:pt x="589" y="30"/>
                        </a:lnTo>
                        <a:lnTo>
                          <a:pt x="591" y="19"/>
                        </a:lnTo>
                        <a:lnTo>
                          <a:pt x="593" y="9"/>
                        </a:lnTo>
                        <a:lnTo>
                          <a:pt x="595" y="7"/>
                        </a:lnTo>
                        <a:lnTo>
                          <a:pt x="597" y="7"/>
                        </a:lnTo>
                        <a:lnTo>
                          <a:pt x="599" y="9"/>
                        </a:lnTo>
                        <a:lnTo>
                          <a:pt x="599" y="15"/>
                        </a:lnTo>
                        <a:lnTo>
                          <a:pt x="595" y="21"/>
                        </a:lnTo>
                        <a:lnTo>
                          <a:pt x="595" y="32"/>
                        </a:lnTo>
                        <a:lnTo>
                          <a:pt x="593" y="40"/>
                        </a:lnTo>
                        <a:lnTo>
                          <a:pt x="591" y="42"/>
                        </a:lnTo>
                        <a:lnTo>
                          <a:pt x="593" y="49"/>
                        </a:lnTo>
                        <a:lnTo>
                          <a:pt x="591" y="51"/>
                        </a:lnTo>
                        <a:lnTo>
                          <a:pt x="589" y="51"/>
                        </a:lnTo>
                        <a:lnTo>
                          <a:pt x="587" y="51"/>
                        </a:lnTo>
                        <a:lnTo>
                          <a:pt x="585" y="49"/>
                        </a:lnTo>
                        <a:lnTo>
                          <a:pt x="585" y="46"/>
                        </a:lnTo>
                        <a:lnTo>
                          <a:pt x="583" y="46"/>
                        </a:lnTo>
                        <a:lnTo>
                          <a:pt x="581" y="49"/>
                        </a:lnTo>
                        <a:lnTo>
                          <a:pt x="581" y="51"/>
                        </a:lnTo>
                        <a:lnTo>
                          <a:pt x="579" y="51"/>
                        </a:lnTo>
                        <a:lnTo>
                          <a:pt x="577" y="53"/>
                        </a:lnTo>
                        <a:lnTo>
                          <a:pt x="581" y="57"/>
                        </a:lnTo>
                        <a:lnTo>
                          <a:pt x="585" y="57"/>
                        </a:lnTo>
                        <a:lnTo>
                          <a:pt x="589" y="57"/>
                        </a:lnTo>
                        <a:lnTo>
                          <a:pt x="593" y="55"/>
                        </a:lnTo>
                        <a:lnTo>
                          <a:pt x="595" y="51"/>
                        </a:lnTo>
                        <a:lnTo>
                          <a:pt x="595" y="40"/>
                        </a:lnTo>
                        <a:lnTo>
                          <a:pt x="600" y="36"/>
                        </a:lnTo>
                        <a:lnTo>
                          <a:pt x="602" y="36"/>
                        </a:lnTo>
                        <a:lnTo>
                          <a:pt x="600" y="44"/>
                        </a:lnTo>
                        <a:lnTo>
                          <a:pt x="602" y="46"/>
                        </a:lnTo>
                        <a:lnTo>
                          <a:pt x="602" y="51"/>
                        </a:lnTo>
                        <a:lnTo>
                          <a:pt x="602" y="53"/>
                        </a:lnTo>
                        <a:lnTo>
                          <a:pt x="606" y="53"/>
                        </a:lnTo>
                        <a:lnTo>
                          <a:pt x="604" y="44"/>
                        </a:lnTo>
                        <a:lnTo>
                          <a:pt x="606" y="38"/>
                        </a:lnTo>
                        <a:lnTo>
                          <a:pt x="608" y="38"/>
                        </a:lnTo>
                        <a:lnTo>
                          <a:pt x="610" y="47"/>
                        </a:lnTo>
                        <a:lnTo>
                          <a:pt x="612" y="47"/>
                        </a:lnTo>
                        <a:lnTo>
                          <a:pt x="616" y="42"/>
                        </a:lnTo>
                        <a:lnTo>
                          <a:pt x="618" y="44"/>
                        </a:lnTo>
                        <a:lnTo>
                          <a:pt x="618" y="47"/>
                        </a:lnTo>
                        <a:lnTo>
                          <a:pt x="616" y="51"/>
                        </a:lnTo>
                        <a:lnTo>
                          <a:pt x="616" y="57"/>
                        </a:lnTo>
                        <a:lnTo>
                          <a:pt x="610" y="61"/>
                        </a:lnTo>
                        <a:lnTo>
                          <a:pt x="610" y="61"/>
                        </a:lnTo>
                        <a:lnTo>
                          <a:pt x="614" y="61"/>
                        </a:lnTo>
                        <a:lnTo>
                          <a:pt x="620" y="59"/>
                        </a:lnTo>
                        <a:lnTo>
                          <a:pt x="624" y="47"/>
                        </a:lnTo>
                        <a:lnTo>
                          <a:pt x="629" y="44"/>
                        </a:lnTo>
                        <a:lnTo>
                          <a:pt x="631" y="40"/>
                        </a:lnTo>
                        <a:lnTo>
                          <a:pt x="635" y="40"/>
                        </a:lnTo>
                        <a:lnTo>
                          <a:pt x="637" y="42"/>
                        </a:lnTo>
                        <a:lnTo>
                          <a:pt x="637" y="47"/>
                        </a:lnTo>
                        <a:lnTo>
                          <a:pt x="627" y="55"/>
                        </a:lnTo>
                        <a:lnTo>
                          <a:pt x="625" y="59"/>
                        </a:lnTo>
                        <a:lnTo>
                          <a:pt x="625" y="61"/>
                        </a:lnTo>
                        <a:lnTo>
                          <a:pt x="622" y="63"/>
                        </a:lnTo>
                        <a:lnTo>
                          <a:pt x="624" y="69"/>
                        </a:lnTo>
                        <a:lnTo>
                          <a:pt x="616" y="71"/>
                        </a:lnTo>
                        <a:lnTo>
                          <a:pt x="618" y="72"/>
                        </a:lnTo>
                        <a:lnTo>
                          <a:pt x="624" y="74"/>
                        </a:lnTo>
                        <a:lnTo>
                          <a:pt x="627" y="84"/>
                        </a:lnTo>
                        <a:lnTo>
                          <a:pt x="627" y="86"/>
                        </a:lnTo>
                        <a:lnTo>
                          <a:pt x="629" y="84"/>
                        </a:lnTo>
                        <a:lnTo>
                          <a:pt x="627" y="71"/>
                        </a:lnTo>
                        <a:lnTo>
                          <a:pt x="629" y="65"/>
                        </a:lnTo>
                        <a:lnTo>
                          <a:pt x="635" y="67"/>
                        </a:lnTo>
                        <a:lnTo>
                          <a:pt x="637" y="72"/>
                        </a:lnTo>
                        <a:lnTo>
                          <a:pt x="643" y="74"/>
                        </a:lnTo>
                        <a:lnTo>
                          <a:pt x="643" y="80"/>
                        </a:lnTo>
                        <a:lnTo>
                          <a:pt x="648" y="76"/>
                        </a:lnTo>
                        <a:lnTo>
                          <a:pt x="656" y="76"/>
                        </a:lnTo>
                        <a:lnTo>
                          <a:pt x="658" y="78"/>
                        </a:lnTo>
                        <a:lnTo>
                          <a:pt x="658" y="84"/>
                        </a:lnTo>
                        <a:lnTo>
                          <a:pt x="656" y="88"/>
                        </a:lnTo>
                        <a:lnTo>
                          <a:pt x="650" y="99"/>
                        </a:lnTo>
                        <a:lnTo>
                          <a:pt x="648" y="109"/>
                        </a:lnTo>
                        <a:lnTo>
                          <a:pt x="647" y="113"/>
                        </a:lnTo>
                        <a:lnTo>
                          <a:pt x="645" y="117"/>
                        </a:lnTo>
                        <a:lnTo>
                          <a:pt x="645" y="124"/>
                        </a:lnTo>
                        <a:lnTo>
                          <a:pt x="647" y="124"/>
                        </a:lnTo>
                        <a:lnTo>
                          <a:pt x="648" y="128"/>
                        </a:lnTo>
                        <a:lnTo>
                          <a:pt x="658" y="128"/>
                        </a:lnTo>
                        <a:lnTo>
                          <a:pt x="662" y="130"/>
                        </a:lnTo>
                        <a:lnTo>
                          <a:pt x="664" y="132"/>
                        </a:lnTo>
                        <a:lnTo>
                          <a:pt x="670" y="142"/>
                        </a:lnTo>
                        <a:lnTo>
                          <a:pt x="670" y="145"/>
                        </a:lnTo>
                        <a:lnTo>
                          <a:pt x="670" y="149"/>
                        </a:lnTo>
                        <a:lnTo>
                          <a:pt x="679" y="157"/>
                        </a:lnTo>
                        <a:lnTo>
                          <a:pt x="683" y="159"/>
                        </a:lnTo>
                        <a:lnTo>
                          <a:pt x="683" y="161"/>
                        </a:lnTo>
                        <a:lnTo>
                          <a:pt x="681" y="166"/>
                        </a:lnTo>
                        <a:lnTo>
                          <a:pt x="681" y="170"/>
                        </a:lnTo>
                        <a:lnTo>
                          <a:pt x="679" y="176"/>
                        </a:lnTo>
                        <a:lnTo>
                          <a:pt x="681" y="178"/>
                        </a:lnTo>
                        <a:lnTo>
                          <a:pt x="683" y="176"/>
                        </a:lnTo>
                        <a:lnTo>
                          <a:pt x="685" y="170"/>
                        </a:lnTo>
                        <a:lnTo>
                          <a:pt x="687" y="166"/>
                        </a:lnTo>
                        <a:lnTo>
                          <a:pt x="691" y="163"/>
                        </a:lnTo>
                        <a:lnTo>
                          <a:pt x="691" y="161"/>
                        </a:lnTo>
                        <a:lnTo>
                          <a:pt x="681" y="149"/>
                        </a:lnTo>
                        <a:lnTo>
                          <a:pt x="673" y="145"/>
                        </a:lnTo>
                        <a:lnTo>
                          <a:pt x="671" y="134"/>
                        </a:lnTo>
                        <a:lnTo>
                          <a:pt x="670" y="130"/>
                        </a:lnTo>
                        <a:lnTo>
                          <a:pt x="666" y="124"/>
                        </a:lnTo>
                        <a:lnTo>
                          <a:pt x="668" y="120"/>
                        </a:lnTo>
                        <a:lnTo>
                          <a:pt x="675" y="117"/>
                        </a:lnTo>
                        <a:lnTo>
                          <a:pt x="675" y="115"/>
                        </a:lnTo>
                        <a:lnTo>
                          <a:pt x="677" y="115"/>
                        </a:lnTo>
                        <a:lnTo>
                          <a:pt x="675" y="105"/>
                        </a:lnTo>
                        <a:lnTo>
                          <a:pt x="671" y="101"/>
                        </a:lnTo>
                        <a:lnTo>
                          <a:pt x="670" y="99"/>
                        </a:lnTo>
                        <a:lnTo>
                          <a:pt x="670" y="95"/>
                        </a:lnTo>
                        <a:lnTo>
                          <a:pt x="670" y="94"/>
                        </a:lnTo>
                        <a:lnTo>
                          <a:pt x="671" y="90"/>
                        </a:lnTo>
                        <a:lnTo>
                          <a:pt x="675" y="84"/>
                        </a:lnTo>
                        <a:lnTo>
                          <a:pt x="677" y="84"/>
                        </a:lnTo>
                        <a:lnTo>
                          <a:pt x="681" y="80"/>
                        </a:lnTo>
                        <a:lnTo>
                          <a:pt x="685" y="74"/>
                        </a:lnTo>
                        <a:lnTo>
                          <a:pt x="689" y="74"/>
                        </a:lnTo>
                        <a:lnTo>
                          <a:pt x="693" y="80"/>
                        </a:lnTo>
                        <a:lnTo>
                          <a:pt x="695" y="80"/>
                        </a:lnTo>
                        <a:lnTo>
                          <a:pt x="695" y="78"/>
                        </a:lnTo>
                        <a:lnTo>
                          <a:pt x="702" y="76"/>
                        </a:lnTo>
                        <a:lnTo>
                          <a:pt x="702" y="71"/>
                        </a:lnTo>
                        <a:lnTo>
                          <a:pt x="702" y="71"/>
                        </a:lnTo>
                        <a:lnTo>
                          <a:pt x="706" y="71"/>
                        </a:lnTo>
                        <a:lnTo>
                          <a:pt x="710" y="78"/>
                        </a:lnTo>
                        <a:lnTo>
                          <a:pt x="718" y="80"/>
                        </a:lnTo>
                        <a:lnTo>
                          <a:pt x="719" y="82"/>
                        </a:lnTo>
                        <a:lnTo>
                          <a:pt x="716" y="84"/>
                        </a:lnTo>
                        <a:lnTo>
                          <a:pt x="716" y="88"/>
                        </a:lnTo>
                        <a:lnTo>
                          <a:pt x="721" y="90"/>
                        </a:lnTo>
                        <a:lnTo>
                          <a:pt x="721" y="94"/>
                        </a:lnTo>
                        <a:lnTo>
                          <a:pt x="712" y="97"/>
                        </a:lnTo>
                        <a:lnTo>
                          <a:pt x="712" y="99"/>
                        </a:lnTo>
                        <a:lnTo>
                          <a:pt x="716" y="101"/>
                        </a:lnTo>
                        <a:lnTo>
                          <a:pt x="721" y="99"/>
                        </a:lnTo>
                        <a:lnTo>
                          <a:pt x="727" y="95"/>
                        </a:lnTo>
                        <a:lnTo>
                          <a:pt x="727" y="82"/>
                        </a:lnTo>
                        <a:lnTo>
                          <a:pt x="733" y="76"/>
                        </a:lnTo>
                        <a:lnTo>
                          <a:pt x="737" y="71"/>
                        </a:lnTo>
                        <a:lnTo>
                          <a:pt x="742" y="71"/>
                        </a:lnTo>
                        <a:lnTo>
                          <a:pt x="744" y="71"/>
                        </a:lnTo>
                        <a:lnTo>
                          <a:pt x="746" y="65"/>
                        </a:lnTo>
                        <a:lnTo>
                          <a:pt x="750" y="67"/>
                        </a:lnTo>
                        <a:lnTo>
                          <a:pt x="752" y="69"/>
                        </a:lnTo>
                        <a:lnTo>
                          <a:pt x="748" y="74"/>
                        </a:lnTo>
                        <a:lnTo>
                          <a:pt x="746" y="80"/>
                        </a:lnTo>
                        <a:lnTo>
                          <a:pt x="744" y="80"/>
                        </a:lnTo>
                        <a:lnTo>
                          <a:pt x="741" y="82"/>
                        </a:lnTo>
                        <a:lnTo>
                          <a:pt x="737" y="90"/>
                        </a:lnTo>
                        <a:lnTo>
                          <a:pt x="735" y="94"/>
                        </a:lnTo>
                        <a:lnTo>
                          <a:pt x="737" y="97"/>
                        </a:lnTo>
                        <a:lnTo>
                          <a:pt x="737" y="99"/>
                        </a:lnTo>
                        <a:lnTo>
                          <a:pt x="739" y="103"/>
                        </a:lnTo>
                        <a:lnTo>
                          <a:pt x="744" y="103"/>
                        </a:lnTo>
                        <a:lnTo>
                          <a:pt x="748" y="107"/>
                        </a:lnTo>
                        <a:lnTo>
                          <a:pt x="750" y="107"/>
                        </a:lnTo>
                        <a:lnTo>
                          <a:pt x="754" y="115"/>
                        </a:lnTo>
                        <a:lnTo>
                          <a:pt x="754" y="115"/>
                        </a:lnTo>
                        <a:lnTo>
                          <a:pt x="758" y="118"/>
                        </a:lnTo>
                        <a:lnTo>
                          <a:pt x="760" y="122"/>
                        </a:lnTo>
                        <a:lnTo>
                          <a:pt x="764" y="122"/>
                        </a:lnTo>
                        <a:lnTo>
                          <a:pt x="771" y="124"/>
                        </a:lnTo>
                        <a:lnTo>
                          <a:pt x="771" y="128"/>
                        </a:lnTo>
                        <a:lnTo>
                          <a:pt x="762" y="134"/>
                        </a:lnTo>
                        <a:lnTo>
                          <a:pt x="762" y="136"/>
                        </a:lnTo>
                        <a:lnTo>
                          <a:pt x="764" y="138"/>
                        </a:lnTo>
                        <a:lnTo>
                          <a:pt x="771" y="140"/>
                        </a:lnTo>
                        <a:lnTo>
                          <a:pt x="775" y="142"/>
                        </a:lnTo>
                        <a:lnTo>
                          <a:pt x="781" y="140"/>
                        </a:lnTo>
                        <a:lnTo>
                          <a:pt x="783" y="136"/>
                        </a:lnTo>
                        <a:lnTo>
                          <a:pt x="785" y="132"/>
                        </a:lnTo>
                        <a:lnTo>
                          <a:pt x="785" y="124"/>
                        </a:lnTo>
                        <a:lnTo>
                          <a:pt x="789" y="124"/>
                        </a:lnTo>
                        <a:lnTo>
                          <a:pt x="792" y="128"/>
                        </a:lnTo>
                        <a:lnTo>
                          <a:pt x="790" y="132"/>
                        </a:lnTo>
                        <a:lnTo>
                          <a:pt x="789" y="134"/>
                        </a:lnTo>
                        <a:lnTo>
                          <a:pt x="787" y="142"/>
                        </a:lnTo>
                        <a:lnTo>
                          <a:pt x="781" y="149"/>
                        </a:lnTo>
                        <a:lnTo>
                          <a:pt x="775" y="151"/>
                        </a:lnTo>
                        <a:lnTo>
                          <a:pt x="775" y="153"/>
                        </a:lnTo>
                        <a:lnTo>
                          <a:pt x="775" y="155"/>
                        </a:lnTo>
                        <a:lnTo>
                          <a:pt x="779" y="155"/>
                        </a:lnTo>
                        <a:lnTo>
                          <a:pt x="790" y="149"/>
                        </a:lnTo>
                        <a:lnTo>
                          <a:pt x="792" y="149"/>
                        </a:lnTo>
                        <a:lnTo>
                          <a:pt x="798" y="149"/>
                        </a:lnTo>
                        <a:lnTo>
                          <a:pt x="804" y="145"/>
                        </a:lnTo>
                        <a:lnTo>
                          <a:pt x="808" y="145"/>
                        </a:lnTo>
                        <a:lnTo>
                          <a:pt x="808" y="149"/>
                        </a:lnTo>
                        <a:lnTo>
                          <a:pt x="806" y="151"/>
                        </a:lnTo>
                        <a:lnTo>
                          <a:pt x="794" y="155"/>
                        </a:lnTo>
                        <a:lnTo>
                          <a:pt x="792" y="157"/>
                        </a:lnTo>
                        <a:lnTo>
                          <a:pt x="792" y="159"/>
                        </a:lnTo>
                        <a:lnTo>
                          <a:pt x="800" y="159"/>
                        </a:lnTo>
                        <a:lnTo>
                          <a:pt x="806" y="155"/>
                        </a:lnTo>
                        <a:lnTo>
                          <a:pt x="810" y="157"/>
                        </a:lnTo>
                        <a:lnTo>
                          <a:pt x="812" y="161"/>
                        </a:lnTo>
                        <a:lnTo>
                          <a:pt x="812" y="165"/>
                        </a:lnTo>
                        <a:lnTo>
                          <a:pt x="813" y="166"/>
                        </a:lnTo>
                        <a:lnTo>
                          <a:pt x="815" y="170"/>
                        </a:lnTo>
                        <a:lnTo>
                          <a:pt x="817" y="178"/>
                        </a:lnTo>
                        <a:lnTo>
                          <a:pt x="821" y="182"/>
                        </a:lnTo>
                        <a:lnTo>
                          <a:pt x="821" y="184"/>
                        </a:lnTo>
                        <a:lnTo>
                          <a:pt x="817" y="188"/>
                        </a:lnTo>
                        <a:lnTo>
                          <a:pt x="812" y="189"/>
                        </a:lnTo>
                        <a:lnTo>
                          <a:pt x="810" y="193"/>
                        </a:lnTo>
                        <a:lnTo>
                          <a:pt x="802" y="195"/>
                        </a:lnTo>
                        <a:lnTo>
                          <a:pt x="802" y="201"/>
                        </a:lnTo>
                        <a:lnTo>
                          <a:pt x="796" y="205"/>
                        </a:lnTo>
                        <a:lnTo>
                          <a:pt x="796" y="213"/>
                        </a:lnTo>
                        <a:lnTo>
                          <a:pt x="794" y="214"/>
                        </a:lnTo>
                        <a:lnTo>
                          <a:pt x="790" y="216"/>
                        </a:lnTo>
                        <a:lnTo>
                          <a:pt x="787" y="218"/>
                        </a:lnTo>
                        <a:lnTo>
                          <a:pt x="781" y="224"/>
                        </a:lnTo>
                        <a:lnTo>
                          <a:pt x="775" y="224"/>
                        </a:lnTo>
                        <a:lnTo>
                          <a:pt x="773" y="230"/>
                        </a:lnTo>
                        <a:lnTo>
                          <a:pt x="767" y="232"/>
                        </a:lnTo>
                        <a:lnTo>
                          <a:pt x="775" y="234"/>
                        </a:lnTo>
                        <a:lnTo>
                          <a:pt x="781" y="232"/>
                        </a:lnTo>
                        <a:lnTo>
                          <a:pt x="781" y="232"/>
                        </a:lnTo>
                        <a:lnTo>
                          <a:pt x="777" y="247"/>
                        </a:lnTo>
                        <a:lnTo>
                          <a:pt x="777" y="249"/>
                        </a:lnTo>
                        <a:lnTo>
                          <a:pt x="781" y="251"/>
                        </a:lnTo>
                        <a:lnTo>
                          <a:pt x="783" y="253"/>
                        </a:lnTo>
                        <a:lnTo>
                          <a:pt x="783" y="257"/>
                        </a:lnTo>
                        <a:lnTo>
                          <a:pt x="785" y="259"/>
                        </a:lnTo>
                        <a:lnTo>
                          <a:pt x="787" y="255"/>
                        </a:lnTo>
                        <a:lnTo>
                          <a:pt x="787" y="253"/>
                        </a:lnTo>
                        <a:lnTo>
                          <a:pt x="787" y="251"/>
                        </a:lnTo>
                        <a:lnTo>
                          <a:pt x="783" y="239"/>
                        </a:lnTo>
                        <a:lnTo>
                          <a:pt x="785" y="236"/>
                        </a:lnTo>
                        <a:lnTo>
                          <a:pt x="789" y="232"/>
                        </a:lnTo>
                        <a:lnTo>
                          <a:pt x="794" y="222"/>
                        </a:lnTo>
                        <a:lnTo>
                          <a:pt x="800" y="220"/>
                        </a:lnTo>
                        <a:lnTo>
                          <a:pt x="800" y="220"/>
                        </a:lnTo>
                        <a:lnTo>
                          <a:pt x="802" y="214"/>
                        </a:lnTo>
                        <a:lnTo>
                          <a:pt x="804" y="211"/>
                        </a:lnTo>
                        <a:lnTo>
                          <a:pt x="813" y="205"/>
                        </a:lnTo>
                        <a:lnTo>
                          <a:pt x="821" y="205"/>
                        </a:lnTo>
                        <a:lnTo>
                          <a:pt x="825" y="207"/>
                        </a:lnTo>
                        <a:lnTo>
                          <a:pt x="829" y="211"/>
                        </a:lnTo>
                        <a:lnTo>
                          <a:pt x="831" y="216"/>
                        </a:lnTo>
                        <a:lnTo>
                          <a:pt x="837" y="226"/>
                        </a:lnTo>
                        <a:lnTo>
                          <a:pt x="840" y="241"/>
                        </a:lnTo>
                        <a:lnTo>
                          <a:pt x="838" y="249"/>
                        </a:lnTo>
                        <a:lnTo>
                          <a:pt x="833" y="255"/>
                        </a:lnTo>
                        <a:lnTo>
                          <a:pt x="827" y="257"/>
                        </a:lnTo>
                        <a:lnTo>
                          <a:pt x="815" y="257"/>
                        </a:lnTo>
                        <a:lnTo>
                          <a:pt x="812" y="251"/>
                        </a:lnTo>
                        <a:lnTo>
                          <a:pt x="808" y="251"/>
                        </a:lnTo>
                        <a:lnTo>
                          <a:pt x="808" y="253"/>
                        </a:lnTo>
                        <a:lnTo>
                          <a:pt x="810" y="259"/>
                        </a:lnTo>
                        <a:lnTo>
                          <a:pt x="810" y="264"/>
                        </a:lnTo>
                        <a:lnTo>
                          <a:pt x="808" y="266"/>
                        </a:lnTo>
                        <a:lnTo>
                          <a:pt x="810" y="272"/>
                        </a:lnTo>
                        <a:lnTo>
                          <a:pt x="808" y="276"/>
                        </a:lnTo>
                        <a:lnTo>
                          <a:pt x="794" y="280"/>
                        </a:lnTo>
                        <a:lnTo>
                          <a:pt x="790" y="289"/>
                        </a:lnTo>
                        <a:lnTo>
                          <a:pt x="783" y="295"/>
                        </a:lnTo>
                        <a:lnTo>
                          <a:pt x="783" y="297"/>
                        </a:lnTo>
                        <a:lnTo>
                          <a:pt x="787" y="299"/>
                        </a:lnTo>
                        <a:lnTo>
                          <a:pt x="802" y="285"/>
                        </a:lnTo>
                        <a:lnTo>
                          <a:pt x="804" y="287"/>
                        </a:lnTo>
                        <a:lnTo>
                          <a:pt x="802" y="295"/>
                        </a:lnTo>
                        <a:lnTo>
                          <a:pt x="800" y="297"/>
                        </a:lnTo>
                        <a:lnTo>
                          <a:pt x="794" y="299"/>
                        </a:lnTo>
                        <a:lnTo>
                          <a:pt x="792" y="308"/>
                        </a:lnTo>
                        <a:lnTo>
                          <a:pt x="789" y="316"/>
                        </a:lnTo>
                        <a:lnTo>
                          <a:pt x="789" y="324"/>
                        </a:lnTo>
                        <a:lnTo>
                          <a:pt x="785" y="333"/>
                        </a:lnTo>
                        <a:lnTo>
                          <a:pt x="785" y="343"/>
                        </a:lnTo>
                        <a:lnTo>
                          <a:pt x="785" y="345"/>
                        </a:lnTo>
                        <a:lnTo>
                          <a:pt x="785" y="347"/>
                        </a:lnTo>
                        <a:lnTo>
                          <a:pt x="779" y="355"/>
                        </a:lnTo>
                        <a:lnTo>
                          <a:pt x="777" y="372"/>
                        </a:lnTo>
                        <a:lnTo>
                          <a:pt x="779" y="374"/>
                        </a:lnTo>
                        <a:lnTo>
                          <a:pt x="787" y="378"/>
                        </a:lnTo>
                        <a:lnTo>
                          <a:pt x="785" y="389"/>
                        </a:lnTo>
                        <a:lnTo>
                          <a:pt x="779" y="391"/>
                        </a:lnTo>
                        <a:lnTo>
                          <a:pt x="777" y="395"/>
                        </a:lnTo>
                        <a:lnTo>
                          <a:pt x="775" y="397"/>
                        </a:lnTo>
                        <a:lnTo>
                          <a:pt x="773" y="399"/>
                        </a:lnTo>
                        <a:lnTo>
                          <a:pt x="769" y="401"/>
                        </a:lnTo>
                        <a:lnTo>
                          <a:pt x="766" y="404"/>
                        </a:lnTo>
                        <a:lnTo>
                          <a:pt x="758" y="408"/>
                        </a:lnTo>
                        <a:lnTo>
                          <a:pt x="756" y="412"/>
                        </a:lnTo>
                        <a:lnTo>
                          <a:pt x="760" y="422"/>
                        </a:lnTo>
                        <a:lnTo>
                          <a:pt x="758" y="427"/>
                        </a:lnTo>
                        <a:lnTo>
                          <a:pt x="756" y="426"/>
                        </a:lnTo>
                        <a:lnTo>
                          <a:pt x="748" y="416"/>
                        </a:lnTo>
                        <a:lnTo>
                          <a:pt x="746" y="416"/>
                        </a:lnTo>
                        <a:lnTo>
                          <a:pt x="744" y="420"/>
                        </a:lnTo>
                        <a:lnTo>
                          <a:pt x="739" y="420"/>
                        </a:lnTo>
                        <a:lnTo>
                          <a:pt x="737" y="422"/>
                        </a:lnTo>
                        <a:lnTo>
                          <a:pt x="739" y="424"/>
                        </a:lnTo>
                        <a:lnTo>
                          <a:pt x="742" y="426"/>
                        </a:lnTo>
                        <a:lnTo>
                          <a:pt x="744" y="424"/>
                        </a:lnTo>
                        <a:lnTo>
                          <a:pt x="750" y="422"/>
                        </a:lnTo>
                        <a:lnTo>
                          <a:pt x="750" y="422"/>
                        </a:lnTo>
                        <a:lnTo>
                          <a:pt x="756" y="431"/>
                        </a:lnTo>
                        <a:lnTo>
                          <a:pt x="762" y="433"/>
                        </a:lnTo>
                        <a:lnTo>
                          <a:pt x="766" y="429"/>
                        </a:lnTo>
                        <a:lnTo>
                          <a:pt x="766" y="427"/>
                        </a:lnTo>
                        <a:lnTo>
                          <a:pt x="766" y="426"/>
                        </a:lnTo>
                        <a:lnTo>
                          <a:pt x="764" y="416"/>
                        </a:lnTo>
                        <a:lnTo>
                          <a:pt x="766" y="410"/>
                        </a:lnTo>
                        <a:lnTo>
                          <a:pt x="773" y="408"/>
                        </a:lnTo>
                        <a:lnTo>
                          <a:pt x="781" y="408"/>
                        </a:lnTo>
                        <a:lnTo>
                          <a:pt x="787" y="402"/>
                        </a:lnTo>
                        <a:lnTo>
                          <a:pt x="789" y="397"/>
                        </a:lnTo>
                        <a:lnTo>
                          <a:pt x="792" y="391"/>
                        </a:lnTo>
                        <a:lnTo>
                          <a:pt x="800" y="389"/>
                        </a:lnTo>
                        <a:lnTo>
                          <a:pt x="806" y="379"/>
                        </a:lnTo>
                        <a:lnTo>
                          <a:pt x="819" y="368"/>
                        </a:lnTo>
                        <a:lnTo>
                          <a:pt x="821" y="366"/>
                        </a:lnTo>
                        <a:lnTo>
                          <a:pt x="825" y="360"/>
                        </a:lnTo>
                        <a:lnTo>
                          <a:pt x="825" y="358"/>
                        </a:lnTo>
                        <a:lnTo>
                          <a:pt x="829" y="343"/>
                        </a:lnTo>
                        <a:lnTo>
                          <a:pt x="829" y="328"/>
                        </a:lnTo>
                        <a:lnTo>
                          <a:pt x="831" y="326"/>
                        </a:lnTo>
                        <a:lnTo>
                          <a:pt x="835" y="320"/>
                        </a:lnTo>
                        <a:lnTo>
                          <a:pt x="835" y="310"/>
                        </a:lnTo>
                        <a:lnTo>
                          <a:pt x="837" y="305"/>
                        </a:lnTo>
                        <a:lnTo>
                          <a:pt x="840" y="301"/>
                        </a:lnTo>
                        <a:lnTo>
                          <a:pt x="838" y="285"/>
                        </a:lnTo>
                        <a:lnTo>
                          <a:pt x="838" y="282"/>
                        </a:lnTo>
                        <a:lnTo>
                          <a:pt x="840" y="280"/>
                        </a:lnTo>
                        <a:lnTo>
                          <a:pt x="850" y="282"/>
                        </a:lnTo>
                        <a:lnTo>
                          <a:pt x="852" y="278"/>
                        </a:lnTo>
                        <a:lnTo>
                          <a:pt x="848" y="276"/>
                        </a:lnTo>
                        <a:lnTo>
                          <a:pt x="852" y="270"/>
                        </a:lnTo>
                        <a:lnTo>
                          <a:pt x="858" y="270"/>
                        </a:lnTo>
                        <a:lnTo>
                          <a:pt x="863" y="268"/>
                        </a:lnTo>
                        <a:lnTo>
                          <a:pt x="869" y="268"/>
                        </a:lnTo>
                        <a:lnTo>
                          <a:pt x="873" y="266"/>
                        </a:lnTo>
                        <a:lnTo>
                          <a:pt x="881" y="262"/>
                        </a:lnTo>
                        <a:lnTo>
                          <a:pt x="888" y="259"/>
                        </a:lnTo>
                        <a:lnTo>
                          <a:pt x="902" y="253"/>
                        </a:lnTo>
                        <a:lnTo>
                          <a:pt x="906" y="255"/>
                        </a:lnTo>
                        <a:lnTo>
                          <a:pt x="906" y="262"/>
                        </a:lnTo>
                        <a:lnTo>
                          <a:pt x="904" y="264"/>
                        </a:lnTo>
                        <a:lnTo>
                          <a:pt x="902" y="264"/>
                        </a:lnTo>
                        <a:lnTo>
                          <a:pt x="900" y="262"/>
                        </a:lnTo>
                        <a:lnTo>
                          <a:pt x="898" y="262"/>
                        </a:lnTo>
                        <a:lnTo>
                          <a:pt x="898" y="264"/>
                        </a:lnTo>
                        <a:lnTo>
                          <a:pt x="904" y="272"/>
                        </a:lnTo>
                        <a:lnTo>
                          <a:pt x="906" y="278"/>
                        </a:lnTo>
                        <a:lnTo>
                          <a:pt x="902" y="285"/>
                        </a:lnTo>
                        <a:lnTo>
                          <a:pt x="890" y="289"/>
                        </a:lnTo>
                        <a:lnTo>
                          <a:pt x="888" y="299"/>
                        </a:lnTo>
                        <a:lnTo>
                          <a:pt x="883" y="307"/>
                        </a:lnTo>
                        <a:lnTo>
                          <a:pt x="879" y="312"/>
                        </a:lnTo>
                        <a:lnTo>
                          <a:pt x="873" y="314"/>
                        </a:lnTo>
                        <a:lnTo>
                          <a:pt x="869" y="308"/>
                        </a:lnTo>
                        <a:lnTo>
                          <a:pt x="867" y="310"/>
                        </a:lnTo>
                        <a:lnTo>
                          <a:pt x="863" y="318"/>
                        </a:lnTo>
                        <a:lnTo>
                          <a:pt x="852" y="326"/>
                        </a:lnTo>
                        <a:lnTo>
                          <a:pt x="852" y="330"/>
                        </a:lnTo>
                        <a:lnTo>
                          <a:pt x="854" y="333"/>
                        </a:lnTo>
                        <a:lnTo>
                          <a:pt x="856" y="333"/>
                        </a:lnTo>
                        <a:lnTo>
                          <a:pt x="858" y="328"/>
                        </a:lnTo>
                        <a:lnTo>
                          <a:pt x="861" y="330"/>
                        </a:lnTo>
                        <a:lnTo>
                          <a:pt x="863" y="331"/>
                        </a:lnTo>
                        <a:lnTo>
                          <a:pt x="867" y="333"/>
                        </a:lnTo>
                        <a:lnTo>
                          <a:pt x="867" y="326"/>
                        </a:lnTo>
                        <a:lnTo>
                          <a:pt x="869" y="326"/>
                        </a:lnTo>
                        <a:lnTo>
                          <a:pt x="871" y="324"/>
                        </a:lnTo>
                        <a:lnTo>
                          <a:pt x="873" y="324"/>
                        </a:lnTo>
                        <a:lnTo>
                          <a:pt x="875" y="326"/>
                        </a:lnTo>
                        <a:lnTo>
                          <a:pt x="875" y="330"/>
                        </a:lnTo>
                        <a:lnTo>
                          <a:pt x="873" y="333"/>
                        </a:lnTo>
                        <a:lnTo>
                          <a:pt x="867" y="341"/>
                        </a:lnTo>
                        <a:lnTo>
                          <a:pt x="867" y="343"/>
                        </a:lnTo>
                        <a:lnTo>
                          <a:pt x="871" y="343"/>
                        </a:lnTo>
                        <a:lnTo>
                          <a:pt x="875" y="337"/>
                        </a:lnTo>
                        <a:lnTo>
                          <a:pt x="884" y="324"/>
                        </a:lnTo>
                        <a:lnTo>
                          <a:pt x="896" y="326"/>
                        </a:lnTo>
                        <a:lnTo>
                          <a:pt x="898" y="324"/>
                        </a:lnTo>
                        <a:lnTo>
                          <a:pt x="900" y="314"/>
                        </a:lnTo>
                        <a:lnTo>
                          <a:pt x="900" y="314"/>
                        </a:lnTo>
                        <a:lnTo>
                          <a:pt x="908" y="305"/>
                        </a:lnTo>
                        <a:lnTo>
                          <a:pt x="911" y="303"/>
                        </a:lnTo>
                        <a:lnTo>
                          <a:pt x="921" y="301"/>
                        </a:lnTo>
                        <a:lnTo>
                          <a:pt x="919" y="295"/>
                        </a:lnTo>
                        <a:lnTo>
                          <a:pt x="923" y="293"/>
                        </a:lnTo>
                        <a:lnTo>
                          <a:pt x="923" y="287"/>
                        </a:lnTo>
                        <a:lnTo>
                          <a:pt x="925" y="285"/>
                        </a:lnTo>
                        <a:lnTo>
                          <a:pt x="929" y="295"/>
                        </a:lnTo>
                        <a:lnTo>
                          <a:pt x="931" y="297"/>
                        </a:lnTo>
                        <a:lnTo>
                          <a:pt x="934" y="297"/>
                        </a:lnTo>
                        <a:lnTo>
                          <a:pt x="942" y="287"/>
                        </a:lnTo>
                        <a:lnTo>
                          <a:pt x="950" y="285"/>
                        </a:lnTo>
                        <a:lnTo>
                          <a:pt x="955" y="280"/>
                        </a:lnTo>
                        <a:lnTo>
                          <a:pt x="959" y="278"/>
                        </a:lnTo>
                        <a:lnTo>
                          <a:pt x="961" y="274"/>
                        </a:lnTo>
                        <a:lnTo>
                          <a:pt x="963" y="276"/>
                        </a:lnTo>
                        <a:lnTo>
                          <a:pt x="969" y="276"/>
                        </a:lnTo>
                        <a:lnTo>
                          <a:pt x="971" y="280"/>
                        </a:lnTo>
                        <a:lnTo>
                          <a:pt x="975" y="280"/>
                        </a:lnTo>
                        <a:lnTo>
                          <a:pt x="975" y="274"/>
                        </a:lnTo>
                        <a:lnTo>
                          <a:pt x="979" y="274"/>
                        </a:lnTo>
                        <a:lnTo>
                          <a:pt x="980" y="278"/>
                        </a:lnTo>
                        <a:lnTo>
                          <a:pt x="980" y="287"/>
                        </a:lnTo>
                        <a:lnTo>
                          <a:pt x="982" y="287"/>
                        </a:lnTo>
                        <a:lnTo>
                          <a:pt x="986" y="284"/>
                        </a:lnTo>
                        <a:lnTo>
                          <a:pt x="986" y="280"/>
                        </a:lnTo>
                        <a:lnTo>
                          <a:pt x="992" y="280"/>
                        </a:lnTo>
                        <a:lnTo>
                          <a:pt x="996" y="272"/>
                        </a:lnTo>
                        <a:lnTo>
                          <a:pt x="994" y="266"/>
                        </a:lnTo>
                        <a:lnTo>
                          <a:pt x="994" y="260"/>
                        </a:lnTo>
                        <a:lnTo>
                          <a:pt x="998" y="259"/>
                        </a:lnTo>
                        <a:lnTo>
                          <a:pt x="1002" y="259"/>
                        </a:lnTo>
                        <a:lnTo>
                          <a:pt x="1005" y="260"/>
                        </a:lnTo>
                        <a:lnTo>
                          <a:pt x="1003" y="272"/>
                        </a:lnTo>
                        <a:lnTo>
                          <a:pt x="1005" y="274"/>
                        </a:lnTo>
                        <a:lnTo>
                          <a:pt x="1005" y="284"/>
                        </a:lnTo>
                        <a:lnTo>
                          <a:pt x="1009" y="285"/>
                        </a:lnTo>
                        <a:lnTo>
                          <a:pt x="1013" y="280"/>
                        </a:lnTo>
                        <a:lnTo>
                          <a:pt x="1015" y="278"/>
                        </a:lnTo>
                        <a:lnTo>
                          <a:pt x="1015" y="287"/>
                        </a:lnTo>
                        <a:lnTo>
                          <a:pt x="1019" y="287"/>
                        </a:lnTo>
                        <a:lnTo>
                          <a:pt x="1021" y="284"/>
                        </a:lnTo>
                        <a:lnTo>
                          <a:pt x="1019" y="278"/>
                        </a:lnTo>
                        <a:lnTo>
                          <a:pt x="1015" y="270"/>
                        </a:lnTo>
                        <a:lnTo>
                          <a:pt x="1011" y="259"/>
                        </a:lnTo>
                        <a:lnTo>
                          <a:pt x="1013" y="259"/>
                        </a:lnTo>
                        <a:lnTo>
                          <a:pt x="1019" y="266"/>
                        </a:lnTo>
                        <a:lnTo>
                          <a:pt x="1026" y="266"/>
                        </a:lnTo>
                        <a:lnTo>
                          <a:pt x="1026" y="264"/>
                        </a:lnTo>
                        <a:lnTo>
                          <a:pt x="1015" y="255"/>
                        </a:lnTo>
                        <a:lnTo>
                          <a:pt x="1013" y="253"/>
                        </a:lnTo>
                        <a:lnTo>
                          <a:pt x="1013" y="251"/>
                        </a:lnTo>
                        <a:lnTo>
                          <a:pt x="1017" y="247"/>
                        </a:lnTo>
                        <a:lnTo>
                          <a:pt x="1023" y="245"/>
                        </a:lnTo>
                        <a:lnTo>
                          <a:pt x="1032" y="251"/>
                        </a:lnTo>
                        <a:lnTo>
                          <a:pt x="1038" y="251"/>
                        </a:lnTo>
                        <a:lnTo>
                          <a:pt x="1038" y="249"/>
                        </a:lnTo>
                        <a:lnTo>
                          <a:pt x="1034" y="245"/>
                        </a:lnTo>
                        <a:lnTo>
                          <a:pt x="1036" y="243"/>
                        </a:lnTo>
                        <a:lnTo>
                          <a:pt x="1055" y="249"/>
                        </a:lnTo>
                        <a:lnTo>
                          <a:pt x="1082" y="259"/>
                        </a:lnTo>
                        <a:lnTo>
                          <a:pt x="1096" y="266"/>
                        </a:lnTo>
                        <a:lnTo>
                          <a:pt x="1109" y="270"/>
                        </a:lnTo>
                        <a:lnTo>
                          <a:pt x="1126" y="282"/>
                        </a:lnTo>
                        <a:lnTo>
                          <a:pt x="1140" y="287"/>
                        </a:lnTo>
                        <a:lnTo>
                          <a:pt x="1149" y="289"/>
                        </a:lnTo>
                        <a:lnTo>
                          <a:pt x="1157" y="287"/>
                        </a:lnTo>
                        <a:lnTo>
                          <a:pt x="1161" y="289"/>
                        </a:lnTo>
                        <a:lnTo>
                          <a:pt x="1172" y="303"/>
                        </a:lnTo>
                        <a:lnTo>
                          <a:pt x="1190" y="314"/>
                        </a:lnTo>
                        <a:lnTo>
                          <a:pt x="1197" y="318"/>
                        </a:lnTo>
                        <a:lnTo>
                          <a:pt x="1203" y="324"/>
                        </a:lnTo>
                        <a:lnTo>
                          <a:pt x="1211" y="326"/>
                        </a:lnTo>
                        <a:lnTo>
                          <a:pt x="1222" y="335"/>
                        </a:lnTo>
                        <a:lnTo>
                          <a:pt x="1224" y="333"/>
                        </a:lnTo>
                        <a:lnTo>
                          <a:pt x="1224" y="331"/>
                        </a:lnTo>
                        <a:lnTo>
                          <a:pt x="1220" y="328"/>
                        </a:lnTo>
                        <a:lnTo>
                          <a:pt x="1211" y="322"/>
                        </a:lnTo>
                        <a:lnTo>
                          <a:pt x="1211" y="318"/>
                        </a:lnTo>
                        <a:lnTo>
                          <a:pt x="1222" y="320"/>
                        </a:lnTo>
                        <a:lnTo>
                          <a:pt x="1230" y="324"/>
                        </a:lnTo>
                        <a:lnTo>
                          <a:pt x="1239" y="324"/>
                        </a:lnTo>
                        <a:lnTo>
                          <a:pt x="1257" y="337"/>
                        </a:lnTo>
                        <a:lnTo>
                          <a:pt x="1272" y="339"/>
                        </a:lnTo>
                        <a:lnTo>
                          <a:pt x="1264" y="331"/>
                        </a:lnTo>
                        <a:lnTo>
                          <a:pt x="1251" y="322"/>
                        </a:lnTo>
                        <a:lnTo>
                          <a:pt x="1253" y="312"/>
                        </a:lnTo>
                        <a:lnTo>
                          <a:pt x="1255" y="312"/>
                        </a:lnTo>
                        <a:lnTo>
                          <a:pt x="1259" y="316"/>
                        </a:lnTo>
                        <a:lnTo>
                          <a:pt x="1266" y="320"/>
                        </a:lnTo>
                        <a:lnTo>
                          <a:pt x="1280" y="333"/>
                        </a:lnTo>
                        <a:lnTo>
                          <a:pt x="1280" y="337"/>
                        </a:lnTo>
                        <a:lnTo>
                          <a:pt x="1278" y="341"/>
                        </a:lnTo>
                        <a:lnTo>
                          <a:pt x="1284" y="343"/>
                        </a:lnTo>
                        <a:lnTo>
                          <a:pt x="1287" y="343"/>
                        </a:lnTo>
                        <a:lnTo>
                          <a:pt x="1291" y="341"/>
                        </a:lnTo>
                        <a:lnTo>
                          <a:pt x="1282" y="330"/>
                        </a:lnTo>
                        <a:lnTo>
                          <a:pt x="1263" y="314"/>
                        </a:lnTo>
                        <a:lnTo>
                          <a:pt x="1276" y="316"/>
                        </a:lnTo>
                        <a:lnTo>
                          <a:pt x="1287" y="316"/>
                        </a:lnTo>
                        <a:lnTo>
                          <a:pt x="1293" y="331"/>
                        </a:lnTo>
                        <a:lnTo>
                          <a:pt x="1297" y="337"/>
                        </a:lnTo>
                        <a:lnTo>
                          <a:pt x="1299" y="331"/>
                        </a:lnTo>
                        <a:lnTo>
                          <a:pt x="1299" y="328"/>
                        </a:lnTo>
                        <a:lnTo>
                          <a:pt x="1301" y="322"/>
                        </a:lnTo>
                        <a:lnTo>
                          <a:pt x="1312" y="324"/>
                        </a:lnTo>
                        <a:lnTo>
                          <a:pt x="1326" y="320"/>
                        </a:lnTo>
                        <a:lnTo>
                          <a:pt x="1332" y="324"/>
                        </a:lnTo>
                        <a:lnTo>
                          <a:pt x="1334" y="331"/>
                        </a:lnTo>
                        <a:lnTo>
                          <a:pt x="1334" y="331"/>
                        </a:lnTo>
                        <a:lnTo>
                          <a:pt x="1326" y="347"/>
                        </a:lnTo>
                        <a:lnTo>
                          <a:pt x="1334" y="331"/>
                        </a:lnTo>
                        <a:lnTo>
                          <a:pt x="1335" y="330"/>
                        </a:lnTo>
                        <a:lnTo>
                          <a:pt x="1339" y="330"/>
                        </a:lnTo>
                        <a:lnTo>
                          <a:pt x="1349" y="335"/>
                        </a:lnTo>
                        <a:lnTo>
                          <a:pt x="1355" y="337"/>
                        </a:lnTo>
                        <a:lnTo>
                          <a:pt x="1357" y="345"/>
                        </a:lnTo>
                        <a:lnTo>
                          <a:pt x="1360" y="347"/>
                        </a:lnTo>
                        <a:lnTo>
                          <a:pt x="1362" y="349"/>
                        </a:lnTo>
                        <a:lnTo>
                          <a:pt x="1368" y="356"/>
                        </a:lnTo>
                        <a:lnTo>
                          <a:pt x="1393" y="358"/>
                        </a:lnTo>
                        <a:lnTo>
                          <a:pt x="1403" y="364"/>
                        </a:lnTo>
                        <a:lnTo>
                          <a:pt x="1405" y="376"/>
                        </a:lnTo>
                        <a:lnTo>
                          <a:pt x="1406" y="378"/>
                        </a:lnTo>
                        <a:lnTo>
                          <a:pt x="1408" y="376"/>
                        </a:lnTo>
                        <a:lnTo>
                          <a:pt x="1408" y="368"/>
                        </a:lnTo>
                        <a:lnTo>
                          <a:pt x="1412" y="364"/>
                        </a:lnTo>
                        <a:lnTo>
                          <a:pt x="1424" y="368"/>
                        </a:lnTo>
                        <a:lnTo>
                          <a:pt x="1426" y="372"/>
                        </a:lnTo>
                        <a:lnTo>
                          <a:pt x="1426" y="376"/>
                        </a:lnTo>
                        <a:lnTo>
                          <a:pt x="1429" y="378"/>
                        </a:lnTo>
                        <a:lnTo>
                          <a:pt x="1435" y="379"/>
                        </a:lnTo>
                        <a:lnTo>
                          <a:pt x="1435" y="379"/>
                        </a:lnTo>
                        <a:lnTo>
                          <a:pt x="1435" y="379"/>
                        </a:lnTo>
                        <a:lnTo>
                          <a:pt x="1437" y="376"/>
                        </a:lnTo>
                        <a:lnTo>
                          <a:pt x="1445" y="368"/>
                        </a:lnTo>
                        <a:lnTo>
                          <a:pt x="1443" y="364"/>
                        </a:lnTo>
                        <a:lnTo>
                          <a:pt x="1437" y="362"/>
                        </a:lnTo>
                        <a:lnTo>
                          <a:pt x="1437" y="360"/>
                        </a:lnTo>
                        <a:lnTo>
                          <a:pt x="1439" y="358"/>
                        </a:lnTo>
                        <a:lnTo>
                          <a:pt x="1449" y="356"/>
                        </a:lnTo>
                        <a:lnTo>
                          <a:pt x="1456" y="358"/>
                        </a:lnTo>
                        <a:lnTo>
                          <a:pt x="1466" y="362"/>
                        </a:lnTo>
                        <a:lnTo>
                          <a:pt x="1472" y="364"/>
                        </a:lnTo>
                        <a:lnTo>
                          <a:pt x="1474" y="360"/>
                        </a:lnTo>
                        <a:lnTo>
                          <a:pt x="1481" y="358"/>
                        </a:lnTo>
                        <a:lnTo>
                          <a:pt x="1485" y="356"/>
                        </a:lnTo>
                        <a:lnTo>
                          <a:pt x="1500" y="356"/>
                        </a:lnTo>
                        <a:lnTo>
                          <a:pt x="1510" y="355"/>
                        </a:lnTo>
                        <a:lnTo>
                          <a:pt x="1518" y="355"/>
                        </a:lnTo>
                        <a:lnTo>
                          <a:pt x="1520" y="356"/>
                        </a:lnTo>
                        <a:lnTo>
                          <a:pt x="1522" y="362"/>
                        </a:lnTo>
                        <a:lnTo>
                          <a:pt x="1527" y="368"/>
                        </a:lnTo>
                        <a:lnTo>
                          <a:pt x="1527" y="383"/>
                        </a:lnTo>
                        <a:lnTo>
                          <a:pt x="1527" y="385"/>
                        </a:lnTo>
                        <a:lnTo>
                          <a:pt x="1529" y="387"/>
                        </a:lnTo>
                        <a:lnTo>
                          <a:pt x="1531" y="383"/>
                        </a:lnTo>
                        <a:lnTo>
                          <a:pt x="1531" y="376"/>
                        </a:lnTo>
                        <a:lnTo>
                          <a:pt x="1531" y="372"/>
                        </a:lnTo>
                        <a:lnTo>
                          <a:pt x="1525" y="360"/>
                        </a:lnTo>
                        <a:lnTo>
                          <a:pt x="1525" y="358"/>
                        </a:lnTo>
                        <a:lnTo>
                          <a:pt x="1529" y="355"/>
                        </a:lnTo>
                        <a:lnTo>
                          <a:pt x="1537" y="351"/>
                        </a:lnTo>
                        <a:lnTo>
                          <a:pt x="1543" y="347"/>
                        </a:lnTo>
                        <a:lnTo>
                          <a:pt x="1560" y="351"/>
                        </a:lnTo>
                        <a:lnTo>
                          <a:pt x="1570" y="351"/>
                        </a:lnTo>
                        <a:lnTo>
                          <a:pt x="1577" y="349"/>
                        </a:lnTo>
                        <a:lnTo>
                          <a:pt x="1583" y="341"/>
                        </a:lnTo>
                        <a:lnTo>
                          <a:pt x="1587" y="341"/>
                        </a:lnTo>
                        <a:lnTo>
                          <a:pt x="1594" y="345"/>
                        </a:lnTo>
                        <a:lnTo>
                          <a:pt x="1600" y="347"/>
                        </a:lnTo>
                        <a:lnTo>
                          <a:pt x="1619" y="347"/>
                        </a:lnTo>
                        <a:lnTo>
                          <a:pt x="1629" y="349"/>
                        </a:lnTo>
                        <a:lnTo>
                          <a:pt x="1646" y="349"/>
                        </a:lnTo>
                        <a:lnTo>
                          <a:pt x="1658" y="355"/>
                        </a:lnTo>
                        <a:lnTo>
                          <a:pt x="1660" y="351"/>
                        </a:lnTo>
                        <a:lnTo>
                          <a:pt x="1664" y="349"/>
                        </a:lnTo>
                        <a:lnTo>
                          <a:pt x="1698" y="358"/>
                        </a:lnTo>
                        <a:lnTo>
                          <a:pt x="1715" y="368"/>
                        </a:lnTo>
                        <a:lnTo>
                          <a:pt x="1736" y="385"/>
                        </a:lnTo>
                        <a:lnTo>
                          <a:pt x="1742" y="385"/>
                        </a:lnTo>
                        <a:lnTo>
                          <a:pt x="1744" y="383"/>
                        </a:lnTo>
                        <a:lnTo>
                          <a:pt x="1748" y="383"/>
                        </a:lnTo>
                        <a:lnTo>
                          <a:pt x="1758" y="393"/>
                        </a:lnTo>
                        <a:lnTo>
                          <a:pt x="1769" y="399"/>
                        </a:lnTo>
                        <a:lnTo>
                          <a:pt x="1779" y="408"/>
                        </a:lnTo>
                        <a:lnTo>
                          <a:pt x="1800" y="414"/>
                        </a:lnTo>
                        <a:lnTo>
                          <a:pt x="1802" y="414"/>
                        </a:lnTo>
                        <a:lnTo>
                          <a:pt x="1800" y="420"/>
                        </a:lnTo>
                        <a:lnTo>
                          <a:pt x="1802" y="422"/>
                        </a:lnTo>
                        <a:lnTo>
                          <a:pt x="1815" y="422"/>
                        </a:lnTo>
                        <a:lnTo>
                          <a:pt x="1825" y="424"/>
                        </a:lnTo>
                        <a:lnTo>
                          <a:pt x="1829" y="426"/>
                        </a:lnTo>
                        <a:lnTo>
                          <a:pt x="1838" y="431"/>
                        </a:lnTo>
                        <a:lnTo>
                          <a:pt x="1850" y="450"/>
                        </a:lnTo>
                        <a:lnTo>
                          <a:pt x="1863" y="460"/>
                        </a:lnTo>
                        <a:lnTo>
                          <a:pt x="1875" y="462"/>
                        </a:lnTo>
                        <a:lnTo>
                          <a:pt x="1882" y="462"/>
                        </a:lnTo>
                        <a:lnTo>
                          <a:pt x="1884" y="466"/>
                        </a:lnTo>
                        <a:lnTo>
                          <a:pt x="1884" y="483"/>
                        </a:lnTo>
                        <a:lnTo>
                          <a:pt x="1882" y="491"/>
                        </a:lnTo>
                        <a:lnTo>
                          <a:pt x="1888" y="497"/>
                        </a:lnTo>
                        <a:lnTo>
                          <a:pt x="1892" y="497"/>
                        </a:lnTo>
                        <a:lnTo>
                          <a:pt x="1888" y="483"/>
                        </a:lnTo>
                        <a:lnTo>
                          <a:pt x="1890" y="481"/>
                        </a:lnTo>
                        <a:lnTo>
                          <a:pt x="1890" y="475"/>
                        </a:lnTo>
                        <a:lnTo>
                          <a:pt x="1892" y="475"/>
                        </a:lnTo>
                        <a:lnTo>
                          <a:pt x="1900" y="481"/>
                        </a:lnTo>
                        <a:lnTo>
                          <a:pt x="1913" y="498"/>
                        </a:lnTo>
                        <a:lnTo>
                          <a:pt x="1926" y="508"/>
                        </a:lnTo>
                        <a:lnTo>
                          <a:pt x="1936" y="516"/>
                        </a:lnTo>
                        <a:lnTo>
                          <a:pt x="1946" y="521"/>
                        </a:lnTo>
                        <a:lnTo>
                          <a:pt x="1959" y="523"/>
                        </a:lnTo>
                        <a:lnTo>
                          <a:pt x="1971" y="529"/>
                        </a:lnTo>
                        <a:lnTo>
                          <a:pt x="1984" y="548"/>
                        </a:lnTo>
                        <a:lnTo>
                          <a:pt x="1994" y="558"/>
                        </a:lnTo>
                        <a:lnTo>
                          <a:pt x="2009" y="573"/>
                        </a:lnTo>
                        <a:lnTo>
                          <a:pt x="2015" y="585"/>
                        </a:lnTo>
                        <a:lnTo>
                          <a:pt x="2022" y="592"/>
                        </a:lnTo>
                        <a:lnTo>
                          <a:pt x="2028" y="600"/>
                        </a:lnTo>
                        <a:lnTo>
                          <a:pt x="2030" y="610"/>
                        </a:lnTo>
                        <a:lnTo>
                          <a:pt x="2036" y="612"/>
                        </a:lnTo>
                        <a:lnTo>
                          <a:pt x="2047" y="625"/>
                        </a:lnTo>
                        <a:lnTo>
                          <a:pt x="2078" y="656"/>
                        </a:lnTo>
                        <a:lnTo>
                          <a:pt x="2091" y="663"/>
                        </a:lnTo>
                        <a:lnTo>
                          <a:pt x="2103" y="667"/>
                        </a:lnTo>
                        <a:lnTo>
                          <a:pt x="2099" y="673"/>
                        </a:lnTo>
                        <a:lnTo>
                          <a:pt x="2101" y="675"/>
                        </a:lnTo>
                        <a:lnTo>
                          <a:pt x="2109" y="677"/>
                        </a:lnTo>
                        <a:lnTo>
                          <a:pt x="2118" y="692"/>
                        </a:lnTo>
                        <a:lnTo>
                          <a:pt x="2120" y="696"/>
                        </a:lnTo>
                        <a:lnTo>
                          <a:pt x="2138" y="711"/>
                        </a:lnTo>
                        <a:lnTo>
                          <a:pt x="2149" y="717"/>
                        </a:lnTo>
                        <a:lnTo>
                          <a:pt x="2153" y="715"/>
                        </a:lnTo>
                        <a:lnTo>
                          <a:pt x="2157" y="715"/>
                        </a:lnTo>
                        <a:lnTo>
                          <a:pt x="2162" y="721"/>
                        </a:lnTo>
                        <a:lnTo>
                          <a:pt x="2189" y="733"/>
                        </a:lnTo>
                        <a:lnTo>
                          <a:pt x="2195" y="740"/>
                        </a:lnTo>
                        <a:lnTo>
                          <a:pt x="2203" y="757"/>
                        </a:lnTo>
                        <a:lnTo>
                          <a:pt x="2203" y="757"/>
                        </a:lnTo>
                        <a:lnTo>
                          <a:pt x="2203" y="757"/>
                        </a:lnTo>
                        <a:lnTo>
                          <a:pt x="2218" y="777"/>
                        </a:lnTo>
                        <a:lnTo>
                          <a:pt x="2224" y="779"/>
                        </a:lnTo>
                        <a:lnTo>
                          <a:pt x="2232" y="777"/>
                        </a:lnTo>
                        <a:lnTo>
                          <a:pt x="2233" y="779"/>
                        </a:lnTo>
                        <a:lnTo>
                          <a:pt x="2243" y="779"/>
                        </a:lnTo>
                        <a:lnTo>
                          <a:pt x="2257" y="777"/>
                        </a:lnTo>
                        <a:lnTo>
                          <a:pt x="2274" y="781"/>
                        </a:lnTo>
                        <a:lnTo>
                          <a:pt x="2280" y="786"/>
                        </a:lnTo>
                        <a:lnTo>
                          <a:pt x="2281" y="792"/>
                        </a:lnTo>
                        <a:lnTo>
                          <a:pt x="2285" y="798"/>
                        </a:lnTo>
                        <a:lnTo>
                          <a:pt x="2301" y="807"/>
                        </a:lnTo>
                        <a:lnTo>
                          <a:pt x="2314" y="813"/>
                        </a:lnTo>
                        <a:lnTo>
                          <a:pt x="2322" y="813"/>
                        </a:lnTo>
                        <a:lnTo>
                          <a:pt x="2329" y="811"/>
                        </a:lnTo>
                        <a:lnTo>
                          <a:pt x="2335" y="809"/>
                        </a:lnTo>
                        <a:lnTo>
                          <a:pt x="2351" y="809"/>
                        </a:lnTo>
                        <a:lnTo>
                          <a:pt x="2352" y="807"/>
                        </a:lnTo>
                        <a:lnTo>
                          <a:pt x="2352" y="805"/>
                        </a:lnTo>
                        <a:lnTo>
                          <a:pt x="2354" y="805"/>
                        </a:lnTo>
                        <a:lnTo>
                          <a:pt x="2374" y="813"/>
                        </a:lnTo>
                        <a:lnTo>
                          <a:pt x="2414" y="813"/>
                        </a:lnTo>
                        <a:lnTo>
                          <a:pt x="2423" y="813"/>
                        </a:lnTo>
                        <a:lnTo>
                          <a:pt x="2429" y="809"/>
                        </a:lnTo>
                        <a:lnTo>
                          <a:pt x="2439" y="807"/>
                        </a:lnTo>
                        <a:lnTo>
                          <a:pt x="2443" y="805"/>
                        </a:lnTo>
                        <a:lnTo>
                          <a:pt x="2468" y="809"/>
                        </a:lnTo>
                        <a:lnTo>
                          <a:pt x="2489" y="819"/>
                        </a:lnTo>
                        <a:lnTo>
                          <a:pt x="2523" y="825"/>
                        </a:lnTo>
                        <a:lnTo>
                          <a:pt x="2537" y="828"/>
                        </a:lnTo>
                        <a:lnTo>
                          <a:pt x="2544" y="832"/>
                        </a:lnTo>
                        <a:lnTo>
                          <a:pt x="2548" y="840"/>
                        </a:lnTo>
                        <a:lnTo>
                          <a:pt x="2554" y="842"/>
                        </a:lnTo>
                        <a:lnTo>
                          <a:pt x="2562" y="850"/>
                        </a:lnTo>
                        <a:lnTo>
                          <a:pt x="2565" y="857"/>
                        </a:lnTo>
                        <a:lnTo>
                          <a:pt x="2567" y="873"/>
                        </a:lnTo>
                        <a:lnTo>
                          <a:pt x="2575" y="878"/>
                        </a:lnTo>
                        <a:lnTo>
                          <a:pt x="2575" y="884"/>
                        </a:lnTo>
                        <a:lnTo>
                          <a:pt x="2581" y="888"/>
                        </a:lnTo>
                        <a:lnTo>
                          <a:pt x="2581" y="894"/>
                        </a:lnTo>
                        <a:lnTo>
                          <a:pt x="2587" y="899"/>
                        </a:lnTo>
                        <a:lnTo>
                          <a:pt x="2585" y="907"/>
                        </a:lnTo>
                        <a:lnTo>
                          <a:pt x="2590" y="921"/>
                        </a:lnTo>
                        <a:lnTo>
                          <a:pt x="2594" y="938"/>
                        </a:lnTo>
                        <a:lnTo>
                          <a:pt x="2598" y="953"/>
                        </a:lnTo>
                        <a:lnTo>
                          <a:pt x="2598" y="959"/>
                        </a:lnTo>
                        <a:lnTo>
                          <a:pt x="2598" y="976"/>
                        </a:lnTo>
                        <a:lnTo>
                          <a:pt x="2602" y="984"/>
                        </a:lnTo>
                        <a:lnTo>
                          <a:pt x="2606" y="995"/>
                        </a:lnTo>
                        <a:lnTo>
                          <a:pt x="2612" y="1015"/>
                        </a:lnTo>
                        <a:lnTo>
                          <a:pt x="2612" y="1024"/>
                        </a:lnTo>
                        <a:lnTo>
                          <a:pt x="2615" y="1043"/>
                        </a:lnTo>
                        <a:lnTo>
                          <a:pt x="2617" y="1049"/>
                        </a:lnTo>
                        <a:lnTo>
                          <a:pt x="2623" y="1055"/>
                        </a:lnTo>
                        <a:lnTo>
                          <a:pt x="2627" y="1059"/>
                        </a:lnTo>
                        <a:lnTo>
                          <a:pt x="2625" y="1065"/>
                        </a:lnTo>
                        <a:lnTo>
                          <a:pt x="2619" y="1072"/>
                        </a:lnTo>
                        <a:lnTo>
                          <a:pt x="2629" y="1076"/>
                        </a:lnTo>
                        <a:lnTo>
                          <a:pt x="2636" y="1089"/>
                        </a:lnTo>
                        <a:lnTo>
                          <a:pt x="2636" y="1095"/>
                        </a:lnTo>
                        <a:lnTo>
                          <a:pt x="2633" y="1111"/>
                        </a:lnTo>
                        <a:lnTo>
                          <a:pt x="2633" y="1111"/>
                        </a:lnTo>
                        <a:lnTo>
                          <a:pt x="2621" y="1114"/>
                        </a:lnTo>
                        <a:lnTo>
                          <a:pt x="2633" y="1111"/>
                        </a:lnTo>
                        <a:lnTo>
                          <a:pt x="2631" y="1141"/>
                        </a:lnTo>
                        <a:lnTo>
                          <a:pt x="2638" y="1164"/>
                        </a:lnTo>
                        <a:lnTo>
                          <a:pt x="2640" y="1174"/>
                        </a:lnTo>
                        <a:lnTo>
                          <a:pt x="2642" y="1185"/>
                        </a:lnTo>
                        <a:lnTo>
                          <a:pt x="2644" y="1191"/>
                        </a:lnTo>
                        <a:lnTo>
                          <a:pt x="2650" y="1203"/>
                        </a:lnTo>
                        <a:lnTo>
                          <a:pt x="2650" y="1208"/>
                        </a:lnTo>
                        <a:lnTo>
                          <a:pt x="2646" y="1216"/>
                        </a:lnTo>
                        <a:lnTo>
                          <a:pt x="2646" y="1228"/>
                        </a:lnTo>
                        <a:lnTo>
                          <a:pt x="2642" y="1237"/>
                        </a:lnTo>
                        <a:lnTo>
                          <a:pt x="2644" y="1239"/>
                        </a:lnTo>
                        <a:lnTo>
                          <a:pt x="2646" y="1239"/>
                        </a:lnTo>
                        <a:lnTo>
                          <a:pt x="2650" y="1239"/>
                        </a:lnTo>
                        <a:lnTo>
                          <a:pt x="2650" y="1233"/>
                        </a:lnTo>
                        <a:lnTo>
                          <a:pt x="2652" y="1228"/>
                        </a:lnTo>
                        <a:lnTo>
                          <a:pt x="2656" y="1218"/>
                        </a:lnTo>
                        <a:lnTo>
                          <a:pt x="2658" y="1218"/>
                        </a:lnTo>
                        <a:lnTo>
                          <a:pt x="2658" y="1235"/>
                        </a:lnTo>
                        <a:lnTo>
                          <a:pt x="2658" y="1243"/>
                        </a:lnTo>
                        <a:lnTo>
                          <a:pt x="2661" y="1249"/>
                        </a:lnTo>
                        <a:lnTo>
                          <a:pt x="2659" y="1270"/>
                        </a:lnTo>
                        <a:lnTo>
                          <a:pt x="2658" y="1316"/>
                        </a:lnTo>
                        <a:lnTo>
                          <a:pt x="2656" y="1320"/>
                        </a:lnTo>
                        <a:lnTo>
                          <a:pt x="2656" y="1322"/>
                        </a:lnTo>
                        <a:lnTo>
                          <a:pt x="2656" y="1322"/>
                        </a:lnTo>
                        <a:lnTo>
                          <a:pt x="2656" y="1322"/>
                        </a:lnTo>
                        <a:lnTo>
                          <a:pt x="2652" y="1329"/>
                        </a:lnTo>
                        <a:lnTo>
                          <a:pt x="2654" y="1343"/>
                        </a:lnTo>
                        <a:lnTo>
                          <a:pt x="2652" y="1345"/>
                        </a:lnTo>
                        <a:lnTo>
                          <a:pt x="2650" y="1345"/>
                        </a:lnTo>
                        <a:lnTo>
                          <a:pt x="2648" y="1335"/>
                        </a:lnTo>
                        <a:lnTo>
                          <a:pt x="2642" y="1333"/>
                        </a:lnTo>
                        <a:lnTo>
                          <a:pt x="2642" y="1341"/>
                        </a:lnTo>
                        <a:lnTo>
                          <a:pt x="2642" y="1352"/>
                        </a:lnTo>
                        <a:lnTo>
                          <a:pt x="2638" y="1364"/>
                        </a:lnTo>
                        <a:lnTo>
                          <a:pt x="2638" y="1368"/>
                        </a:lnTo>
                        <a:lnTo>
                          <a:pt x="2644" y="1381"/>
                        </a:lnTo>
                        <a:lnTo>
                          <a:pt x="2642" y="1398"/>
                        </a:lnTo>
                        <a:lnTo>
                          <a:pt x="2650" y="1385"/>
                        </a:lnTo>
                        <a:lnTo>
                          <a:pt x="2654" y="1387"/>
                        </a:lnTo>
                        <a:lnTo>
                          <a:pt x="2654" y="1391"/>
                        </a:lnTo>
                        <a:lnTo>
                          <a:pt x="2646" y="1416"/>
                        </a:lnTo>
                        <a:lnTo>
                          <a:pt x="2640" y="1423"/>
                        </a:lnTo>
                        <a:lnTo>
                          <a:pt x="2638" y="1427"/>
                        </a:lnTo>
                        <a:lnTo>
                          <a:pt x="2631" y="1441"/>
                        </a:lnTo>
                        <a:lnTo>
                          <a:pt x="2621" y="1460"/>
                        </a:lnTo>
                        <a:lnTo>
                          <a:pt x="2621" y="1464"/>
                        </a:lnTo>
                        <a:lnTo>
                          <a:pt x="2623" y="1471"/>
                        </a:lnTo>
                        <a:lnTo>
                          <a:pt x="2617" y="1479"/>
                        </a:lnTo>
                        <a:lnTo>
                          <a:pt x="2621" y="1485"/>
                        </a:lnTo>
                        <a:lnTo>
                          <a:pt x="2621" y="1489"/>
                        </a:lnTo>
                        <a:lnTo>
                          <a:pt x="2615" y="1496"/>
                        </a:lnTo>
                        <a:lnTo>
                          <a:pt x="2610" y="1510"/>
                        </a:lnTo>
                        <a:lnTo>
                          <a:pt x="2608" y="1523"/>
                        </a:lnTo>
                        <a:lnTo>
                          <a:pt x="2602" y="1525"/>
                        </a:lnTo>
                        <a:lnTo>
                          <a:pt x="2592" y="1527"/>
                        </a:lnTo>
                        <a:lnTo>
                          <a:pt x="2592" y="1533"/>
                        </a:lnTo>
                        <a:lnTo>
                          <a:pt x="2592" y="1538"/>
                        </a:lnTo>
                        <a:lnTo>
                          <a:pt x="2588" y="1538"/>
                        </a:lnTo>
                        <a:lnTo>
                          <a:pt x="2585" y="1538"/>
                        </a:lnTo>
                        <a:lnTo>
                          <a:pt x="2583" y="1540"/>
                        </a:lnTo>
                        <a:lnTo>
                          <a:pt x="2583" y="1546"/>
                        </a:lnTo>
                        <a:lnTo>
                          <a:pt x="2585" y="1550"/>
                        </a:lnTo>
                        <a:lnTo>
                          <a:pt x="2587" y="1552"/>
                        </a:lnTo>
                        <a:lnTo>
                          <a:pt x="2588" y="1556"/>
                        </a:lnTo>
                        <a:lnTo>
                          <a:pt x="2581" y="1569"/>
                        </a:lnTo>
                        <a:lnTo>
                          <a:pt x="2579" y="1577"/>
                        </a:lnTo>
                        <a:lnTo>
                          <a:pt x="2581" y="1585"/>
                        </a:lnTo>
                        <a:lnTo>
                          <a:pt x="2581" y="1585"/>
                        </a:lnTo>
                        <a:lnTo>
                          <a:pt x="2577" y="1583"/>
                        </a:lnTo>
                        <a:lnTo>
                          <a:pt x="2581" y="1585"/>
                        </a:lnTo>
                        <a:lnTo>
                          <a:pt x="2581" y="1592"/>
                        </a:lnTo>
                        <a:lnTo>
                          <a:pt x="2581" y="1600"/>
                        </a:lnTo>
                        <a:lnTo>
                          <a:pt x="2577" y="1609"/>
                        </a:lnTo>
                        <a:lnTo>
                          <a:pt x="2571" y="1617"/>
                        </a:lnTo>
                        <a:lnTo>
                          <a:pt x="2564" y="1629"/>
                        </a:lnTo>
                        <a:lnTo>
                          <a:pt x="2554" y="1642"/>
                        </a:lnTo>
                        <a:lnTo>
                          <a:pt x="2548" y="1654"/>
                        </a:lnTo>
                        <a:lnTo>
                          <a:pt x="2546" y="1657"/>
                        </a:lnTo>
                        <a:lnTo>
                          <a:pt x="2544" y="1659"/>
                        </a:lnTo>
                        <a:lnTo>
                          <a:pt x="2541" y="1663"/>
                        </a:lnTo>
                        <a:lnTo>
                          <a:pt x="2539" y="1667"/>
                        </a:lnTo>
                        <a:lnTo>
                          <a:pt x="2537" y="1671"/>
                        </a:lnTo>
                        <a:lnTo>
                          <a:pt x="2533" y="1675"/>
                        </a:lnTo>
                        <a:lnTo>
                          <a:pt x="2529" y="1677"/>
                        </a:lnTo>
                        <a:lnTo>
                          <a:pt x="2521" y="1680"/>
                        </a:lnTo>
                        <a:lnTo>
                          <a:pt x="2517" y="1686"/>
                        </a:lnTo>
                        <a:lnTo>
                          <a:pt x="2512" y="1692"/>
                        </a:lnTo>
                        <a:lnTo>
                          <a:pt x="2510" y="1694"/>
                        </a:lnTo>
                        <a:lnTo>
                          <a:pt x="2504" y="1694"/>
                        </a:lnTo>
                        <a:lnTo>
                          <a:pt x="2502" y="1705"/>
                        </a:lnTo>
                        <a:lnTo>
                          <a:pt x="2483" y="1725"/>
                        </a:lnTo>
                        <a:lnTo>
                          <a:pt x="2471" y="1740"/>
                        </a:lnTo>
                        <a:lnTo>
                          <a:pt x="2470" y="1748"/>
                        </a:lnTo>
                        <a:lnTo>
                          <a:pt x="2468" y="1750"/>
                        </a:lnTo>
                        <a:lnTo>
                          <a:pt x="2452" y="1751"/>
                        </a:lnTo>
                        <a:lnTo>
                          <a:pt x="2450" y="1750"/>
                        </a:lnTo>
                        <a:lnTo>
                          <a:pt x="2452" y="1742"/>
                        </a:lnTo>
                        <a:lnTo>
                          <a:pt x="2450" y="1742"/>
                        </a:lnTo>
                        <a:lnTo>
                          <a:pt x="2448" y="1746"/>
                        </a:lnTo>
                        <a:lnTo>
                          <a:pt x="2441" y="1751"/>
                        </a:lnTo>
                        <a:lnTo>
                          <a:pt x="2433" y="1755"/>
                        </a:lnTo>
                        <a:lnTo>
                          <a:pt x="2433" y="1759"/>
                        </a:lnTo>
                        <a:lnTo>
                          <a:pt x="2443" y="1755"/>
                        </a:lnTo>
                        <a:lnTo>
                          <a:pt x="2445" y="1759"/>
                        </a:lnTo>
                        <a:lnTo>
                          <a:pt x="2433" y="1769"/>
                        </a:lnTo>
                        <a:lnTo>
                          <a:pt x="2429" y="1774"/>
                        </a:lnTo>
                        <a:lnTo>
                          <a:pt x="2425" y="1776"/>
                        </a:lnTo>
                        <a:lnTo>
                          <a:pt x="2422" y="1774"/>
                        </a:lnTo>
                        <a:lnTo>
                          <a:pt x="2420" y="1773"/>
                        </a:lnTo>
                        <a:lnTo>
                          <a:pt x="2416" y="1773"/>
                        </a:lnTo>
                        <a:lnTo>
                          <a:pt x="2412" y="1771"/>
                        </a:lnTo>
                        <a:lnTo>
                          <a:pt x="2410" y="1774"/>
                        </a:lnTo>
                        <a:lnTo>
                          <a:pt x="2410" y="1776"/>
                        </a:lnTo>
                        <a:lnTo>
                          <a:pt x="2414" y="1776"/>
                        </a:lnTo>
                        <a:lnTo>
                          <a:pt x="2418" y="1776"/>
                        </a:lnTo>
                        <a:lnTo>
                          <a:pt x="2422" y="1776"/>
                        </a:lnTo>
                        <a:lnTo>
                          <a:pt x="2425" y="1780"/>
                        </a:lnTo>
                        <a:lnTo>
                          <a:pt x="2423" y="1786"/>
                        </a:lnTo>
                        <a:lnTo>
                          <a:pt x="2422" y="1788"/>
                        </a:lnTo>
                        <a:lnTo>
                          <a:pt x="2418" y="1790"/>
                        </a:lnTo>
                        <a:lnTo>
                          <a:pt x="2414" y="1794"/>
                        </a:lnTo>
                        <a:lnTo>
                          <a:pt x="2406" y="1799"/>
                        </a:lnTo>
                        <a:lnTo>
                          <a:pt x="2399" y="1815"/>
                        </a:lnTo>
                        <a:lnTo>
                          <a:pt x="2395" y="1819"/>
                        </a:lnTo>
                        <a:lnTo>
                          <a:pt x="2385" y="1822"/>
                        </a:lnTo>
                        <a:lnTo>
                          <a:pt x="2377" y="1830"/>
                        </a:lnTo>
                        <a:lnTo>
                          <a:pt x="2374" y="1832"/>
                        </a:lnTo>
                        <a:lnTo>
                          <a:pt x="2372" y="1832"/>
                        </a:lnTo>
                        <a:lnTo>
                          <a:pt x="2366" y="1832"/>
                        </a:lnTo>
                        <a:lnTo>
                          <a:pt x="2356" y="1845"/>
                        </a:lnTo>
                        <a:lnTo>
                          <a:pt x="2347" y="1855"/>
                        </a:lnTo>
                        <a:lnTo>
                          <a:pt x="2345" y="1859"/>
                        </a:lnTo>
                        <a:lnTo>
                          <a:pt x="2343" y="1870"/>
                        </a:lnTo>
                        <a:lnTo>
                          <a:pt x="2331" y="1880"/>
                        </a:lnTo>
                        <a:lnTo>
                          <a:pt x="2324" y="1890"/>
                        </a:lnTo>
                        <a:lnTo>
                          <a:pt x="2320" y="1888"/>
                        </a:lnTo>
                        <a:lnTo>
                          <a:pt x="2320" y="1882"/>
                        </a:lnTo>
                        <a:lnTo>
                          <a:pt x="2318" y="1882"/>
                        </a:lnTo>
                        <a:lnTo>
                          <a:pt x="2318" y="1882"/>
                        </a:lnTo>
                        <a:lnTo>
                          <a:pt x="2320" y="1892"/>
                        </a:lnTo>
                        <a:lnTo>
                          <a:pt x="2320" y="1897"/>
                        </a:lnTo>
                        <a:lnTo>
                          <a:pt x="2316" y="1899"/>
                        </a:lnTo>
                        <a:lnTo>
                          <a:pt x="2310" y="1901"/>
                        </a:lnTo>
                        <a:lnTo>
                          <a:pt x="2308" y="1901"/>
                        </a:lnTo>
                        <a:lnTo>
                          <a:pt x="2306" y="1897"/>
                        </a:lnTo>
                        <a:lnTo>
                          <a:pt x="2303" y="1895"/>
                        </a:lnTo>
                        <a:lnTo>
                          <a:pt x="2295" y="1903"/>
                        </a:lnTo>
                        <a:lnTo>
                          <a:pt x="2283" y="1905"/>
                        </a:lnTo>
                        <a:lnTo>
                          <a:pt x="2283" y="1907"/>
                        </a:lnTo>
                        <a:lnTo>
                          <a:pt x="2285" y="1907"/>
                        </a:lnTo>
                        <a:lnTo>
                          <a:pt x="2301" y="1903"/>
                        </a:lnTo>
                        <a:lnTo>
                          <a:pt x="2301" y="1905"/>
                        </a:lnTo>
                        <a:lnTo>
                          <a:pt x="2299" y="1907"/>
                        </a:lnTo>
                        <a:lnTo>
                          <a:pt x="2264" y="1916"/>
                        </a:lnTo>
                        <a:lnTo>
                          <a:pt x="2243" y="1926"/>
                        </a:lnTo>
                        <a:lnTo>
                          <a:pt x="2237" y="1932"/>
                        </a:lnTo>
                        <a:lnTo>
                          <a:pt x="2214" y="1943"/>
                        </a:lnTo>
                        <a:lnTo>
                          <a:pt x="2207" y="1953"/>
                        </a:lnTo>
                        <a:lnTo>
                          <a:pt x="2207" y="1955"/>
                        </a:lnTo>
                        <a:lnTo>
                          <a:pt x="2203" y="1957"/>
                        </a:lnTo>
                        <a:lnTo>
                          <a:pt x="2201" y="1957"/>
                        </a:lnTo>
                        <a:lnTo>
                          <a:pt x="2203" y="1953"/>
                        </a:lnTo>
                        <a:lnTo>
                          <a:pt x="2197" y="1949"/>
                        </a:lnTo>
                        <a:lnTo>
                          <a:pt x="2195" y="1947"/>
                        </a:lnTo>
                        <a:lnTo>
                          <a:pt x="2195" y="1940"/>
                        </a:lnTo>
                        <a:lnTo>
                          <a:pt x="2186" y="1938"/>
                        </a:lnTo>
                        <a:lnTo>
                          <a:pt x="2180" y="1936"/>
                        </a:lnTo>
                        <a:lnTo>
                          <a:pt x="2180" y="1940"/>
                        </a:lnTo>
                        <a:lnTo>
                          <a:pt x="2186" y="1943"/>
                        </a:lnTo>
                        <a:lnTo>
                          <a:pt x="2187" y="1947"/>
                        </a:lnTo>
                        <a:lnTo>
                          <a:pt x="2186" y="1949"/>
                        </a:lnTo>
                        <a:lnTo>
                          <a:pt x="2182" y="1951"/>
                        </a:lnTo>
                        <a:lnTo>
                          <a:pt x="2182" y="1953"/>
                        </a:lnTo>
                        <a:lnTo>
                          <a:pt x="2182" y="1957"/>
                        </a:lnTo>
                        <a:lnTo>
                          <a:pt x="2195" y="1964"/>
                        </a:lnTo>
                        <a:lnTo>
                          <a:pt x="2195" y="1970"/>
                        </a:lnTo>
                        <a:lnTo>
                          <a:pt x="2193" y="1976"/>
                        </a:lnTo>
                        <a:lnTo>
                          <a:pt x="2199" y="1978"/>
                        </a:lnTo>
                        <a:lnTo>
                          <a:pt x="2199" y="1982"/>
                        </a:lnTo>
                        <a:lnTo>
                          <a:pt x="2197" y="1984"/>
                        </a:lnTo>
                        <a:lnTo>
                          <a:pt x="2189" y="1989"/>
                        </a:lnTo>
                        <a:lnTo>
                          <a:pt x="2184" y="2001"/>
                        </a:lnTo>
                        <a:lnTo>
                          <a:pt x="2180" y="2003"/>
                        </a:lnTo>
                        <a:lnTo>
                          <a:pt x="2176" y="2003"/>
                        </a:lnTo>
                        <a:lnTo>
                          <a:pt x="2176" y="2001"/>
                        </a:lnTo>
                        <a:lnTo>
                          <a:pt x="2176" y="1995"/>
                        </a:lnTo>
                        <a:lnTo>
                          <a:pt x="2180" y="1991"/>
                        </a:lnTo>
                        <a:lnTo>
                          <a:pt x="2180" y="1989"/>
                        </a:lnTo>
                        <a:lnTo>
                          <a:pt x="2176" y="1989"/>
                        </a:lnTo>
                        <a:lnTo>
                          <a:pt x="2174" y="1993"/>
                        </a:lnTo>
                        <a:lnTo>
                          <a:pt x="2170" y="1995"/>
                        </a:lnTo>
                        <a:lnTo>
                          <a:pt x="2164" y="1995"/>
                        </a:lnTo>
                        <a:lnTo>
                          <a:pt x="2159" y="1991"/>
                        </a:lnTo>
                        <a:lnTo>
                          <a:pt x="2155" y="1991"/>
                        </a:lnTo>
                        <a:lnTo>
                          <a:pt x="2151" y="1993"/>
                        </a:lnTo>
                        <a:lnTo>
                          <a:pt x="2153" y="1995"/>
                        </a:lnTo>
                        <a:lnTo>
                          <a:pt x="2161" y="1999"/>
                        </a:lnTo>
                        <a:lnTo>
                          <a:pt x="2162" y="2001"/>
                        </a:lnTo>
                        <a:lnTo>
                          <a:pt x="2161" y="2005"/>
                        </a:lnTo>
                        <a:lnTo>
                          <a:pt x="2164" y="2007"/>
                        </a:lnTo>
                        <a:lnTo>
                          <a:pt x="2168" y="2009"/>
                        </a:lnTo>
                        <a:lnTo>
                          <a:pt x="2170" y="2014"/>
                        </a:lnTo>
                        <a:lnTo>
                          <a:pt x="2174" y="2014"/>
                        </a:lnTo>
                        <a:lnTo>
                          <a:pt x="2176" y="2018"/>
                        </a:lnTo>
                        <a:lnTo>
                          <a:pt x="2166" y="2028"/>
                        </a:lnTo>
                        <a:lnTo>
                          <a:pt x="2155" y="2032"/>
                        </a:lnTo>
                        <a:lnTo>
                          <a:pt x="2151" y="2035"/>
                        </a:lnTo>
                        <a:lnTo>
                          <a:pt x="2145" y="2045"/>
                        </a:lnTo>
                        <a:lnTo>
                          <a:pt x="2139" y="2060"/>
                        </a:lnTo>
                        <a:lnTo>
                          <a:pt x="2136" y="2064"/>
                        </a:lnTo>
                        <a:lnTo>
                          <a:pt x="2128" y="2066"/>
                        </a:lnTo>
                        <a:lnTo>
                          <a:pt x="2126" y="2062"/>
                        </a:lnTo>
                        <a:lnTo>
                          <a:pt x="2128" y="2055"/>
                        </a:lnTo>
                        <a:lnTo>
                          <a:pt x="2143" y="2035"/>
                        </a:lnTo>
                        <a:lnTo>
                          <a:pt x="2143" y="2030"/>
                        </a:lnTo>
                        <a:lnTo>
                          <a:pt x="2141" y="2030"/>
                        </a:lnTo>
                        <a:lnTo>
                          <a:pt x="2134" y="2039"/>
                        </a:lnTo>
                        <a:lnTo>
                          <a:pt x="2124" y="2039"/>
                        </a:lnTo>
                        <a:lnTo>
                          <a:pt x="2126" y="2051"/>
                        </a:lnTo>
                        <a:lnTo>
                          <a:pt x="2124" y="2053"/>
                        </a:lnTo>
                        <a:lnTo>
                          <a:pt x="2116" y="2057"/>
                        </a:lnTo>
                        <a:lnTo>
                          <a:pt x="2116" y="2058"/>
                        </a:lnTo>
                        <a:lnTo>
                          <a:pt x="2120" y="2066"/>
                        </a:lnTo>
                        <a:lnTo>
                          <a:pt x="2120" y="2070"/>
                        </a:lnTo>
                        <a:lnTo>
                          <a:pt x="2122" y="2076"/>
                        </a:lnTo>
                        <a:lnTo>
                          <a:pt x="2113" y="2085"/>
                        </a:lnTo>
                        <a:lnTo>
                          <a:pt x="2099" y="2089"/>
                        </a:lnTo>
                        <a:lnTo>
                          <a:pt x="2097" y="2093"/>
                        </a:lnTo>
                        <a:lnTo>
                          <a:pt x="2097" y="2093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6" name="Freeform 9"/>
                  <p:cNvSpPr>
                    <a:spLocks/>
                  </p:cNvSpPr>
                  <p:nvPr/>
                </p:nvSpPr>
                <p:spPr bwMode="auto">
                  <a:xfrm>
                    <a:off x="10902950" y="1557337"/>
                    <a:ext cx="12700" cy="31750"/>
                  </a:xfrm>
                  <a:custGeom>
                    <a:avLst/>
                    <a:gdLst/>
                    <a:ahLst/>
                    <a:cxnLst>
                      <a:cxn ang="0">
                        <a:pos x="4" y="2"/>
                      </a:cxn>
                      <a:cxn ang="0">
                        <a:pos x="8" y="0"/>
                      </a:cxn>
                      <a:cxn ang="0">
                        <a:pos x="8" y="6"/>
                      </a:cxn>
                      <a:cxn ang="0">
                        <a:pos x="4" y="16"/>
                      </a:cxn>
                      <a:cxn ang="0">
                        <a:pos x="2" y="20"/>
                      </a:cxn>
                      <a:cxn ang="0">
                        <a:pos x="0" y="18"/>
                      </a:cxn>
                      <a:cxn ang="0">
                        <a:pos x="2" y="10"/>
                      </a:cxn>
                      <a:cxn ang="0">
                        <a:pos x="4" y="2"/>
                      </a:cxn>
                    </a:cxnLst>
                    <a:rect l="0" t="0" r="r" b="b"/>
                    <a:pathLst>
                      <a:path w="8" h="20">
                        <a:moveTo>
                          <a:pt x="4" y="2"/>
                        </a:moveTo>
                        <a:lnTo>
                          <a:pt x="8" y="0"/>
                        </a:lnTo>
                        <a:lnTo>
                          <a:pt x="8" y="6"/>
                        </a:lnTo>
                        <a:lnTo>
                          <a:pt x="4" y="16"/>
                        </a:lnTo>
                        <a:lnTo>
                          <a:pt x="2" y="20"/>
                        </a:lnTo>
                        <a:lnTo>
                          <a:pt x="0" y="18"/>
                        </a:lnTo>
                        <a:lnTo>
                          <a:pt x="2" y="10"/>
                        </a:lnTo>
                        <a:lnTo>
                          <a:pt x="4" y="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7" name="Freeform 10"/>
                  <p:cNvSpPr>
                    <a:spLocks/>
                  </p:cNvSpPr>
                  <p:nvPr/>
                </p:nvSpPr>
                <p:spPr bwMode="auto">
                  <a:xfrm>
                    <a:off x="10902950" y="1536700"/>
                    <a:ext cx="6350" cy="9525"/>
                  </a:xfrm>
                  <a:custGeom>
                    <a:avLst/>
                    <a:gdLst/>
                    <a:ahLst/>
                    <a:cxnLst>
                      <a:cxn ang="0">
                        <a:pos x="2" y="0"/>
                      </a:cxn>
                      <a:cxn ang="0">
                        <a:pos x="4" y="0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</a:cxnLst>
                    <a:rect l="0" t="0" r="r" b="b"/>
                    <a:pathLst>
                      <a:path w="4" h="6">
                        <a:moveTo>
                          <a:pt x="2" y="0"/>
                        </a:moveTo>
                        <a:lnTo>
                          <a:pt x="4" y="0"/>
                        </a:lnTo>
                        <a:lnTo>
                          <a:pt x="4" y="4"/>
                        </a:lnTo>
                        <a:lnTo>
                          <a:pt x="2" y="6"/>
                        </a:lnTo>
                        <a:lnTo>
                          <a:pt x="0" y="4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" name="Freeform 11"/>
                  <p:cNvSpPr>
                    <a:spLocks/>
                  </p:cNvSpPr>
                  <p:nvPr/>
                </p:nvSpPr>
                <p:spPr bwMode="auto">
                  <a:xfrm>
                    <a:off x="10199688" y="2492375"/>
                    <a:ext cx="46038" cy="46038"/>
                  </a:xfrm>
                  <a:custGeom>
                    <a:avLst/>
                    <a:gdLst/>
                    <a:ahLst/>
                    <a:cxnLst>
                      <a:cxn ang="0">
                        <a:pos x="0" y="25"/>
                      </a:cxn>
                      <a:cxn ang="0">
                        <a:pos x="9" y="14"/>
                      </a:cxn>
                      <a:cxn ang="0">
                        <a:pos x="11" y="10"/>
                      </a:cxn>
                      <a:cxn ang="0">
                        <a:pos x="21" y="2"/>
                      </a:cxn>
                      <a:cxn ang="0">
                        <a:pos x="29" y="0"/>
                      </a:cxn>
                      <a:cxn ang="0">
                        <a:pos x="29" y="2"/>
                      </a:cxn>
                      <a:cxn ang="0">
                        <a:pos x="27" y="6"/>
                      </a:cxn>
                      <a:cxn ang="0">
                        <a:pos x="13" y="14"/>
                      </a:cxn>
                      <a:cxn ang="0">
                        <a:pos x="8" y="23"/>
                      </a:cxn>
                      <a:cxn ang="0">
                        <a:pos x="4" y="29"/>
                      </a:cxn>
                      <a:cxn ang="0">
                        <a:pos x="0" y="29"/>
                      </a:cxn>
                      <a:cxn ang="0">
                        <a:pos x="0" y="25"/>
                      </a:cxn>
                    </a:cxnLst>
                    <a:rect l="0" t="0" r="r" b="b"/>
                    <a:pathLst>
                      <a:path w="29" h="29">
                        <a:moveTo>
                          <a:pt x="0" y="25"/>
                        </a:moveTo>
                        <a:lnTo>
                          <a:pt x="9" y="14"/>
                        </a:lnTo>
                        <a:lnTo>
                          <a:pt x="11" y="10"/>
                        </a:lnTo>
                        <a:lnTo>
                          <a:pt x="21" y="2"/>
                        </a:lnTo>
                        <a:lnTo>
                          <a:pt x="29" y="0"/>
                        </a:lnTo>
                        <a:lnTo>
                          <a:pt x="29" y="2"/>
                        </a:lnTo>
                        <a:lnTo>
                          <a:pt x="27" y="6"/>
                        </a:lnTo>
                        <a:lnTo>
                          <a:pt x="13" y="14"/>
                        </a:lnTo>
                        <a:lnTo>
                          <a:pt x="8" y="23"/>
                        </a:lnTo>
                        <a:lnTo>
                          <a:pt x="4" y="29"/>
                        </a:lnTo>
                        <a:lnTo>
                          <a:pt x="0" y="29"/>
                        </a:lnTo>
                        <a:lnTo>
                          <a:pt x="0" y="2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9" name="Freeform 12"/>
                  <p:cNvSpPr>
                    <a:spLocks/>
                  </p:cNvSpPr>
                  <p:nvPr/>
                </p:nvSpPr>
                <p:spPr bwMode="auto">
                  <a:xfrm>
                    <a:off x="8267700" y="-196850"/>
                    <a:ext cx="25400" cy="20638"/>
                  </a:xfrm>
                  <a:custGeom>
                    <a:avLst/>
                    <a:gdLst/>
                    <a:ahLst/>
                    <a:cxnLst>
                      <a:cxn ang="0">
                        <a:pos x="14" y="12"/>
                      </a:cxn>
                      <a:cxn ang="0">
                        <a:pos x="14" y="6"/>
                      </a:cxn>
                      <a:cxn ang="0">
                        <a:pos x="16" y="4"/>
                      </a:cxn>
                      <a:cxn ang="0">
                        <a:pos x="16" y="0"/>
                      </a:cxn>
                      <a:cxn ang="0">
                        <a:pos x="6" y="2"/>
                      </a:cxn>
                      <a:cxn ang="0">
                        <a:pos x="0" y="4"/>
                      </a:cxn>
                      <a:cxn ang="0">
                        <a:pos x="0" y="6"/>
                      </a:cxn>
                      <a:cxn ang="0">
                        <a:pos x="0" y="8"/>
                      </a:cxn>
                      <a:cxn ang="0">
                        <a:pos x="10" y="13"/>
                      </a:cxn>
                      <a:cxn ang="0">
                        <a:pos x="14" y="12"/>
                      </a:cxn>
                    </a:cxnLst>
                    <a:rect l="0" t="0" r="r" b="b"/>
                    <a:pathLst>
                      <a:path w="16" h="13">
                        <a:moveTo>
                          <a:pt x="14" y="12"/>
                        </a:moveTo>
                        <a:lnTo>
                          <a:pt x="14" y="6"/>
                        </a:lnTo>
                        <a:lnTo>
                          <a:pt x="16" y="4"/>
                        </a:lnTo>
                        <a:lnTo>
                          <a:pt x="16" y="0"/>
                        </a:lnTo>
                        <a:lnTo>
                          <a:pt x="6" y="2"/>
                        </a:lnTo>
                        <a:lnTo>
                          <a:pt x="0" y="4"/>
                        </a:lnTo>
                        <a:lnTo>
                          <a:pt x="0" y="6"/>
                        </a:lnTo>
                        <a:lnTo>
                          <a:pt x="0" y="8"/>
                        </a:lnTo>
                        <a:lnTo>
                          <a:pt x="10" y="13"/>
                        </a:lnTo>
                        <a:lnTo>
                          <a:pt x="14" y="1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0" name="Freeform 13"/>
                  <p:cNvSpPr>
                    <a:spLocks/>
                  </p:cNvSpPr>
                  <p:nvPr/>
                </p:nvSpPr>
                <p:spPr bwMode="auto">
                  <a:xfrm>
                    <a:off x="8231188" y="-227013"/>
                    <a:ext cx="36513" cy="53975"/>
                  </a:xfrm>
                  <a:custGeom>
                    <a:avLst/>
                    <a:gdLst/>
                    <a:ahLst/>
                    <a:cxnLst>
                      <a:cxn ang="0">
                        <a:pos x="2" y="32"/>
                      </a:cxn>
                      <a:cxn ang="0">
                        <a:pos x="4" y="34"/>
                      </a:cxn>
                      <a:cxn ang="0">
                        <a:pos x="8" y="31"/>
                      </a:cxn>
                      <a:cxn ang="0">
                        <a:pos x="16" y="31"/>
                      </a:cxn>
                      <a:cxn ang="0">
                        <a:pos x="21" y="17"/>
                      </a:cxn>
                      <a:cxn ang="0">
                        <a:pos x="23" y="11"/>
                      </a:cxn>
                      <a:cxn ang="0">
                        <a:pos x="21" y="9"/>
                      </a:cxn>
                      <a:cxn ang="0">
                        <a:pos x="18" y="9"/>
                      </a:cxn>
                      <a:cxn ang="0">
                        <a:pos x="14" y="15"/>
                      </a:cxn>
                      <a:cxn ang="0">
                        <a:pos x="12" y="15"/>
                      </a:cxn>
                      <a:cxn ang="0">
                        <a:pos x="10" y="13"/>
                      </a:cxn>
                      <a:cxn ang="0">
                        <a:pos x="14" y="8"/>
                      </a:cxn>
                      <a:cxn ang="0">
                        <a:pos x="23" y="4"/>
                      </a:cxn>
                      <a:cxn ang="0">
                        <a:pos x="23" y="0"/>
                      </a:cxn>
                      <a:cxn ang="0">
                        <a:pos x="16" y="0"/>
                      </a:cxn>
                      <a:cxn ang="0">
                        <a:pos x="8" y="6"/>
                      </a:cxn>
                      <a:cxn ang="0">
                        <a:pos x="0" y="9"/>
                      </a:cxn>
                      <a:cxn ang="0">
                        <a:pos x="0" y="15"/>
                      </a:cxn>
                      <a:cxn ang="0">
                        <a:pos x="2" y="32"/>
                      </a:cxn>
                    </a:cxnLst>
                    <a:rect l="0" t="0" r="r" b="b"/>
                    <a:pathLst>
                      <a:path w="23" h="34">
                        <a:moveTo>
                          <a:pt x="2" y="32"/>
                        </a:moveTo>
                        <a:lnTo>
                          <a:pt x="4" y="34"/>
                        </a:lnTo>
                        <a:lnTo>
                          <a:pt x="8" y="31"/>
                        </a:lnTo>
                        <a:lnTo>
                          <a:pt x="16" y="31"/>
                        </a:lnTo>
                        <a:lnTo>
                          <a:pt x="21" y="17"/>
                        </a:lnTo>
                        <a:lnTo>
                          <a:pt x="23" y="11"/>
                        </a:lnTo>
                        <a:lnTo>
                          <a:pt x="21" y="9"/>
                        </a:lnTo>
                        <a:lnTo>
                          <a:pt x="18" y="9"/>
                        </a:lnTo>
                        <a:lnTo>
                          <a:pt x="14" y="15"/>
                        </a:lnTo>
                        <a:lnTo>
                          <a:pt x="12" y="15"/>
                        </a:lnTo>
                        <a:lnTo>
                          <a:pt x="10" y="13"/>
                        </a:lnTo>
                        <a:lnTo>
                          <a:pt x="14" y="8"/>
                        </a:lnTo>
                        <a:lnTo>
                          <a:pt x="23" y="4"/>
                        </a:lnTo>
                        <a:lnTo>
                          <a:pt x="23" y="0"/>
                        </a:lnTo>
                        <a:lnTo>
                          <a:pt x="16" y="0"/>
                        </a:lnTo>
                        <a:lnTo>
                          <a:pt x="8" y="6"/>
                        </a:lnTo>
                        <a:lnTo>
                          <a:pt x="0" y="9"/>
                        </a:lnTo>
                        <a:lnTo>
                          <a:pt x="0" y="15"/>
                        </a:lnTo>
                        <a:lnTo>
                          <a:pt x="2" y="3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1" name="Freeform 14"/>
                  <p:cNvSpPr>
                    <a:spLocks/>
                  </p:cNvSpPr>
                  <p:nvPr/>
                </p:nvSpPr>
                <p:spPr bwMode="auto">
                  <a:xfrm>
                    <a:off x="8213725" y="-177800"/>
                    <a:ext cx="11113" cy="17463"/>
                  </a:xfrm>
                  <a:custGeom>
                    <a:avLst/>
                    <a:gdLst/>
                    <a:ahLst/>
                    <a:cxnLst>
                      <a:cxn ang="0">
                        <a:pos x="5" y="11"/>
                      </a:cxn>
                      <a:cxn ang="0">
                        <a:pos x="7" y="0"/>
                      </a:cxn>
                      <a:cxn ang="0">
                        <a:pos x="2" y="1"/>
                      </a:cxn>
                      <a:cxn ang="0">
                        <a:pos x="0" y="5"/>
                      </a:cxn>
                      <a:cxn ang="0">
                        <a:pos x="2" y="11"/>
                      </a:cxn>
                      <a:cxn ang="0">
                        <a:pos x="5" y="11"/>
                      </a:cxn>
                    </a:cxnLst>
                    <a:rect l="0" t="0" r="r" b="b"/>
                    <a:pathLst>
                      <a:path w="7" h="11">
                        <a:moveTo>
                          <a:pt x="5" y="11"/>
                        </a:moveTo>
                        <a:lnTo>
                          <a:pt x="7" y="0"/>
                        </a:lnTo>
                        <a:lnTo>
                          <a:pt x="2" y="1"/>
                        </a:lnTo>
                        <a:lnTo>
                          <a:pt x="0" y="5"/>
                        </a:lnTo>
                        <a:lnTo>
                          <a:pt x="2" y="11"/>
                        </a:lnTo>
                        <a:lnTo>
                          <a:pt x="5" y="11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2" name="Freeform 15"/>
                  <p:cNvSpPr>
                    <a:spLocks/>
                  </p:cNvSpPr>
                  <p:nvPr/>
                </p:nvSpPr>
                <p:spPr bwMode="auto">
                  <a:xfrm>
                    <a:off x="8194675" y="-166688"/>
                    <a:ext cx="15875" cy="22225"/>
                  </a:xfrm>
                  <a:custGeom>
                    <a:avLst/>
                    <a:gdLst/>
                    <a:ahLst/>
                    <a:cxnLst>
                      <a:cxn ang="0">
                        <a:pos x="6" y="14"/>
                      </a:cxn>
                      <a:cxn ang="0">
                        <a:pos x="10" y="8"/>
                      </a:cxn>
                      <a:cxn ang="0">
                        <a:pos x="10" y="6"/>
                      </a:cxn>
                      <a:cxn ang="0">
                        <a:pos x="8" y="4"/>
                      </a:cxn>
                      <a:cxn ang="0">
                        <a:pos x="6" y="0"/>
                      </a:cxn>
                      <a:cxn ang="0">
                        <a:pos x="2" y="2"/>
                      </a:cxn>
                      <a:cxn ang="0">
                        <a:pos x="0" y="12"/>
                      </a:cxn>
                      <a:cxn ang="0">
                        <a:pos x="4" y="14"/>
                      </a:cxn>
                      <a:cxn ang="0">
                        <a:pos x="6" y="14"/>
                      </a:cxn>
                    </a:cxnLst>
                    <a:rect l="0" t="0" r="r" b="b"/>
                    <a:pathLst>
                      <a:path w="10" h="14">
                        <a:moveTo>
                          <a:pt x="6" y="14"/>
                        </a:moveTo>
                        <a:lnTo>
                          <a:pt x="10" y="8"/>
                        </a:lnTo>
                        <a:lnTo>
                          <a:pt x="10" y="6"/>
                        </a:lnTo>
                        <a:lnTo>
                          <a:pt x="8" y="4"/>
                        </a:lnTo>
                        <a:lnTo>
                          <a:pt x="6" y="0"/>
                        </a:lnTo>
                        <a:lnTo>
                          <a:pt x="2" y="2"/>
                        </a:lnTo>
                        <a:lnTo>
                          <a:pt x="0" y="12"/>
                        </a:lnTo>
                        <a:lnTo>
                          <a:pt x="4" y="14"/>
                        </a:lnTo>
                        <a:lnTo>
                          <a:pt x="6" y="14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3" name="Freeform 16"/>
                  <p:cNvSpPr>
                    <a:spLocks/>
                  </p:cNvSpPr>
                  <p:nvPr/>
                </p:nvSpPr>
                <p:spPr bwMode="auto">
                  <a:xfrm>
                    <a:off x="7994650" y="-176213"/>
                    <a:ext cx="23813" cy="31750"/>
                  </a:xfrm>
                  <a:custGeom>
                    <a:avLst/>
                    <a:gdLst/>
                    <a:ahLst/>
                    <a:cxnLst>
                      <a:cxn ang="0">
                        <a:pos x="0" y="18"/>
                      </a:cxn>
                      <a:cxn ang="0">
                        <a:pos x="1" y="20"/>
                      </a:cxn>
                      <a:cxn ang="0">
                        <a:pos x="3" y="20"/>
                      </a:cxn>
                      <a:cxn ang="0">
                        <a:pos x="5" y="18"/>
                      </a:cxn>
                      <a:cxn ang="0">
                        <a:pos x="9" y="12"/>
                      </a:cxn>
                      <a:cxn ang="0">
                        <a:pos x="15" y="6"/>
                      </a:cxn>
                      <a:cxn ang="0">
                        <a:pos x="11" y="4"/>
                      </a:cxn>
                      <a:cxn ang="0">
                        <a:pos x="13" y="2"/>
                      </a:cxn>
                      <a:cxn ang="0">
                        <a:pos x="9" y="0"/>
                      </a:cxn>
                      <a:cxn ang="0">
                        <a:pos x="3" y="0"/>
                      </a:cxn>
                      <a:cxn ang="0">
                        <a:pos x="1" y="2"/>
                      </a:cxn>
                      <a:cxn ang="0">
                        <a:pos x="1" y="10"/>
                      </a:cxn>
                      <a:cxn ang="0">
                        <a:pos x="0" y="18"/>
                      </a:cxn>
                    </a:cxnLst>
                    <a:rect l="0" t="0" r="r" b="b"/>
                    <a:pathLst>
                      <a:path w="15" h="20">
                        <a:moveTo>
                          <a:pt x="0" y="18"/>
                        </a:moveTo>
                        <a:lnTo>
                          <a:pt x="1" y="20"/>
                        </a:lnTo>
                        <a:lnTo>
                          <a:pt x="3" y="20"/>
                        </a:lnTo>
                        <a:lnTo>
                          <a:pt x="5" y="18"/>
                        </a:lnTo>
                        <a:lnTo>
                          <a:pt x="9" y="12"/>
                        </a:lnTo>
                        <a:lnTo>
                          <a:pt x="15" y="6"/>
                        </a:lnTo>
                        <a:lnTo>
                          <a:pt x="11" y="4"/>
                        </a:lnTo>
                        <a:lnTo>
                          <a:pt x="13" y="2"/>
                        </a:lnTo>
                        <a:lnTo>
                          <a:pt x="9" y="0"/>
                        </a:lnTo>
                        <a:lnTo>
                          <a:pt x="3" y="0"/>
                        </a:lnTo>
                        <a:lnTo>
                          <a:pt x="1" y="2"/>
                        </a:lnTo>
                        <a:lnTo>
                          <a:pt x="1" y="1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4" name="Freeform 17"/>
                  <p:cNvSpPr>
                    <a:spLocks/>
                  </p:cNvSpPr>
                  <p:nvPr/>
                </p:nvSpPr>
                <p:spPr bwMode="auto">
                  <a:xfrm>
                    <a:off x="7951788" y="-28575"/>
                    <a:ext cx="17463" cy="26988"/>
                  </a:xfrm>
                  <a:custGeom>
                    <a:avLst/>
                    <a:gdLst/>
                    <a:ahLst/>
                    <a:cxnLst>
                      <a:cxn ang="0">
                        <a:pos x="11" y="9"/>
                      </a:cxn>
                      <a:cxn ang="0">
                        <a:pos x="11" y="0"/>
                      </a:cxn>
                      <a:cxn ang="0">
                        <a:pos x="9" y="0"/>
                      </a:cxn>
                      <a:cxn ang="0">
                        <a:pos x="7" y="3"/>
                      </a:cxn>
                      <a:cxn ang="0">
                        <a:pos x="0" y="5"/>
                      </a:cxn>
                      <a:cxn ang="0">
                        <a:pos x="0" y="13"/>
                      </a:cxn>
                      <a:cxn ang="0">
                        <a:pos x="2" y="17"/>
                      </a:cxn>
                      <a:cxn ang="0">
                        <a:pos x="7" y="15"/>
                      </a:cxn>
                      <a:cxn ang="0">
                        <a:pos x="11" y="9"/>
                      </a:cxn>
                    </a:cxnLst>
                    <a:rect l="0" t="0" r="r" b="b"/>
                    <a:pathLst>
                      <a:path w="11" h="17">
                        <a:moveTo>
                          <a:pt x="11" y="9"/>
                        </a:moveTo>
                        <a:lnTo>
                          <a:pt x="11" y="0"/>
                        </a:lnTo>
                        <a:lnTo>
                          <a:pt x="9" y="0"/>
                        </a:lnTo>
                        <a:lnTo>
                          <a:pt x="7" y="3"/>
                        </a:lnTo>
                        <a:lnTo>
                          <a:pt x="0" y="5"/>
                        </a:lnTo>
                        <a:lnTo>
                          <a:pt x="0" y="13"/>
                        </a:lnTo>
                        <a:lnTo>
                          <a:pt x="2" y="17"/>
                        </a:lnTo>
                        <a:lnTo>
                          <a:pt x="7" y="15"/>
                        </a:lnTo>
                        <a:lnTo>
                          <a:pt x="11" y="9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5" name="Freeform 18"/>
                  <p:cNvSpPr>
                    <a:spLocks/>
                  </p:cNvSpPr>
                  <p:nvPr/>
                </p:nvSpPr>
                <p:spPr bwMode="auto">
                  <a:xfrm>
                    <a:off x="7969250" y="-90488"/>
                    <a:ext cx="33338" cy="101600"/>
                  </a:xfrm>
                  <a:custGeom>
                    <a:avLst/>
                    <a:gdLst/>
                    <a:ahLst/>
                    <a:cxnLst>
                      <a:cxn ang="0">
                        <a:pos x="6" y="58"/>
                      </a:cxn>
                      <a:cxn ang="0">
                        <a:pos x="17" y="50"/>
                      </a:cxn>
                      <a:cxn ang="0">
                        <a:pos x="19" y="46"/>
                      </a:cxn>
                      <a:cxn ang="0">
                        <a:pos x="19" y="39"/>
                      </a:cxn>
                      <a:cxn ang="0">
                        <a:pos x="21" y="35"/>
                      </a:cxn>
                      <a:cxn ang="0">
                        <a:pos x="21" y="25"/>
                      </a:cxn>
                      <a:cxn ang="0">
                        <a:pos x="19" y="25"/>
                      </a:cxn>
                      <a:cxn ang="0">
                        <a:pos x="17" y="29"/>
                      </a:cxn>
                      <a:cxn ang="0">
                        <a:pos x="16" y="29"/>
                      </a:cxn>
                      <a:cxn ang="0">
                        <a:pos x="17" y="23"/>
                      </a:cxn>
                      <a:cxn ang="0">
                        <a:pos x="21" y="19"/>
                      </a:cxn>
                      <a:cxn ang="0">
                        <a:pos x="19" y="0"/>
                      </a:cxn>
                      <a:cxn ang="0">
                        <a:pos x="16" y="2"/>
                      </a:cxn>
                      <a:cxn ang="0">
                        <a:pos x="10" y="12"/>
                      </a:cxn>
                      <a:cxn ang="0">
                        <a:pos x="4" y="14"/>
                      </a:cxn>
                      <a:cxn ang="0">
                        <a:pos x="0" y="16"/>
                      </a:cxn>
                      <a:cxn ang="0">
                        <a:pos x="0" y="27"/>
                      </a:cxn>
                      <a:cxn ang="0">
                        <a:pos x="6" y="42"/>
                      </a:cxn>
                      <a:cxn ang="0">
                        <a:pos x="6" y="48"/>
                      </a:cxn>
                      <a:cxn ang="0">
                        <a:pos x="0" y="60"/>
                      </a:cxn>
                      <a:cxn ang="0">
                        <a:pos x="0" y="64"/>
                      </a:cxn>
                      <a:cxn ang="0">
                        <a:pos x="2" y="64"/>
                      </a:cxn>
                      <a:cxn ang="0">
                        <a:pos x="6" y="58"/>
                      </a:cxn>
                    </a:cxnLst>
                    <a:rect l="0" t="0" r="r" b="b"/>
                    <a:pathLst>
                      <a:path w="21" h="64">
                        <a:moveTo>
                          <a:pt x="6" y="58"/>
                        </a:moveTo>
                        <a:lnTo>
                          <a:pt x="17" y="50"/>
                        </a:lnTo>
                        <a:lnTo>
                          <a:pt x="19" y="46"/>
                        </a:lnTo>
                        <a:lnTo>
                          <a:pt x="19" y="39"/>
                        </a:lnTo>
                        <a:lnTo>
                          <a:pt x="21" y="35"/>
                        </a:lnTo>
                        <a:lnTo>
                          <a:pt x="21" y="25"/>
                        </a:lnTo>
                        <a:lnTo>
                          <a:pt x="19" y="25"/>
                        </a:lnTo>
                        <a:lnTo>
                          <a:pt x="17" y="29"/>
                        </a:lnTo>
                        <a:lnTo>
                          <a:pt x="16" y="29"/>
                        </a:lnTo>
                        <a:lnTo>
                          <a:pt x="17" y="23"/>
                        </a:lnTo>
                        <a:lnTo>
                          <a:pt x="21" y="19"/>
                        </a:lnTo>
                        <a:lnTo>
                          <a:pt x="19" y="0"/>
                        </a:lnTo>
                        <a:lnTo>
                          <a:pt x="16" y="2"/>
                        </a:lnTo>
                        <a:lnTo>
                          <a:pt x="10" y="12"/>
                        </a:lnTo>
                        <a:lnTo>
                          <a:pt x="4" y="14"/>
                        </a:lnTo>
                        <a:lnTo>
                          <a:pt x="0" y="16"/>
                        </a:lnTo>
                        <a:lnTo>
                          <a:pt x="0" y="27"/>
                        </a:lnTo>
                        <a:lnTo>
                          <a:pt x="6" y="42"/>
                        </a:lnTo>
                        <a:lnTo>
                          <a:pt x="6" y="48"/>
                        </a:lnTo>
                        <a:lnTo>
                          <a:pt x="0" y="60"/>
                        </a:lnTo>
                        <a:lnTo>
                          <a:pt x="0" y="64"/>
                        </a:lnTo>
                        <a:lnTo>
                          <a:pt x="2" y="64"/>
                        </a:lnTo>
                        <a:lnTo>
                          <a:pt x="6" y="58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6" name="Freeform 19"/>
                  <p:cNvSpPr>
                    <a:spLocks/>
                  </p:cNvSpPr>
                  <p:nvPr/>
                </p:nvSpPr>
                <p:spPr bwMode="auto">
                  <a:xfrm>
                    <a:off x="7908925" y="-446088"/>
                    <a:ext cx="46038" cy="36513"/>
                  </a:xfrm>
                  <a:custGeom>
                    <a:avLst/>
                    <a:gdLst/>
                    <a:ahLst/>
                    <a:cxnLst>
                      <a:cxn ang="0">
                        <a:pos x="25" y="15"/>
                      </a:cxn>
                      <a:cxn ang="0">
                        <a:pos x="25" y="5"/>
                      </a:cxn>
                      <a:cxn ang="0">
                        <a:pos x="21" y="5"/>
                      </a:cxn>
                      <a:cxn ang="0">
                        <a:pos x="19" y="7"/>
                      </a:cxn>
                      <a:cxn ang="0">
                        <a:pos x="17" y="11"/>
                      </a:cxn>
                      <a:cxn ang="0">
                        <a:pos x="15" y="4"/>
                      </a:cxn>
                      <a:cxn ang="0">
                        <a:pos x="13" y="2"/>
                      </a:cxn>
                      <a:cxn ang="0">
                        <a:pos x="11" y="0"/>
                      </a:cxn>
                      <a:cxn ang="0">
                        <a:pos x="8" y="0"/>
                      </a:cxn>
                      <a:cxn ang="0">
                        <a:pos x="8" y="2"/>
                      </a:cxn>
                      <a:cxn ang="0">
                        <a:pos x="2" y="4"/>
                      </a:cxn>
                      <a:cxn ang="0">
                        <a:pos x="2" y="4"/>
                      </a:cxn>
                      <a:cxn ang="0">
                        <a:pos x="0" y="21"/>
                      </a:cxn>
                      <a:cxn ang="0">
                        <a:pos x="6" y="23"/>
                      </a:cxn>
                      <a:cxn ang="0">
                        <a:pos x="9" y="21"/>
                      </a:cxn>
                      <a:cxn ang="0">
                        <a:pos x="17" y="19"/>
                      </a:cxn>
                      <a:cxn ang="0">
                        <a:pos x="23" y="23"/>
                      </a:cxn>
                      <a:cxn ang="0">
                        <a:pos x="27" y="21"/>
                      </a:cxn>
                      <a:cxn ang="0">
                        <a:pos x="29" y="17"/>
                      </a:cxn>
                      <a:cxn ang="0">
                        <a:pos x="25" y="15"/>
                      </a:cxn>
                    </a:cxnLst>
                    <a:rect l="0" t="0" r="r" b="b"/>
                    <a:pathLst>
                      <a:path w="29" h="23">
                        <a:moveTo>
                          <a:pt x="25" y="15"/>
                        </a:moveTo>
                        <a:lnTo>
                          <a:pt x="25" y="5"/>
                        </a:lnTo>
                        <a:lnTo>
                          <a:pt x="21" y="5"/>
                        </a:lnTo>
                        <a:lnTo>
                          <a:pt x="19" y="7"/>
                        </a:lnTo>
                        <a:lnTo>
                          <a:pt x="17" y="11"/>
                        </a:lnTo>
                        <a:lnTo>
                          <a:pt x="15" y="4"/>
                        </a:lnTo>
                        <a:lnTo>
                          <a:pt x="13" y="2"/>
                        </a:lnTo>
                        <a:lnTo>
                          <a:pt x="11" y="0"/>
                        </a:lnTo>
                        <a:lnTo>
                          <a:pt x="8" y="0"/>
                        </a:lnTo>
                        <a:lnTo>
                          <a:pt x="8" y="2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0" y="21"/>
                        </a:lnTo>
                        <a:lnTo>
                          <a:pt x="6" y="23"/>
                        </a:lnTo>
                        <a:lnTo>
                          <a:pt x="9" y="21"/>
                        </a:lnTo>
                        <a:lnTo>
                          <a:pt x="17" y="19"/>
                        </a:lnTo>
                        <a:lnTo>
                          <a:pt x="23" y="23"/>
                        </a:lnTo>
                        <a:lnTo>
                          <a:pt x="27" y="21"/>
                        </a:lnTo>
                        <a:lnTo>
                          <a:pt x="29" y="17"/>
                        </a:lnTo>
                        <a:lnTo>
                          <a:pt x="25" y="1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" name="Freeform 20"/>
                  <p:cNvSpPr>
                    <a:spLocks/>
                  </p:cNvSpPr>
                  <p:nvPr/>
                </p:nvSpPr>
                <p:spPr bwMode="auto">
                  <a:xfrm>
                    <a:off x="7908925" y="-474663"/>
                    <a:ext cx="14288" cy="2222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8" y="12"/>
                      </a:cxn>
                      <a:cxn ang="0">
                        <a:pos x="9" y="8"/>
                      </a:cxn>
                      <a:cxn ang="0">
                        <a:pos x="6" y="2"/>
                      </a:cxn>
                      <a:cxn ang="0">
                        <a:pos x="4" y="0"/>
                      </a:cxn>
                      <a:cxn ang="0">
                        <a:pos x="2" y="0"/>
                      </a:cxn>
                      <a:cxn ang="0">
                        <a:pos x="0" y="2"/>
                      </a:cxn>
                      <a:cxn ang="0">
                        <a:pos x="2" y="8"/>
                      </a:cxn>
                      <a:cxn ang="0">
                        <a:pos x="2" y="14"/>
                      </a:cxn>
                    </a:cxnLst>
                    <a:rect l="0" t="0" r="r" b="b"/>
                    <a:pathLst>
                      <a:path w="9" h="14">
                        <a:moveTo>
                          <a:pt x="2" y="14"/>
                        </a:moveTo>
                        <a:lnTo>
                          <a:pt x="8" y="12"/>
                        </a:lnTo>
                        <a:lnTo>
                          <a:pt x="9" y="8"/>
                        </a:lnTo>
                        <a:lnTo>
                          <a:pt x="6" y="2"/>
                        </a:ln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0" y="2"/>
                        </a:lnTo>
                        <a:lnTo>
                          <a:pt x="2" y="8"/>
                        </a:lnTo>
                        <a:lnTo>
                          <a:pt x="2" y="14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8" name="Freeform 21"/>
                  <p:cNvSpPr>
                    <a:spLocks/>
                  </p:cNvSpPr>
                  <p:nvPr/>
                </p:nvSpPr>
                <p:spPr bwMode="auto">
                  <a:xfrm>
                    <a:off x="7829550" y="-525463"/>
                    <a:ext cx="57150" cy="36513"/>
                  </a:xfrm>
                  <a:custGeom>
                    <a:avLst/>
                    <a:gdLst/>
                    <a:ahLst/>
                    <a:cxnLst>
                      <a:cxn ang="0">
                        <a:pos x="23" y="13"/>
                      </a:cxn>
                      <a:cxn ang="0">
                        <a:pos x="33" y="13"/>
                      </a:cxn>
                      <a:cxn ang="0">
                        <a:pos x="36" y="11"/>
                      </a:cxn>
                      <a:cxn ang="0">
                        <a:pos x="33" y="7"/>
                      </a:cxn>
                      <a:cxn ang="0">
                        <a:pos x="31" y="0"/>
                      </a:cxn>
                      <a:cxn ang="0">
                        <a:pos x="11" y="0"/>
                      </a:cxn>
                      <a:cxn ang="0">
                        <a:pos x="11" y="9"/>
                      </a:cxn>
                      <a:cxn ang="0">
                        <a:pos x="6" y="7"/>
                      </a:cxn>
                      <a:cxn ang="0">
                        <a:pos x="0" y="9"/>
                      </a:cxn>
                      <a:cxn ang="0">
                        <a:pos x="0" y="11"/>
                      </a:cxn>
                      <a:cxn ang="0">
                        <a:pos x="4" y="13"/>
                      </a:cxn>
                      <a:cxn ang="0">
                        <a:pos x="6" y="21"/>
                      </a:cxn>
                      <a:cxn ang="0">
                        <a:pos x="10" y="23"/>
                      </a:cxn>
                      <a:cxn ang="0">
                        <a:pos x="13" y="23"/>
                      </a:cxn>
                      <a:cxn ang="0">
                        <a:pos x="23" y="13"/>
                      </a:cxn>
                    </a:cxnLst>
                    <a:rect l="0" t="0" r="r" b="b"/>
                    <a:pathLst>
                      <a:path w="36" h="23">
                        <a:moveTo>
                          <a:pt x="23" y="13"/>
                        </a:moveTo>
                        <a:lnTo>
                          <a:pt x="33" y="13"/>
                        </a:lnTo>
                        <a:lnTo>
                          <a:pt x="36" y="11"/>
                        </a:lnTo>
                        <a:lnTo>
                          <a:pt x="33" y="7"/>
                        </a:lnTo>
                        <a:lnTo>
                          <a:pt x="31" y="0"/>
                        </a:lnTo>
                        <a:lnTo>
                          <a:pt x="11" y="0"/>
                        </a:lnTo>
                        <a:lnTo>
                          <a:pt x="11" y="9"/>
                        </a:lnTo>
                        <a:lnTo>
                          <a:pt x="6" y="7"/>
                        </a:lnTo>
                        <a:lnTo>
                          <a:pt x="0" y="9"/>
                        </a:lnTo>
                        <a:lnTo>
                          <a:pt x="0" y="11"/>
                        </a:lnTo>
                        <a:lnTo>
                          <a:pt x="4" y="13"/>
                        </a:lnTo>
                        <a:lnTo>
                          <a:pt x="6" y="21"/>
                        </a:lnTo>
                        <a:lnTo>
                          <a:pt x="10" y="23"/>
                        </a:lnTo>
                        <a:lnTo>
                          <a:pt x="13" y="23"/>
                        </a:lnTo>
                        <a:lnTo>
                          <a:pt x="23" y="13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9" name="Freeform 22"/>
                  <p:cNvSpPr>
                    <a:spLocks/>
                  </p:cNvSpPr>
                  <p:nvPr/>
                </p:nvSpPr>
                <p:spPr bwMode="auto">
                  <a:xfrm>
                    <a:off x="7805738" y="-501650"/>
                    <a:ext cx="7938" cy="26988"/>
                  </a:xfrm>
                  <a:custGeom>
                    <a:avLst/>
                    <a:gdLst/>
                    <a:ahLst/>
                    <a:cxnLst>
                      <a:cxn ang="0">
                        <a:pos x="3" y="17"/>
                      </a:cxn>
                      <a:cxn ang="0">
                        <a:pos x="5" y="10"/>
                      </a:cxn>
                      <a:cxn ang="0">
                        <a:pos x="5" y="2"/>
                      </a:cxn>
                      <a:cxn ang="0">
                        <a:pos x="3" y="0"/>
                      </a:cxn>
                      <a:cxn ang="0">
                        <a:pos x="2" y="0"/>
                      </a:cxn>
                      <a:cxn ang="0">
                        <a:pos x="0" y="8"/>
                      </a:cxn>
                      <a:cxn ang="0">
                        <a:pos x="0" y="17"/>
                      </a:cxn>
                      <a:cxn ang="0">
                        <a:pos x="2" y="17"/>
                      </a:cxn>
                      <a:cxn ang="0">
                        <a:pos x="3" y="17"/>
                      </a:cxn>
                    </a:cxnLst>
                    <a:rect l="0" t="0" r="r" b="b"/>
                    <a:pathLst>
                      <a:path w="5" h="17">
                        <a:moveTo>
                          <a:pt x="3" y="17"/>
                        </a:moveTo>
                        <a:lnTo>
                          <a:pt x="5" y="10"/>
                        </a:lnTo>
                        <a:lnTo>
                          <a:pt x="5" y="2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2" y="17"/>
                        </a:lnTo>
                        <a:lnTo>
                          <a:pt x="3" y="17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0" name="Freeform 23"/>
                  <p:cNvSpPr>
                    <a:spLocks/>
                  </p:cNvSpPr>
                  <p:nvPr/>
                </p:nvSpPr>
                <p:spPr bwMode="auto">
                  <a:xfrm>
                    <a:off x="7723188" y="-522288"/>
                    <a:ext cx="26988" cy="46038"/>
                  </a:xfrm>
                  <a:custGeom>
                    <a:avLst/>
                    <a:gdLst/>
                    <a:ahLst/>
                    <a:cxnLst>
                      <a:cxn ang="0">
                        <a:pos x="7" y="29"/>
                      </a:cxn>
                      <a:cxn ang="0">
                        <a:pos x="17" y="25"/>
                      </a:cxn>
                      <a:cxn ang="0">
                        <a:pos x="17" y="21"/>
                      </a:cxn>
                      <a:cxn ang="0">
                        <a:pos x="13" y="13"/>
                      </a:cxn>
                      <a:cxn ang="0">
                        <a:pos x="15" y="5"/>
                      </a:cxn>
                      <a:cxn ang="0">
                        <a:pos x="9" y="0"/>
                      </a:cxn>
                      <a:cxn ang="0">
                        <a:pos x="6" y="0"/>
                      </a:cxn>
                      <a:cxn ang="0">
                        <a:pos x="4" y="0"/>
                      </a:cxn>
                      <a:cxn ang="0">
                        <a:pos x="4" y="4"/>
                      </a:cxn>
                      <a:cxn ang="0">
                        <a:pos x="6" y="7"/>
                      </a:cxn>
                      <a:cxn ang="0">
                        <a:pos x="2" y="11"/>
                      </a:cxn>
                      <a:cxn ang="0">
                        <a:pos x="2" y="13"/>
                      </a:cxn>
                      <a:cxn ang="0">
                        <a:pos x="4" y="17"/>
                      </a:cxn>
                      <a:cxn ang="0">
                        <a:pos x="0" y="23"/>
                      </a:cxn>
                      <a:cxn ang="0">
                        <a:pos x="0" y="27"/>
                      </a:cxn>
                      <a:cxn ang="0">
                        <a:pos x="7" y="29"/>
                      </a:cxn>
                    </a:cxnLst>
                    <a:rect l="0" t="0" r="r" b="b"/>
                    <a:pathLst>
                      <a:path w="17" h="29">
                        <a:moveTo>
                          <a:pt x="7" y="29"/>
                        </a:moveTo>
                        <a:lnTo>
                          <a:pt x="17" y="25"/>
                        </a:lnTo>
                        <a:lnTo>
                          <a:pt x="17" y="21"/>
                        </a:lnTo>
                        <a:lnTo>
                          <a:pt x="13" y="13"/>
                        </a:lnTo>
                        <a:lnTo>
                          <a:pt x="15" y="5"/>
                        </a:lnTo>
                        <a:lnTo>
                          <a:pt x="9" y="0"/>
                        </a:lnTo>
                        <a:lnTo>
                          <a:pt x="6" y="0"/>
                        </a:lnTo>
                        <a:lnTo>
                          <a:pt x="4" y="0"/>
                        </a:lnTo>
                        <a:lnTo>
                          <a:pt x="4" y="4"/>
                        </a:lnTo>
                        <a:lnTo>
                          <a:pt x="6" y="7"/>
                        </a:lnTo>
                        <a:lnTo>
                          <a:pt x="2" y="11"/>
                        </a:lnTo>
                        <a:lnTo>
                          <a:pt x="2" y="13"/>
                        </a:lnTo>
                        <a:lnTo>
                          <a:pt x="4" y="17"/>
                        </a:lnTo>
                        <a:lnTo>
                          <a:pt x="0" y="23"/>
                        </a:lnTo>
                        <a:lnTo>
                          <a:pt x="0" y="27"/>
                        </a:lnTo>
                        <a:lnTo>
                          <a:pt x="7" y="29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1" name="Freeform 24"/>
                  <p:cNvSpPr>
                    <a:spLocks/>
                  </p:cNvSpPr>
                  <p:nvPr/>
                </p:nvSpPr>
                <p:spPr bwMode="auto">
                  <a:xfrm>
                    <a:off x="7661275" y="-555625"/>
                    <a:ext cx="15875" cy="11113"/>
                  </a:xfrm>
                  <a:custGeom>
                    <a:avLst/>
                    <a:gdLst/>
                    <a:ahLst/>
                    <a:cxnLst>
                      <a:cxn ang="0">
                        <a:pos x="8" y="5"/>
                      </a:cxn>
                      <a:cxn ang="0">
                        <a:pos x="10" y="5"/>
                      </a:cxn>
                      <a:cxn ang="0">
                        <a:pos x="10" y="3"/>
                      </a:cxn>
                      <a:cxn ang="0">
                        <a:pos x="8" y="0"/>
                      </a:cxn>
                      <a:cxn ang="0">
                        <a:pos x="6" y="0"/>
                      </a:cxn>
                      <a:cxn ang="0">
                        <a:pos x="0" y="3"/>
                      </a:cxn>
                      <a:cxn ang="0">
                        <a:pos x="0" y="7"/>
                      </a:cxn>
                      <a:cxn ang="0">
                        <a:pos x="2" y="7"/>
                      </a:cxn>
                      <a:cxn ang="0">
                        <a:pos x="4" y="5"/>
                      </a:cxn>
                      <a:cxn ang="0">
                        <a:pos x="8" y="5"/>
                      </a:cxn>
                    </a:cxnLst>
                    <a:rect l="0" t="0" r="r" b="b"/>
                    <a:pathLst>
                      <a:path w="10" h="7">
                        <a:moveTo>
                          <a:pt x="8" y="5"/>
                        </a:moveTo>
                        <a:lnTo>
                          <a:pt x="10" y="5"/>
                        </a:lnTo>
                        <a:lnTo>
                          <a:pt x="10" y="3"/>
                        </a:lnTo>
                        <a:lnTo>
                          <a:pt x="8" y="0"/>
                        </a:lnTo>
                        <a:lnTo>
                          <a:pt x="6" y="0"/>
                        </a:lnTo>
                        <a:lnTo>
                          <a:pt x="0" y="3"/>
                        </a:lnTo>
                        <a:lnTo>
                          <a:pt x="0" y="7"/>
                        </a:lnTo>
                        <a:lnTo>
                          <a:pt x="2" y="7"/>
                        </a:lnTo>
                        <a:lnTo>
                          <a:pt x="4" y="5"/>
                        </a:lnTo>
                        <a:lnTo>
                          <a:pt x="8" y="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2" name="Freeform 25"/>
                  <p:cNvSpPr>
                    <a:spLocks/>
                  </p:cNvSpPr>
                  <p:nvPr/>
                </p:nvSpPr>
                <p:spPr bwMode="auto">
                  <a:xfrm>
                    <a:off x="7753350" y="-422275"/>
                    <a:ext cx="15875" cy="20638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3"/>
                      </a:cxn>
                      <a:cxn ang="0">
                        <a:pos x="4" y="12"/>
                      </a:cxn>
                      <a:cxn ang="0">
                        <a:pos x="8" y="8"/>
                      </a:cxn>
                      <a:cxn ang="0">
                        <a:pos x="10" y="0"/>
                      </a:cxn>
                      <a:cxn ang="0">
                        <a:pos x="6" y="0"/>
                      </a:cxn>
                      <a:cxn ang="0">
                        <a:pos x="4" y="6"/>
                      </a:cxn>
                      <a:cxn ang="0">
                        <a:pos x="0" y="10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10" h="13">
                        <a:moveTo>
                          <a:pt x="0" y="12"/>
                        </a:moveTo>
                        <a:lnTo>
                          <a:pt x="0" y="13"/>
                        </a:lnTo>
                        <a:lnTo>
                          <a:pt x="4" y="12"/>
                        </a:lnTo>
                        <a:lnTo>
                          <a:pt x="8" y="8"/>
                        </a:lnTo>
                        <a:lnTo>
                          <a:pt x="10" y="0"/>
                        </a:lnTo>
                        <a:lnTo>
                          <a:pt x="6" y="0"/>
                        </a:lnTo>
                        <a:lnTo>
                          <a:pt x="4" y="6"/>
                        </a:lnTo>
                        <a:lnTo>
                          <a:pt x="0" y="1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3" name="Freeform 26"/>
                  <p:cNvSpPr>
                    <a:spLocks/>
                  </p:cNvSpPr>
                  <p:nvPr/>
                </p:nvSpPr>
                <p:spPr bwMode="auto">
                  <a:xfrm>
                    <a:off x="7737475" y="-434975"/>
                    <a:ext cx="15875" cy="39688"/>
                  </a:xfrm>
                  <a:custGeom>
                    <a:avLst/>
                    <a:gdLst/>
                    <a:ahLst/>
                    <a:cxnLst>
                      <a:cxn ang="0">
                        <a:pos x="2" y="25"/>
                      </a:cxn>
                      <a:cxn ang="0">
                        <a:pos x="4" y="23"/>
                      </a:cxn>
                      <a:cxn ang="0">
                        <a:pos x="6" y="20"/>
                      </a:cxn>
                      <a:cxn ang="0">
                        <a:pos x="6" y="10"/>
                      </a:cxn>
                      <a:cxn ang="0">
                        <a:pos x="10" y="8"/>
                      </a:cxn>
                      <a:cxn ang="0">
                        <a:pos x="8" y="0"/>
                      </a:cxn>
                      <a:cxn ang="0">
                        <a:pos x="4" y="2"/>
                      </a:cxn>
                      <a:cxn ang="0">
                        <a:pos x="2" y="12"/>
                      </a:cxn>
                      <a:cxn ang="0">
                        <a:pos x="0" y="23"/>
                      </a:cxn>
                      <a:cxn ang="0">
                        <a:pos x="2" y="25"/>
                      </a:cxn>
                    </a:cxnLst>
                    <a:rect l="0" t="0" r="r" b="b"/>
                    <a:pathLst>
                      <a:path w="10" h="25">
                        <a:moveTo>
                          <a:pt x="2" y="25"/>
                        </a:moveTo>
                        <a:lnTo>
                          <a:pt x="4" y="23"/>
                        </a:lnTo>
                        <a:lnTo>
                          <a:pt x="6" y="20"/>
                        </a:lnTo>
                        <a:lnTo>
                          <a:pt x="6" y="10"/>
                        </a:lnTo>
                        <a:lnTo>
                          <a:pt x="10" y="8"/>
                        </a:lnTo>
                        <a:lnTo>
                          <a:pt x="8" y="0"/>
                        </a:lnTo>
                        <a:lnTo>
                          <a:pt x="4" y="2"/>
                        </a:lnTo>
                        <a:lnTo>
                          <a:pt x="2" y="12"/>
                        </a:lnTo>
                        <a:lnTo>
                          <a:pt x="0" y="23"/>
                        </a:lnTo>
                        <a:lnTo>
                          <a:pt x="2" y="2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4" name="Freeform 27"/>
                  <p:cNvSpPr>
                    <a:spLocks/>
                  </p:cNvSpPr>
                  <p:nvPr/>
                </p:nvSpPr>
                <p:spPr bwMode="auto">
                  <a:xfrm>
                    <a:off x="7573963" y="-601663"/>
                    <a:ext cx="11113" cy="23813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4" y="15"/>
                      </a:cxn>
                      <a:cxn ang="0">
                        <a:pos x="6" y="13"/>
                      </a:cxn>
                      <a:cxn ang="0">
                        <a:pos x="6" y="11"/>
                      </a:cxn>
                      <a:cxn ang="0">
                        <a:pos x="6" y="8"/>
                      </a:cxn>
                      <a:cxn ang="0">
                        <a:pos x="7" y="8"/>
                      </a:cxn>
                      <a:cxn ang="0">
                        <a:pos x="7" y="4"/>
                      </a:cxn>
                      <a:cxn ang="0">
                        <a:pos x="6" y="0"/>
                      </a:cxn>
                      <a:cxn ang="0">
                        <a:pos x="2" y="0"/>
                      </a:cxn>
                      <a:cxn ang="0">
                        <a:pos x="2" y="4"/>
                      </a:cxn>
                      <a:cxn ang="0">
                        <a:pos x="2" y="6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7" h="15">
                        <a:moveTo>
                          <a:pt x="0" y="11"/>
                        </a:moveTo>
                        <a:lnTo>
                          <a:pt x="4" y="15"/>
                        </a:lnTo>
                        <a:lnTo>
                          <a:pt x="6" y="13"/>
                        </a:lnTo>
                        <a:lnTo>
                          <a:pt x="6" y="11"/>
                        </a:lnTo>
                        <a:lnTo>
                          <a:pt x="6" y="8"/>
                        </a:lnTo>
                        <a:lnTo>
                          <a:pt x="7" y="8"/>
                        </a:lnTo>
                        <a:lnTo>
                          <a:pt x="7" y="4"/>
                        </a:lnTo>
                        <a:lnTo>
                          <a:pt x="6" y="0"/>
                        </a:lnTo>
                        <a:lnTo>
                          <a:pt x="2" y="0"/>
                        </a:lnTo>
                        <a:lnTo>
                          <a:pt x="2" y="4"/>
                        </a:lnTo>
                        <a:lnTo>
                          <a:pt x="2" y="6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5" name="Freeform 28"/>
                  <p:cNvSpPr>
                    <a:spLocks/>
                  </p:cNvSpPr>
                  <p:nvPr/>
                </p:nvSpPr>
                <p:spPr bwMode="auto">
                  <a:xfrm>
                    <a:off x="9629775" y="3160712"/>
                    <a:ext cx="57150" cy="63500"/>
                  </a:xfrm>
                  <a:custGeom>
                    <a:avLst/>
                    <a:gdLst/>
                    <a:ahLst/>
                    <a:cxnLst>
                      <a:cxn ang="0">
                        <a:pos x="25" y="0"/>
                      </a:cxn>
                      <a:cxn ang="0">
                        <a:pos x="29" y="0"/>
                      </a:cxn>
                      <a:cxn ang="0">
                        <a:pos x="35" y="9"/>
                      </a:cxn>
                      <a:cxn ang="0">
                        <a:pos x="36" y="13"/>
                      </a:cxn>
                      <a:cxn ang="0">
                        <a:pos x="35" y="19"/>
                      </a:cxn>
                      <a:cxn ang="0">
                        <a:pos x="31" y="21"/>
                      </a:cxn>
                      <a:cxn ang="0">
                        <a:pos x="19" y="27"/>
                      </a:cxn>
                      <a:cxn ang="0">
                        <a:pos x="8" y="40"/>
                      </a:cxn>
                      <a:cxn ang="0">
                        <a:pos x="0" y="40"/>
                      </a:cxn>
                      <a:cxn ang="0">
                        <a:pos x="0" y="36"/>
                      </a:cxn>
                      <a:cxn ang="0">
                        <a:pos x="4" y="28"/>
                      </a:cxn>
                      <a:cxn ang="0">
                        <a:pos x="12" y="25"/>
                      </a:cxn>
                      <a:cxn ang="0">
                        <a:pos x="15" y="21"/>
                      </a:cxn>
                      <a:cxn ang="0">
                        <a:pos x="21" y="11"/>
                      </a:cxn>
                      <a:cxn ang="0">
                        <a:pos x="23" y="2"/>
                      </a:cxn>
                      <a:cxn ang="0">
                        <a:pos x="25" y="0"/>
                      </a:cxn>
                    </a:cxnLst>
                    <a:rect l="0" t="0" r="r" b="b"/>
                    <a:pathLst>
                      <a:path w="36" h="40">
                        <a:moveTo>
                          <a:pt x="25" y="0"/>
                        </a:moveTo>
                        <a:lnTo>
                          <a:pt x="29" y="0"/>
                        </a:lnTo>
                        <a:lnTo>
                          <a:pt x="35" y="9"/>
                        </a:lnTo>
                        <a:lnTo>
                          <a:pt x="36" y="13"/>
                        </a:lnTo>
                        <a:lnTo>
                          <a:pt x="35" y="19"/>
                        </a:lnTo>
                        <a:lnTo>
                          <a:pt x="31" y="21"/>
                        </a:lnTo>
                        <a:lnTo>
                          <a:pt x="19" y="27"/>
                        </a:lnTo>
                        <a:lnTo>
                          <a:pt x="8" y="40"/>
                        </a:lnTo>
                        <a:lnTo>
                          <a:pt x="0" y="40"/>
                        </a:lnTo>
                        <a:lnTo>
                          <a:pt x="0" y="36"/>
                        </a:lnTo>
                        <a:lnTo>
                          <a:pt x="4" y="28"/>
                        </a:lnTo>
                        <a:lnTo>
                          <a:pt x="12" y="25"/>
                        </a:lnTo>
                        <a:lnTo>
                          <a:pt x="15" y="21"/>
                        </a:lnTo>
                        <a:lnTo>
                          <a:pt x="21" y="11"/>
                        </a:lnTo>
                        <a:lnTo>
                          <a:pt x="23" y="2"/>
                        </a:lnTo>
                        <a:lnTo>
                          <a:pt x="25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6" name="Freeform 29"/>
                  <p:cNvSpPr>
                    <a:spLocks/>
                  </p:cNvSpPr>
                  <p:nvPr/>
                </p:nvSpPr>
                <p:spPr bwMode="auto">
                  <a:xfrm>
                    <a:off x="9613900" y="3208337"/>
                    <a:ext cx="12700" cy="12700"/>
                  </a:xfrm>
                  <a:custGeom>
                    <a:avLst/>
                    <a:gdLst/>
                    <a:ahLst/>
                    <a:cxnLst>
                      <a:cxn ang="0">
                        <a:pos x="6" y="0"/>
                      </a:cxn>
                      <a:cxn ang="0">
                        <a:pos x="8" y="0"/>
                      </a:cxn>
                      <a:cxn ang="0">
                        <a:pos x="6" y="8"/>
                      </a:cxn>
                      <a:cxn ang="0">
                        <a:pos x="0" y="4"/>
                      </a:cxn>
                      <a:cxn ang="0">
                        <a:pos x="0" y="2"/>
                      </a:cxn>
                      <a:cxn ang="0">
                        <a:pos x="4" y="0"/>
                      </a:cxn>
                      <a:cxn ang="0">
                        <a:pos x="6" y="0"/>
                      </a:cxn>
                    </a:cxnLst>
                    <a:rect l="0" t="0" r="r" b="b"/>
                    <a:pathLst>
                      <a:path w="8" h="8">
                        <a:moveTo>
                          <a:pt x="6" y="0"/>
                        </a:moveTo>
                        <a:lnTo>
                          <a:pt x="8" y="0"/>
                        </a:lnTo>
                        <a:lnTo>
                          <a:pt x="6" y="8"/>
                        </a:lnTo>
                        <a:lnTo>
                          <a:pt x="0" y="4"/>
                        </a:lnTo>
                        <a:lnTo>
                          <a:pt x="0" y="2"/>
                        </a:lnTo>
                        <a:lnTo>
                          <a:pt x="4" y="0"/>
                        </a:lnTo>
                        <a:lnTo>
                          <a:pt x="6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7" name="Freeform 30"/>
                  <p:cNvSpPr>
                    <a:spLocks/>
                  </p:cNvSpPr>
                  <p:nvPr/>
                </p:nvSpPr>
                <p:spPr bwMode="auto">
                  <a:xfrm>
                    <a:off x="9553575" y="3300412"/>
                    <a:ext cx="36513" cy="52388"/>
                  </a:xfrm>
                  <a:custGeom>
                    <a:avLst/>
                    <a:gdLst/>
                    <a:ahLst/>
                    <a:cxnLst>
                      <a:cxn ang="0">
                        <a:pos x="21" y="0"/>
                      </a:cxn>
                      <a:cxn ang="0">
                        <a:pos x="23" y="15"/>
                      </a:cxn>
                      <a:cxn ang="0">
                        <a:pos x="15" y="33"/>
                      </a:cxn>
                      <a:cxn ang="0">
                        <a:pos x="12" y="33"/>
                      </a:cxn>
                      <a:cxn ang="0">
                        <a:pos x="8" y="25"/>
                      </a:cxn>
                      <a:cxn ang="0">
                        <a:pos x="4" y="21"/>
                      </a:cxn>
                      <a:cxn ang="0">
                        <a:pos x="0" y="17"/>
                      </a:cxn>
                      <a:cxn ang="0">
                        <a:pos x="2" y="11"/>
                      </a:cxn>
                      <a:cxn ang="0">
                        <a:pos x="0" y="8"/>
                      </a:cxn>
                      <a:cxn ang="0">
                        <a:pos x="2" y="6"/>
                      </a:cxn>
                      <a:cxn ang="0">
                        <a:pos x="13" y="2"/>
                      </a:cxn>
                      <a:cxn ang="0">
                        <a:pos x="19" y="0"/>
                      </a:cxn>
                      <a:cxn ang="0">
                        <a:pos x="21" y="0"/>
                      </a:cxn>
                    </a:cxnLst>
                    <a:rect l="0" t="0" r="r" b="b"/>
                    <a:pathLst>
                      <a:path w="23" h="33">
                        <a:moveTo>
                          <a:pt x="21" y="0"/>
                        </a:moveTo>
                        <a:lnTo>
                          <a:pt x="23" y="15"/>
                        </a:lnTo>
                        <a:lnTo>
                          <a:pt x="15" y="33"/>
                        </a:lnTo>
                        <a:lnTo>
                          <a:pt x="12" y="33"/>
                        </a:lnTo>
                        <a:lnTo>
                          <a:pt x="8" y="25"/>
                        </a:lnTo>
                        <a:lnTo>
                          <a:pt x="4" y="21"/>
                        </a:lnTo>
                        <a:lnTo>
                          <a:pt x="0" y="17"/>
                        </a:lnTo>
                        <a:lnTo>
                          <a:pt x="2" y="11"/>
                        </a:lnTo>
                        <a:lnTo>
                          <a:pt x="0" y="8"/>
                        </a:lnTo>
                        <a:lnTo>
                          <a:pt x="2" y="6"/>
                        </a:lnTo>
                        <a:lnTo>
                          <a:pt x="13" y="2"/>
                        </a:lnTo>
                        <a:lnTo>
                          <a:pt x="19" y="0"/>
                        </a:lnTo>
                        <a:lnTo>
                          <a:pt x="21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8" name="Freeform 31"/>
                  <p:cNvSpPr>
                    <a:spLocks/>
                  </p:cNvSpPr>
                  <p:nvPr/>
                </p:nvSpPr>
                <p:spPr bwMode="auto">
                  <a:xfrm>
                    <a:off x="9540875" y="3336925"/>
                    <a:ext cx="22225" cy="17463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8" y="2"/>
                      </a:cxn>
                      <a:cxn ang="0">
                        <a:pos x="12" y="4"/>
                      </a:cxn>
                      <a:cxn ang="0">
                        <a:pos x="14" y="6"/>
                      </a:cxn>
                      <a:cxn ang="0">
                        <a:pos x="12" y="10"/>
                      </a:cxn>
                      <a:cxn ang="0">
                        <a:pos x="6" y="11"/>
                      </a:cxn>
                      <a:cxn ang="0">
                        <a:pos x="2" y="10"/>
                      </a:cxn>
                      <a:cxn ang="0">
                        <a:pos x="0" y="6"/>
                      </a:cxn>
                      <a:cxn ang="0">
                        <a:pos x="2" y="0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14" h="11">
                        <a:moveTo>
                          <a:pt x="4" y="0"/>
                        </a:moveTo>
                        <a:lnTo>
                          <a:pt x="8" y="2"/>
                        </a:lnTo>
                        <a:lnTo>
                          <a:pt x="12" y="4"/>
                        </a:lnTo>
                        <a:lnTo>
                          <a:pt x="14" y="6"/>
                        </a:lnTo>
                        <a:lnTo>
                          <a:pt x="12" y="10"/>
                        </a:lnTo>
                        <a:lnTo>
                          <a:pt x="6" y="11"/>
                        </a:lnTo>
                        <a:lnTo>
                          <a:pt x="2" y="10"/>
                        </a:lnTo>
                        <a:lnTo>
                          <a:pt x="0" y="6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9" name="Freeform 32"/>
                  <p:cNvSpPr>
                    <a:spLocks/>
                  </p:cNvSpPr>
                  <p:nvPr/>
                </p:nvSpPr>
                <p:spPr bwMode="auto">
                  <a:xfrm>
                    <a:off x="9572625" y="3360737"/>
                    <a:ext cx="17463" cy="2857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3" y="2"/>
                      </a:cxn>
                      <a:cxn ang="0">
                        <a:pos x="9" y="8"/>
                      </a:cxn>
                      <a:cxn ang="0">
                        <a:pos x="11" y="16"/>
                      </a:cxn>
                      <a:cxn ang="0">
                        <a:pos x="7" y="18"/>
                      </a:cxn>
                      <a:cxn ang="0">
                        <a:pos x="3" y="18"/>
                      </a:cxn>
                      <a:cxn ang="0">
                        <a:pos x="0" y="12"/>
                      </a:cxn>
                      <a:cxn ang="0">
                        <a:pos x="0" y="8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1" h="18">
                        <a:moveTo>
                          <a:pt x="0" y="0"/>
                        </a:moveTo>
                        <a:lnTo>
                          <a:pt x="3" y="2"/>
                        </a:lnTo>
                        <a:lnTo>
                          <a:pt x="9" y="8"/>
                        </a:lnTo>
                        <a:lnTo>
                          <a:pt x="11" y="16"/>
                        </a:lnTo>
                        <a:lnTo>
                          <a:pt x="7" y="18"/>
                        </a:lnTo>
                        <a:lnTo>
                          <a:pt x="3" y="18"/>
                        </a:lnTo>
                        <a:lnTo>
                          <a:pt x="0" y="12"/>
                        </a:lnTo>
                        <a:lnTo>
                          <a:pt x="0" y="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10" name="Freeform 33"/>
                  <p:cNvSpPr>
                    <a:spLocks/>
                  </p:cNvSpPr>
                  <p:nvPr/>
                </p:nvSpPr>
                <p:spPr bwMode="auto">
                  <a:xfrm>
                    <a:off x="7537450" y="-604838"/>
                    <a:ext cx="11113" cy="23813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2" y="15"/>
                      </a:cxn>
                      <a:cxn ang="0">
                        <a:pos x="5" y="15"/>
                      </a:cxn>
                      <a:cxn ang="0">
                        <a:pos x="7" y="10"/>
                      </a:cxn>
                      <a:cxn ang="0">
                        <a:pos x="5" y="6"/>
                      </a:cxn>
                      <a:cxn ang="0">
                        <a:pos x="4" y="0"/>
                      </a:cxn>
                      <a:cxn ang="0">
                        <a:pos x="2" y="0"/>
                      </a:cxn>
                      <a:cxn ang="0">
                        <a:pos x="0" y="10"/>
                      </a:cxn>
                    </a:cxnLst>
                    <a:rect l="0" t="0" r="r" b="b"/>
                    <a:pathLst>
                      <a:path w="7" h="15">
                        <a:moveTo>
                          <a:pt x="0" y="10"/>
                        </a:moveTo>
                        <a:lnTo>
                          <a:pt x="2" y="15"/>
                        </a:lnTo>
                        <a:lnTo>
                          <a:pt x="5" y="15"/>
                        </a:lnTo>
                        <a:lnTo>
                          <a:pt x="7" y="10"/>
                        </a:lnTo>
                        <a:lnTo>
                          <a:pt x="5" y="6"/>
                        </a:ln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0" y="1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17" name="Group 223"/>
                <p:cNvGrpSpPr/>
                <p:nvPr/>
              </p:nvGrpSpPr>
              <p:grpSpPr>
                <a:xfrm>
                  <a:off x="-1022350" y="-2544763"/>
                  <a:ext cx="8613775" cy="5842000"/>
                  <a:chOff x="-1022350" y="-2544763"/>
                  <a:chExt cx="8613775" cy="5842000"/>
                </a:xfrm>
                <a:grpFill/>
              </p:grpSpPr>
              <p:sp>
                <p:nvSpPr>
                  <p:cNvPr id="36" name="Freeform 35"/>
                  <p:cNvSpPr>
                    <a:spLocks/>
                  </p:cNvSpPr>
                  <p:nvPr/>
                </p:nvSpPr>
                <p:spPr bwMode="auto">
                  <a:xfrm>
                    <a:off x="-1022350" y="-2544763"/>
                    <a:ext cx="8613775" cy="5842000"/>
                  </a:xfrm>
                  <a:custGeom>
                    <a:avLst/>
                    <a:gdLst/>
                    <a:ahLst/>
                    <a:cxnLst>
                      <a:cxn ang="0">
                        <a:pos x="4805" y="3507"/>
                      </a:cxn>
                      <a:cxn ang="0">
                        <a:pos x="5050" y="3622"/>
                      </a:cxn>
                      <a:cxn ang="0">
                        <a:pos x="5298" y="3482"/>
                      </a:cxn>
                      <a:cxn ang="0">
                        <a:pos x="5267" y="3181"/>
                      </a:cxn>
                      <a:cxn ang="0">
                        <a:pos x="5309" y="3001"/>
                      </a:cxn>
                      <a:cxn ang="0">
                        <a:pos x="5208" y="2715"/>
                      </a:cxn>
                      <a:cxn ang="0">
                        <a:pos x="5092" y="2460"/>
                      </a:cxn>
                      <a:cxn ang="0">
                        <a:pos x="4937" y="2022"/>
                      </a:cxn>
                      <a:cxn ang="0">
                        <a:pos x="5219" y="1661"/>
                      </a:cxn>
                      <a:cxn ang="0">
                        <a:pos x="5288" y="1519"/>
                      </a:cxn>
                      <a:cxn ang="0">
                        <a:pos x="5359" y="1333"/>
                      </a:cxn>
                      <a:cxn ang="0">
                        <a:pos x="5321" y="1214"/>
                      </a:cxn>
                      <a:cxn ang="0">
                        <a:pos x="5252" y="1184"/>
                      </a:cxn>
                      <a:cxn ang="0">
                        <a:pos x="5167" y="1155"/>
                      </a:cxn>
                      <a:cxn ang="0">
                        <a:pos x="5073" y="1147"/>
                      </a:cxn>
                      <a:cxn ang="0">
                        <a:pos x="4958" y="1185"/>
                      </a:cxn>
                      <a:cxn ang="0">
                        <a:pos x="5041" y="1326"/>
                      </a:cxn>
                      <a:cxn ang="0">
                        <a:pos x="4820" y="1368"/>
                      </a:cxn>
                      <a:cxn ang="0">
                        <a:pos x="4638" y="1408"/>
                      </a:cxn>
                      <a:cxn ang="0">
                        <a:pos x="4457" y="1395"/>
                      </a:cxn>
                      <a:cxn ang="0">
                        <a:pos x="4450" y="1387"/>
                      </a:cxn>
                      <a:cxn ang="0">
                        <a:pos x="4235" y="1297"/>
                      </a:cxn>
                      <a:cxn ang="0">
                        <a:pos x="4377" y="1034"/>
                      </a:cxn>
                      <a:cxn ang="0">
                        <a:pos x="4638" y="781"/>
                      </a:cxn>
                      <a:cxn ang="0">
                        <a:pos x="4547" y="788"/>
                      </a:cxn>
                      <a:cxn ang="0">
                        <a:pos x="4469" y="543"/>
                      </a:cxn>
                      <a:cxn ang="0">
                        <a:pos x="4338" y="253"/>
                      </a:cxn>
                      <a:cxn ang="0">
                        <a:pos x="4104" y="554"/>
                      </a:cxn>
                      <a:cxn ang="0">
                        <a:pos x="3736" y="571"/>
                      </a:cxn>
                      <a:cxn ang="0">
                        <a:pos x="3454" y="541"/>
                      </a:cxn>
                      <a:cxn ang="0">
                        <a:pos x="3195" y="642"/>
                      </a:cxn>
                      <a:cxn ang="0">
                        <a:pos x="2920" y="788"/>
                      </a:cxn>
                      <a:cxn ang="0">
                        <a:pos x="2701" y="533"/>
                      </a:cxn>
                      <a:cxn ang="0">
                        <a:pos x="2655" y="140"/>
                      </a:cxn>
                      <a:cxn ang="0">
                        <a:pos x="2431" y="140"/>
                      </a:cxn>
                      <a:cxn ang="0">
                        <a:pos x="2174" y="234"/>
                      </a:cxn>
                      <a:cxn ang="0">
                        <a:pos x="2005" y="274"/>
                      </a:cxn>
                      <a:cxn ang="0">
                        <a:pos x="1874" y="324"/>
                      </a:cxn>
                      <a:cxn ang="0">
                        <a:pos x="1938" y="635"/>
                      </a:cxn>
                      <a:cxn ang="0">
                        <a:pos x="1679" y="813"/>
                      </a:cxn>
                      <a:cxn ang="0">
                        <a:pos x="1304" y="767"/>
                      </a:cxn>
                      <a:cxn ang="0">
                        <a:pos x="1090" y="681"/>
                      </a:cxn>
                      <a:cxn ang="0">
                        <a:pos x="909" y="888"/>
                      </a:cxn>
                      <a:cxn ang="0">
                        <a:pos x="819" y="1143"/>
                      </a:cxn>
                      <a:cxn ang="0">
                        <a:pos x="733" y="1876"/>
                      </a:cxn>
                      <a:cxn ang="0">
                        <a:pos x="594" y="1859"/>
                      </a:cxn>
                      <a:cxn ang="0">
                        <a:pos x="456" y="1922"/>
                      </a:cxn>
                      <a:cxn ang="0">
                        <a:pos x="186" y="2126"/>
                      </a:cxn>
                      <a:cxn ang="0">
                        <a:pos x="3" y="2525"/>
                      </a:cxn>
                      <a:cxn ang="0">
                        <a:pos x="190" y="2901"/>
                      </a:cxn>
                      <a:cxn ang="0">
                        <a:pos x="627" y="2951"/>
                      </a:cxn>
                      <a:cxn ang="0">
                        <a:pos x="940" y="3200"/>
                      </a:cxn>
                      <a:cxn ang="0">
                        <a:pos x="1433" y="2976"/>
                      </a:cxn>
                      <a:cxn ang="0">
                        <a:pos x="1667" y="3066"/>
                      </a:cxn>
                      <a:cxn ang="0">
                        <a:pos x="1849" y="3413"/>
                      </a:cxn>
                      <a:cxn ang="0">
                        <a:pos x="2275" y="3576"/>
                      </a:cxn>
                      <a:cxn ang="0">
                        <a:pos x="2723" y="3394"/>
                      </a:cxn>
                      <a:cxn ang="0">
                        <a:pos x="2463" y="3156"/>
                      </a:cxn>
                      <a:cxn ang="0">
                        <a:pos x="2404" y="2770"/>
                      </a:cxn>
                      <a:cxn ang="0">
                        <a:pos x="3012" y="2619"/>
                      </a:cxn>
                      <a:cxn ang="0">
                        <a:pos x="3185" y="2719"/>
                      </a:cxn>
                      <a:cxn ang="0">
                        <a:pos x="4501" y="3049"/>
                      </a:cxn>
                      <a:cxn ang="0">
                        <a:pos x="4471" y="3479"/>
                      </a:cxn>
                    </a:cxnLst>
                    <a:rect l="0" t="0" r="r" b="b"/>
                    <a:pathLst>
                      <a:path w="5426" h="3680">
                        <a:moveTo>
                          <a:pt x="4492" y="3503"/>
                        </a:moveTo>
                        <a:lnTo>
                          <a:pt x="4492" y="3503"/>
                        </a:lnTo>
                        <a:lnTo>
                          <a:pt x="4498" y="3482"/>
                        </a:lnTo>
                        <a:lnTo>
                          <a:pt x="4503" y="3473"/>
                        </a:lnTo>
                        <a:lnTo>
                          <a:pt x="4505" y="3465"/>
                        </a:lnTo>
                        <a:lnTo>
                          <a:pt x="4513" y="3457"/>
                        </a:lnTo>
                        <a:lnTo>
                          <a:pt x="4517" y="3448"/>
                        </a:lnTo>
                        <a:lnTo>
                          <a:pt x="4522" y="3440"/>
                        </a:lnTo>
                        <a:lnTo>
                          <a:pt x="4532" y="3436"/>
                        </a:lnTo>
                        <a:lnTo>
                          <a:pt x="4557" y="3411"/>
                        </a:lnTo>
                        <a:lnTo>
                          <a:pt x="4561" y="3411"/>
                        </a:lnTo>
                        <a:lnTo>
                          <a:pt x="4557" y="3423"/>
                        </a:lnTo>
                        <a:lnTo>
                          <a:pt x="4551" y="3434"/>
                        </a:lnTo>
                        <a:lnTo>
                          <a:pt x="4551" y="3448"/>
                        </a:lnTo>
                        <a:lnTo>
                          <a:pt x="4547" y="3456"/>
                        </a:lnTo>
                        <a:lnTo>
                          <a:pt x="4545" y="3467"/>
                        </a:lnTo>
                        <a:lnTo>
                          <a:pt x="4542" y="3471"/>
                        </a:lnTo>
                        <a:lnTo>
                          <a:pt x="4538" y="3486"/>
                        </a:lnTo>
                        <a:lnTo>
                          <a:pt x="4540" y="3492"/>
                        </a:lnTo>
                        <a:lnTo>
                          <a:pt x="4545" y="3500"/>
                        </a:lnTo>
                        <a:lnTo>
                          <a:pt x="4559" y="3502"/>
                        </a:lnTo>
                        <a:lnTo>
                          <a:pt x="4570" y="3509"/>
                        </a:lnTo>
                        <a:lnTo>
                          <a:pt x="4580" y="3509"/>
                        </a:lnTo>
                        <a:lnTo>
                          <a:pt x="4593" y="3515"/>
                        </a:lnTo>
                        <a:lnTo>
                          <a:pt x="4603" y="3517"/>
                        </a:lnTo>
                        <a:lnTo>
                          <a:pt x="4620" y="3530"/>
                        </a:lnTo>
                        <a:lnTo>
                          <a:pt x="4626" y="3536"/>
                        </a:lnTo>
                        <a:lnTo>
                          <a:pt x="4638" y="3538"/>
                        </a:lnTo>
                        <a:lnTo>
                          <a:pt x="4661" y="3553"/>
                        </a:lnTo>
                        <a:lnTo>
                          <a:pt x="4676" y="3559"/>
                        </a:lnTo>
                        <a:lnTo>
                          <a:pt x="4687" y="3569"/>
                        </a:lnTo>
                        <a:lnTo>
                          <a:pt x="4716" y="3582"/>
                        </a:lnTo>
                        <a:lnTo>
                          <a:pt x="4716" y="3555"/>
                        </a:lnTo>
                        <a:lnTo>
                          <a:pt x="4730" y="3525"/>
                        </a:lnTo>
                        <a:lnTo>
                          <a:pt x="4735" y="3507"/>
                        </a:lnTo>
                        <a:lnTo>
                          <a:pt x="4747" y="3509"/>
                        </a:lnTo>
                        <a:lnTo>
                          <a:pt x="4757" y="3503"/>
                        </a:lnTo>
                        <a:lnTo>
                          <a:pt x="4760" y="3502"/>
                        </a:lnTo>
                        <a:lnTo>
                          <a:pt x="4770" y="3505"/>
                        </a:lnTo>
                        <a:lnTo>
                          <a:pt x="4774" y="3511"/>
                        </a:lnTo>
                        <a:lnTo>
                          <a:pt x="4782" y="3519"/>
                        </a:lnTo>
                        <a:lnTo>
                          <a:pt x="4789" y="3523"/>
                        </a:lnTo>
                        <a:lnTo>
                          <a:pt x="4791" y="3523"/>
                        </a:lnTo>
                        <a:lnTo>
                          <a:pt x="4801" y="3519"/>
                        </a:lnTo>
                        <a:lnTo>
                          <a:pt x="4805" y="3515"/>
                        </a:lnTo>
                        <a:lnTo>
                          <a:pt x="4805" y="3507"/>
                        </a:lnTo>
                        <a:lnTo>
                          <a:pt x="4808" y="3500"/>
                        </a:lnTo>
                        <a:lnTo>
                          <a:pt x="4808" y="3500"/>
                        </a:lnTo>
                        <a:lnTo>
                          <a:pt x="4812" y="3490"/>
                        </a:lnTo>
                        <a:lnTo>
                          <a:pt x="4814" y="3488"/>
                        </a:lnTo>
                        <a:lnTo>
                          <a:pt x="4816" y="3500"/>
                        </a:lnTo>
                        <a:lnTo>
                          <a:pt x="4822" y="3509"/>
                        </a:lnTo>
                        <a:lnTo>
                          <a:pt x="4833" y="3517"/>
                        </a:lnTo>
                        <a:lnTo>
                          <a:pt x="4841" y="3528"/>
                        </a:lnTo>
                        <a:lnTo>
                          <a:pt x="4854" y="3536"/>
                        </a:lnTo>
                        <a:lnTo>
                          <a:pt x="4860" y="3544"/>
                        </a:lnTo>
                        <a:lnTo>
                          <a:pt x="4862" y="3551"/>
                        </a:lnTo>
                        <a:lnTo>
                          <a:pt x="4858" y="3567"/>
                        </a:lnTo>
                        <a:lnTo>
                          <a:pt x="4858" y="3584"/>
                        </a:lnTo>
                        <a:lnTo>
                          <a:pt x="4860" y="3590"/>
                        </a:lnTo>
                        <a:lnTo>
                          <a:pt x="4860" y="3594"/>
                        </a:lnTo>
                        <a:lnTo>
                          <a:pt x="4866" y="3594"/>
                        </a:lnTo>
                        <a:lnTo>
                          <a:pt x="4870" y="3584"/>
                        </a:lnTo>
                        <a:lnTo>
                          <a:pt x="4870" y="3576"/>
                        </a:lnTo>
                        <a:lnTo>
                          <a:pt x="4877" y="3563"/>
                        </a:lnTo>
                        <a:lnTo>
                          <a:pt x="4881" y="3563"/>
                        </a:lnTo>
                        <a:lnTo>
                          <a:pt x="4883" y="3565"/>
                        </a:lnTo>
                        <a:lnTo>
                          <a:pt x="4885" y="3567"/>
                        </a:lnTo>
                        <a:lnTo>
                          <a:pt x="4883" y="3582"/>
                        </a:lnTo>
                        <a:lnTo>
                          <a:pt x="4885" y="3586"/>
                        </a:lnTo>
                        <a:lnTo>
                          <a:pt x="4891" y="3586"/>
                        </a:lnTo>
                        <a:lnTo>
                          <a:pt x="4895" y="3586"/>
                        </a:lnTo>
                        <a:lnTo>
                          <a:pt x="4902" y="3580"/>
                        </a:lnTo>
                        <a:lnTo>
                          <a:pt x="4916" y="3578"/>
                        </a:lnTo>
                        <a:lnTo>
                          <a:pt x="4927" y="3567"/>
                        </a:lnTo>
                        <a:lnTo>
                          <a:pt x="4945" y="3559"/>
                        </a:lnTo>
                        <a:lnTo>
                          <a:pt x="4941" y="3574"/>
                        </a:lnTo>
                        <a:lnTo>
                          <a:pt x="4941" y="3590"/>
                        </a:lnTo>
                        <a:lnTo>
                          <a:pt x="4945" y="3592"/>
                        </a:lnTo>
                        <a:lnTo>
                          <a:pt x="4950" y="3592"/>
                        </a:lnTo>
                        <a:lnTo>
                          <a:pt x="4962" y="3586"/>
                        </a:lnTo>
                        <a:lnTo>
                          <a:pt x="4968" y="3586"/>
                        </a:lnTo>
                        <a:lnTo>
                          <a:pt x="4979" y="3592"/>
                        </a:lnTo>
                        <a:lnTo>
                          <a:pt x="4993" y="3594"/>
                        </a:lnTo>
                        <a:lnTo>
                          <a:pt x="5002" y="3599"/>
                        </a:lnTo>
                        <a:lnTo>
                          <a:pt x="5014" y="3601"/>
                        </a:lnTo>
                        <a:lnTo>
                          <a:pt x="5016" y="3603"/>
                        </a:lnTo>
                        <a:lnTo>
                          <a:pt x="5025" y="3603"/>
                        </a:lnTo>
                        <a:lnTo>
                          <a:pt x="5039" y="3613"/>
                        </a:lnTo>
                        <a:lnTo>
                          <a:pt x="5042" y="3617"/>
                        </a:lnTo>
                        <a:lnTo>
                          <a:pt x="5048" y="3622"/>
                        </a:lnTo>
                        <a:lnTo>
                          <a:pt x="5050" y="3622"/>
                        </a:lnTo>
                        <a:lnTo>
                          <a:pt x="5052" y="3617"/>
                        </a:lnTo>
                        <a:lnTo>
                          <a:pt x="5052" y="3611"/>
                        </a:lnTo>
                        <a:lnTo>
                          <a:pt x="5050" y="3598"/>
                        </a:lnTo>
                        <a:lnTo>
                          <a:pt x="5050" y="3596"/>
                        </a:lnTo>
                        <a:lnTo>
                          <a:pt x="5050" y="3594"/>
                        </a:lnTo>
                        <a:lnTo>
                          <a:pt x="5054" y="3588"/>
                        </a:lnTo>
                        <a:lnTo>
                          <a:pt x="5046" y="3574"/>
                        </a:lnTo>
                        <a:lnTo>
                          <a:pt x="5048" y="3565"/>
                        </a:lnTo>
                        <a:lnTo>
                          <a:pt x="5046" y="3557"/>
                        </a:lnTo>
                        <a:lnTo>
                          <a:pt x="5058" y="3561"/>
                        </a:lnTo>
                        <a:lnTo>
                          <a:pt x="5060" y="3563"/>
                        </a:lnTo>
                        <a:lnTo>
                          <a:pt x="5060" y="3569"/>
                        </a:lnTo>
                        <a:lnTo>
                          <a:pt x="5062" y="3573"/>
                        </a:lnTo>
                        <a:lnTo>
                          <a:pt x="5073" y="3574"/>
                        </a:lnTo>
                        <a:lnTo>
                          <a:pt x="5077" y="3578"/>
                        </a:lnTo>
                        <a:lnTo>
                          <a:pt x="5083" y="3586"/>
                        </a:lnTo>
                        <a:lnTo>
                          <a:pt x="5085" y="3590"/>
                        </a:lnTo>
                        <a:lnTo>
                          <a:pt x="5090" y="3590"/>
                        </a:lnTo>
                        <a:lnTo>
                          <a:pt x="5096" y="3586"/>
                        </a:lnTo>
                        <a:lnTo>
                          <a:pt x="5104" y="3580"/>
                        </a:lnTo>
                        <a:lnTo>
                          <a:pt x="5123" y="3578"/>
                        </a:lnTo>
                        <a:lnTo>
                          <a:pt x="5133" y="3571"/>
                        </a:lnTo>
                        <a:lnTo>
                          <a:pt x="5137" y="3571"/>
                        </a:lnTo>
                        <a:lnTo>
                          <a:pt x="5138" y="3574"/>
                        </a:lnTo>
                        <a:lnTo>
                          <a:pt x="5142" y="3574"/>
                        </a:lnTo>
                        <a:lnTo>
                          <a:pt x="5150" y="3565"/>
                        </a:lnTo>
                        <a:lnTo>
                          <a:pt x="5175" y="3557"/>
                        </a:lnTo>
                        <a:lnTo>
                          <a:pt x="5186" y="3548"/>
                        </a:lnTo>
                        <a:lnTo>
                          <a:pt x="5192" y="3544"/>
                        </a:lnTo>
                        <a:lnTo>
                          <a:pt x="5196" y="3546"/>
                        </a:lnTo>
                        <a:lnTo>
                          <a:pt x="5200" y="3546"/>
                        </a:lnTo>
                        <a:lnTo>
                          <a:pt x="5208" y="3546"/>
                        </a:lnTo>
                        <a:lnTo>
                          <a:pt x="5213" y="3540"/>
                        </a:lnTo>
                        <a:lnTo>
                          <a:pt x="5227" y="3530"/>
                        </a:lnTo>
                        <a:lnTo>
                          <a:pt x="5238" y="3528"/>
                        </a:lnTo>
                        <a:lnTo>
                          <a:pt x="5246" y="3530"/>
                        </a:lnTo>
                        <a:lnTo>
                          <a:pt x="5248" y="3530"/>
                        </a:lnTo>
                        <a:lnTo>
                          <a:pt x="5255" y="3534"/>
                        </a:lnTo>
                        <a:lnTo>
                          <a:pt x="5265" y="3534"/>
                        </a:lnTo>
                        <a:lnTo>
                          <a:pt x="5271" y="3532"/>
                        </a:lnTo>
                        <a:lnTo>
                          <a:pt x="5279" y="3521"/>
                        </a:lnTo>
                        <a:lnTo>
                          <a:pt x="5280" y="3519"/>
                        </a:lnTo>
                        <a:lnTo>
                          <a:pt x="5286" y="3517"/>
                        </a:lnTo>
                        <a:lnTo>
                          <a:pt x="5298" y="3517"/>
                        </a:lnTo>
                        <a:lnTo>
                          <a:pt x="5298" y="3517"/>
                        </a:lnTo>
                        <a:lnTo>
                          <a:pt x="5298" y="3482"/>
                        </a:lnTo>
                        <a:lnTo>
                          <a:pt x="5300" y="3469"/>
                        </a:lnTo>
                        <a:lnTo>
                          <a:pt x="5311" y="3444"/>
                        </a:lnTo>
                        <a:lnTo>
                          <a:pt x="5309" y="3436"/>
                        </a:lnTo>
                        <a:lnTo>
                          <a:pt x="5294" y="3423"/>
                        </a:lnTo>
                        <a:lnTo>
                          <a:pt x="5290" y="3415"/>
                        </a:lnTo>
                        <a:lnTo>
                          <a:pt x="5288" y="3408"/>
                        </a:lnTo>
                        <a:lnTo>
                          <a:pt x="5284" y="3377"/>
                        </a:lnTo>
                        <a:lnTo>
                          <a:pt x="5282" y="3371"/>
                        </a:lnTo>
                        <a:lnTo>
                          <a:pt x="5280" y="3367"/>
                        </a:lnTo>
                        <a:lnTo>
                          <a:pt x="5284" y="3358"/>
                        </a:lnTo>
                        <a:lnTo>
                          <a:pt x="5290" y="3348"/>
                        </a:lnTo>
                        <a:lnTo>
                          <a:pt x="5302" y="3344"/>
                        </a:lnTo>
                        <a:lnTo>
                          <a:pt x="5319" y="3342"/>
                        </a:lnTo>
                        <a:lnTo>
                          <a:pt x="5325" y="3338"/>
                        </a:lnTo>
                        <a:lnTo>
                          <a:pt x="5326" y="3337"/>
                        </a:lnTo>
                        <a:lnTo>
                          <a:pt x="5321" y="3331"/>
                        </a:lnTo>
                        <a:lnTo>
                          <a:pt x="5296" y="3331"/>
                        </a:lnTo>
                        <a:lnTo>
                          <a:pt x="5290" y="3327"/>
                        </a:lnTo>
                        <a:lnTo>
                          <a:pt x="5290" y="3315"/>
                        </a:lnTo>
                        <a:lnTo>
                          <a:pt x="5294" y="3306"/>
                        </a:lnTo>
                        <a:lnTo>
                          <a:pt x="5305" y="3290"/>
                        </a:lnTo>
                        <a:lnTo>
                          <a:pt x="5303" y="3290"/>
                        </a:lnTo>
                        <a:lnTo>
                          <a:pt x="5303" y="3283"/>
                        </a:lnTo>
                        <a:lnTo>
                          <a:pt x="5303" y="3279"/>
                        </a:lnTo>
                        <a:lnTo>
                          <a:pt x="5309" y="3279"/>
                        </a:lnTo>
                        <a:lnTo>
                          <a:pt x="5313" y="3283"/>
                        </a:lnTo>
                        <a:lnTo>
                          <a:pt x="5319" y="3287"/>
                        </a:lnTo>
                        <a:lnTo>
                          <a:pt x="5325" y="3285"/>
                        </a:lnTo>
                        <a:lnTo>
                          <a:pt x="5330" y="3283"/>
                        </a:lnTo>
                        <a:lnTo>
                          <a:pt x="5334" y="3279"/>
                        </a:lnTo>
                        <a:lnTo>
                          <a:pt x="5334" y="3275"/>
                        </a:lnTo>
                        <a:lnTo>
                          <a:pt x="5330" y="3271"/>
                        </a:lnTo>
                        <a:lnTo>
                          <a:pt x="5319" y="3267"/>
                        </a:lnTo>
                        <a:lnTo>
                          <a:pt x="5300" y="3260"/>
                        </a:lnTo>
                        <a:lnTo>
                          <a:pt x="5282" y="3258"/>
                        </a:lnTo>
                        <a:lnTo>
                          <a:pt x="5273" y="3254"/>
                        </a:lnTo>
                        <a:lnTo>
                          <a:pt x="5269" y="3248"/>
                        </a:lnTo>
                        <a:lnTo>
                          <a:pt x="5265" y="3237"/>
                        </a:lnTo>
                        <a:lnTo>
                          <a:pt x="5257" y="3233"/>
                        </a:lnTo>
                        <a:lnTo>
                          <a:pt x="5248" y="3225"/>
                        </a:lnTo>
                        <a:lnTo>
                          <a:pt x="5246" y="3218"/>
                        </a:lnTo>
                        <a:lnTo>
                          <a:pt x="5246" y="3210"/>
                        </a:lnTo>
                        <a:lnTo>
                          <a:pt x="5246" y="3206"/>
                        </a:lnTo>
                        <a:lnTo>
                          <a:pt x="5250" y="3196"/>
                        </a:lnTo>
                        <a:lnTo>
                          <a:pt x="5261" y="3189"/>
                        </a:lnTo>
                        <a:lnTo>
                          <a:pt x="5267" y="3181"/>
                        </a:lnTo>
                        <a:lnTo>
                          <a:pt x="5261" y="3172"/>
                        </a:lnTo>
                        <a:lnTo>
                          <a:pt x="5261" y="3168"/>
                        </a:lnTo>
                        <a:lnTo>
                          <a:pt x="5265" y="3162"/>
                        </a:lnTo>
                        <a:lnTo>
                          <a:pt x="5280" y="3156"/>
                        </a:lnTo>
                        <a:lnTo>
                          <a:pt x="5288" y="3148"/>
                        </a:lnTo>
                        <a:lnTo>
                          <a:pt x="5300" y="3145"/>
                        </a:lnTo>
                        <a:lnTo>
                          <a:pt x="5305" y="3139"/>
                        </a:lnTo>
                        <a:lnTo>
                          <a:pt x="5307" y="3124"/>
                        </a:lnTo>
                        <a:lnTo>
                          <a:pt x="5309" y="3122"/>
                        </a:lnTo>
                        <a:lnTo>
                          <a:pt x="5309" y="3120"/>
                        </a:lnTo>
                        <a:lnTo>
                          <a:pt x="5325" y="3101"/>
                        </a:lnTo>
                        <a:lnTo>
                          <a:pt x="5326" y="3099"/>
                        </a:lnTo>
                        <a:lnTo>
                          <a:pt x="5332" y="3093"/>
                        </a:lnTo>
                        <a:lnTo>
                          <a:pt x="5338" y="3089"/>
                        </a:lnTo>
                        <a:lnTo>
                          <a:pt x="5338" y="3087"/>
                        </a:lnTo>
                        <a:lnTo>
                          <a:pt x="5340" y="3087"/>
                        </a:lnTo>
                        <a:lnTo>
                          <a:pt x="5359" y="3077"/>
                        </a:lnTo>
                        <a:lnTo>
                          <a:pt x="5367" y="3076"/>
                        </a:lnTo>
                        <a:lnTo>
                          <a:pt x="5378" y="3064"/>
                        </a:lnTo>
                        <a:lnTo>
                          <a:pt x="5386" y="3060"/>
                        </a:lnTo>
                        <a:lnTo>
                          <a:pt x="5394" y="3058"/>
                        </a:lnTo>
                        <a:lnTo>
                          <a:pt x="5396" y="3054"/>
                        </a:lnTo>
                        <a:lnTo>
                          <a:pt x="5399" y="3039"/>
                        </a:lnTo>
                        <a:lnTo>
                          <a:pt x="5401" y="3037"/>
                        </a:lnTo>
                        <a:lnTo>
                          <a:pt x="5417" y="3031"/>
                        </a:lnTo>
                        <a:lnTo>
                          <a:pt x="5422" y="3024"/>
                        </a:lnTo>
                        <a:lnTo>
                          <a:pt x="5424" y="3010"/>
                        </a:lnTo>
                        <a:lnTo>
                          <a:pt x="5422" y="3003"/>
                        </a:lnTo>
                        <a:lnTo>
                          <a:pt x="5422" y="3003"/>
                        </a:lnTo>
                        <a:lnTo>
                          <a:pt x="5426" y="2999"/>
                        </a:lnTo>
                        <a:lnTo>
                          <a:pt x="5417" y="3010"/>
                        </a:lnTo>
                        <a:lnTo>
                          <a:pt x="5413" y="3014"/>
                        </a:lnTo>
                        <a:lnTo>
                          <a:pt x="5401" y="3014"/>
                        </a:lnTo>
                        <a:lnTo>
                          <a:pt x="5397" y="3014"/>
                        </a:lnTo>
                        <a:lnTo>
                          <a:pt x="5394" y="3012"/>
                        </a:lnTo>
                        <a:lnTo>
                          <a:pt x="5384" y="3012"/>
                        </a:lnTo>
                        <a:lnTo>
                          <a:pt x="5382" y="3014"/>
                        </a:lnTo>
                        <a:lnTo>
                          <a:pt x="5378" y="3016"/>
                        </a:lnTo>
                        <a:lnTo>
                          <a:pt x="5373" y="3016"/>
                        </a:lnTo>
                        <a:lnTo>
                          <a:pt x="5365" y="3016"/>
                        </a:lnTo>
                        <a:lnTo>
                          <a:pt x="5361" y="3012"/>
                        </a:lnTo>
                        <a:lnTo>
                          <a:pt x="5361" y="3012"/>
                        </a:lnTo>
                        <a:lnTo>
                          <a:pt x="5357" y="3008"/>
                        </a:lnTo>
                        <a:lnTo>
                          <a:pt x="5353" y="3008"/>
                        </a:lnTo>
                        <a:lnTo>
                          <a:pt x="5323" y="2997"/>
                        </a:lnTo>
                        <a:lnTo>
                          <a:pt x="5309" y="3001"/>
                        </a:lnTo>
                        <a:lnTo>
                          <a:pt x="5303" y="3001"/>
                        </a:lnTo>
                        <a:lnTo>
                          <a:pt x="5300" y="2997"/>
                        </a:lnTo>
                        <a:lnTo>
                          <a:pt x="5298" y="2989"/>
                        </a:lnTo>
                        <a:lnTo>
                          <a:pt x="5292" y="2983"/>
                        </a:lnTo>
                        <a:lnTo>
                          <a:pt x="5290" y="2982"/>
                        </a:lnTo>
                        <a:lnTo>
                          <a:pt x="5290" y="2976"/>
                        </a:lnTo>
                        <a:lnTo>
                          <a:pt x="5282" y="2968"/>
                        </a:lnTo>
                        <a:lnTo>
                          <a:pt x="5279" y="2959"/>
                        </a:lnTo>
                        <a:lnTo>
                          <a:pt x="5279" y="2953"/>
                        </a:lnTo>
                        <a:lnTo>
                          <a:pt x="5282" y="2949"/>
                        </a:lnTo>
                        <a:lnTo>
                          <a:pt x="5294" y="2939"/>
                        </a:lnTo>
                        <a:lnTo>
                          <a:pt x="5298" y="2934"/>
                        </a:lnTo>
                        <a:lnTo>
                          <a:pt x="5298" y="2932"/>
                        </a:lnTo>
                        <a:lnTo>
                          <a:pt x="5296" y="2922"/>
                        </a:lnTo>
                        <a:lnTo>
                          <a:pt x="5290" y="2928"/>
                        </a:lnTo>
                        <a:lnTo>
                          <a:pt x="5275" y="2928"/>
                        </a:lnTo>
                        <a:lnTo>
                          <a:pt x="5271" y="2926"/>
                        </a:lnTo>
                        <a:lnTo>
                          <a:pt x="5269" y="2924"/>
                        </a:lnTo>
                        <a:lnTo>
                          <a:pt x="5265" y="2914"/>
                        </a:lnTo>
                        <a:lnTo>
                          <a:pt x="5248" y="2914"/>
                        </a:lnTo>
                        <a:lnTo>
                          <a:pt x="5244" y="2909"/>
                        </a:lnTo>
                        <a:lnTo>
                          <a:pt x="5246" y="2901"/>
                        </a:lnTo>
                        <a:lnTo>
                          <a:pt x="5261" y="2884"/>
                        </a:lnTo>
                        <a:lnTo>
                          <a:pt x="5265" y="2874"/>
                        </a:lnTo>
                        <a:lnTo>
                          <a:pt x="5263" y="2866"/>
                        </a:lnTo>
                        <a:lnTo>
                          <a:pt x="5257" y="2857"/>
                        </a:lnTo>
                        <a:lnTo>
                          <a:pt x="5242" y="2847"/>
                        </a:lnTo>
                        <a:lnTo>
                          <a:pt x="5232" y="2853"/>
                        </a:lnTo>
                        <a:lnTo>
                          <a:pt x="5229" y="2851"/>
                        </a:lnTo>
                        <a:lnTo>
                          <a:pt x="5227" y="2847"/>
                        </a:lnTo>
                        <a:lnTo>
                          <a:pt x="5223" y="2838"/>
                        </a:lnTo>
                        <a:lnTo>
                          <a:pt x="5217" y="2836"/>
                        </a:lnTo>
                        <a:lnTo>
                          <a:pt x="5213" y="2830"/>
                        </a:lnTo>
                        <a:lnTo>
                          <a:pt x="5215" y="2811"/>
                        </a:lnTo>
                        <a:lnTo>
                          <a:pt x="5213" y="2807"/>
                        </a:lnTo>
                        <a:lnTo>
                          <a:pt x="5209" y="2803"/>
                        </a:lnTo>
                        <a:lnTo>
                          <a:pt x="5196" y="2786"/>
                        </a:lnTo>
                        <a:lnTo>
                          <a:pt x="5184" y="2780"/>
                        </a:lnTo>
                        <a:lnTo>
                          <a:pt x="5181" y="2778"/>
                        </a:lnTo>
                        <a:lnTo>
                          <a:pt x="5175" y="2767"/>
                        </a:lnTo>
                        <a:lnTo>
                          <a:pt x="5184" y="2753"/>
                        </a:lnTo>
                        <a:lnTo>
                          <a:pt x="5200" y="2740"/>
                        </a:lnTo>
                        <a:lnTo>
                          <a:pt x="5202" y="2734"/>
                        </a:lnTo>
                        <a:lnTo>
                          <a:pt x="5200" y="2724"/>
                        </a:lnTo>
                        <a:lnTo>
                          <a:pt x="5200" y="2721"/>
                        </a:lnTo>
                        <a:lnTo>
                          <a:pt x="5208" y="2715"/>
                        </a:lnTo>
                        <a:lnTo>
                          <a:pt x="5208" y="2699"/>
                        </a:lnTo>
                        <a:lnTo>
                          <a:pt x="5217" y="2684"/>
                        </a:lnTo>
                        <a:lnTo>
                          <a:pt x="5227" y="2652"/>
                        </a:lnTo>
                        <a:lnTo>
                          <a:pt x="5234" y="2642"/>
                        </a:lnTo>
                        <a:lnTo>
                          <a:pt x="5236" y="2638"/>
                        </a:lnTo>
                        <a:lnTo>
                          <a:pt x="5255" y="2636"/>
                        </a:lnTo>
                        <a:lnTo>
                          <a:pt x="5265" y="2634"/>
                        </a:lnTo>
                        <a:lnTo>
                          <a:pt x="5269" y="2634"/>
                        </a:lnTo>
                        <a:lnTo>
                          <a:pt x="5277" y="2625"/>
                        </a:lnTo>
                        <a:lnTo>
                          <a:pt x="5279" y="2619"/>
                        </a:lnTo>
                        <a:lnTo>
                          <a:pt x="5277" y="2600"/>
                        </a:lnTo>
                        <a:lnTo>
                          <a:pt x="5284" y="2588"/>
                        </a:lnTo>
                        <a:lnTo>
                          <a:pt x="5284" y="2577"/>
                        </a:lnTo>
                        <a:lnTo>
                          <a:pt x="5284" y="2575"/>
                        </a:lnTo>
                        <a:lnTo>
                          <a:pt x="5273" y="2569"/>
                        </a:lnTo>
                        <a:lnTo>
                          <a:pt x="5267" y="2559"/>
                        </a:lnTo>
                        <a:lnTo>
                          <a:pt x="5261" y="2557"/>
                        </a:lnTo>
                        <a:lnTo>
                          <a:pt x="5255" y="2557"/>
                        </a:lnTo>
                        <a:lnTo>
                          <a:pt x="5250" y="2557"/>
                        </a:lnTo>
                        <a:lnTo>
                          <a:pt x="5244" y="2559"/>
                        </a:lnTo>
                        <a:lnTo>
                          <a:pt x="5234" y="2561"/>
                        </a:lnTo>
                        <a:lnTo>
                          <a:pt x="5223" y="2561"/>
                        </a:lnTo>
                        <a:lnTo>
                          <a:pt x="5215" y="2563"/>
                        </a:lnTo>
                        <a:lnTo>
                          <a:pt x="5206" y="2571"/>
                        </a:lnTo>
                        <a:lnTo>
                          <a:pt x="5196" y="2573"/>
                        </a:lnTo>
                        <a:lnTo>
                          <a:pt x="5190" y="2577"/>
                        </a:lnTo>
                        <a:lnTo>
                          <a:pt x="5183" y="2586"/>
                        </a:lnTo>
                        <a:lnTo>
                          <a:pt x="5177" y="2586"/>
                        </a:lnTo>
                        <a:lnTo>
                          <a:pt x="5171" y="2582"/>
                        </a:lnTo>
                        <a:lnTo>
                          <a:pt x="5165" y="2573"/>
                        </a:lnTo>
                        <a:lnTo>
                          <a:pt x="5160" y="2569"/>
                        </a:lnTo>
                        <a:lnTo>
                          <a:pt x="5160" y="2565"/>
                        </a:lnTo>
                        <a:lnTo>
                          <a:pt x="5154" y="2550"/>
                        </a:lnTo>
                        <a:lnTo>
                          <a:pt x="5140" y="2538"/>
                        </a:lnTo>
                        <a:lnTo>
                          <a:pt x="5140" y="2536"/>
                        </a:lnTo>
                        <a:lnTo>
                          <a:pt x="5133" y="2523"/>
                        </a:lnTo>
                        <a:lnTo>
                          <a:pt x="5121" y="2513"/>
                        </a:lnTo>
                        <a:lnTo>
                          <a:pt x="5121" y="2506"/>
                        </a:lnTo>
                        <a:lnTo>
                          <a:pt x="5117" y="2504"/>
                        </a:lnTo>
                        <a:lnTo>
                          <a:pt x="5113" y="2502"/>
                        </a:lnTo>
                        <a:lnTo>
                          <a:pt x="5108" y="2496"/>
                        </a:lnTo>
                        <a:lnTo>
                          <a:pt x="5108" y="2490"/>
                        </a:lnTo>
                        <a:lnTo>
                          <a:pt x="5110" y="2485"/>
                        </a:lnTo>
                        <a:lnTo>
                          <a:pt x="5104" y="2477"/>
                        </a:lnTo>
                        <a:lnTo>
                          <a:pt x="5096" y="2475"/>
                        </a:lnTo>
                        <a:lnTo>
                          <a:pt x="5092" y="2460"/>
                        </a:lnTo>
                        <a:lnTo>
                          <a:pt x="5085" y="2462"/>
                        </a:lnTo>
                        <a:lnTo>
                          <a:pt x="5079" y="2462"/>
                        </a:lnTo>
                        <a:lnTo>
                          <a:pt x="5077" y="2460"/>
                        </a:lnTo>
                        <a:lnTo>
                          <a:pt x="5077" y="2456"/>
                        </a:lnTo>
                        <a:lnTo>
                          <a:pt x="5089" y="2450"/>
                        </a:lnTo>
                        <a:lnTo>
                          <a:pt x="5092" y="2444"/>
                        </a:lnTo>
                        <a:lnTo>
                          <a:pt x="5094" y="2437"/>
                        </a:lnTo>
                        <a:lnTo>
                          <a:pt x="5092" y="2431"/>
                        </a:lnTo>
                        <a:lnTo>
                          <a:pt x="5087" y="2427"/>
                        </a:lnTo>
                        <a:lnTo>
                          <a:pt x="5077" y="2425"/>
                        </a:lnTo>
                        <a:lnTo>
                          <a:pt x="5064" y="2429"/>
                        </a:lnTo>
                        <a:lnTo>
                          <a:pt x="5052" y="2419"/>
                        </a:lnTo>
                        <a:lnTo>
                          <a:pt x="5046" y="2415"/>
                        </a:lnTo>
                        <a:lnTo>
                          <a:pt x="5044" y="2408"/>
                        </a:lnTo>
                        <a:lnTo>
                          <a:pt x="5046" y="2404"/>
                        </a:lnTo>
                        <a:lnTo>
                          <a:pt x="5050" y="2402"/>
                        </a:lnTo>
                        <a:lnTo>
                          <a:pt x="5064" y="2398"/>
                        </a:lnTo>
                        <a:lnTo>
                          <a:pt x="5085" y="2368"/>
                        </a:lnTo>
                        <a:lnTo>
                          <a:pt x="5089" y="2354"/>
                        </a:lnTo>
                        <a:lnTo>
                          <a:pt x="5090" y="2335"/>
                        </a:lnTo>
                        <a:lnTo>
                          <a:pt x="5096" y="2321"/>
                        </a:lnTo>
                        <a:lnTo>
                          <a:pt x="5094" y="2306"/>
                        </a:lnTo>
                        <a:lnTo>
                          <a:pt x="5108" y="2275"/>
                        </a:lnTo>
                        <a:lnTo>
                          <a:pt x="5108" y="2258"/>
                        </a:lnTo>
                        <a:lnTo>
                          <a:pt x="5115" y="2233"/>
                        </a:lnTo>
                        <a:lnTo>
                          <a:pt x="5113" y="2220"/>
                        </a:lnTo>
                        <a:lnTo>
                          <a:pt x="5108" y="2208"/>
                        </a:lnTo>
                        <a:lnTo>
                          <a:pt x="5106" y="2183"/>
                        </a:lnTo>
                        <a:lnTo>
                          <a:pt x="5108" y="2156"/>
                        </a:lnTo>
                        <a:lnTo>
                          <a:pt x="5098" y="2130"/>
                        </a:lnTo>
                        <a:lnTo>
                          <a:pt x="5100" y="2114"/>
                        </a:lnTo>
                        <a:lnTo>
                          <a:pt x="5096" y="2093"/>
                        </a:lnTo>
                        <a:lnTo>
                          <a:pt x="5087" y="2084"/>
                        </a:lnTo>
                        <a:lnTo>
                          <a:pt x="5071" y="2074"/>
                        </a:lnTo>
                        <a:lnTo>
                          <a:pt x="5062" y="2070"/>
                        </a:lnTo>
                        <a:lnTo>
                          <a:pt x="5056" y="2064"/>
                        </a:lnTo>
                        <a:lnTo>
                          <a:pt x="5031" y="2060"/>
                        </a:lnTo>
                        <a:lnTo>
                          <a:pt x="5029" y="2059"/>
                        </a:lnTo>
                        <a:lnTo>
                          <a:pt x="5021" y="2041"/>
                        </a:lnTo>
                        <a:lnTo>
                          <a:pt x="5012" y="2036"/>
                        </a:lnTo>
                        <a:lnTo>
                          <a:pt x="4996" y="2034"/>
                        </a:lnTo>
                        <a:lnTo>
                          <a:pt x="4987" y="2037"/>
                        </a:lnTo>
                        <a:lnTo>
                          <a:pt x="4981" y="2039"/>
                        </a:lnTo>
                        <a:lnTo>
                          <a:pt x="4960" y="2036"/>
                        </a:lnTo>
                        <a:lnTo>
                          <a:pt x="4945" y="2028"/>
                        </a:lnTo>
                        <a:lnTo>
                          <a:pt x="4937" y="2022"/>
                        </a:lnTo>
                        <a:lnTo>
                          <a:pt x="4933" y="2020"/>
                        </a:lnTo>
                        <a:lnTo>
                          <a:pt x="4920" y="2022"/>
                        </a:lnTo>
                        <a:lnTo>
                          <a:pt x="4910" y="2022"/>
                        </a:lnTo>
                        <a:lnTo>
                          <a:pt x="4902" y="2028"/>
                        </a:lnTo>
                        <a:lnTo>
                          <a:pt x="4895" y="2036"/>
                        </a:lnTo>
                        <a:lnTo>
                          <a:pt x="4887" y="2047"/>
                        </a:lnTo>
                        <a:lnTo>
                          <a:pt x="4883" y="2049"/>
                        </a:lnTo>
                        <a:lnTo>
                          <a:pt x="4868" y="2045"/>
                        </a:lnTo>
                        <a:lnTo>
                          <a:pt x="4874" y="2043"/>
                        </a:lnTo>
                        <a:lnTo>
                          <a:pt x="4874" y="2043"/>
                        </a:lnTo>
                        <a:lnTo>
                          <a:pt x="4874" y="2041"/>
                        </a:lnTo>
                        <a:lnTo>
                          <a:pt x="4906" y="2018"/>
                        </a:lnTo>
                        <a:lnTo>
                          <a:pt x="5046" y="1915"/>
                        </a:lnTo>
                        <a:lnTo>
                          <a:pt x="5054" y="1909"/>
                        </a:lnTo>
                        <a:lnTo>
                          <a:pt x="5060" y="1913"/>
                        </a:lnTo>
                        <a:lnTo>
                          <a:pt x="5066" y="1913"/>
                        </a:lnTo>
                        <a:lnTo>
                          <a:pt x="5071" y="1903"/>
                        </a:lnTo>
                        <a:lnTo>
                          <a:pt x="5081" y="1897"/>
                        </a:lnTo>
                        <a:lnTo>
                          <a:pt x="5087" y="1884"/>
                        </a:lnTo>
                        <a:lnTo>
                          <a:pt x="5094" y="1878"/>
                        </a:lnTo>
                        <a:lnTo>
                          <a:pt x="5102" y="1857"/>
                        </a:lnTo>
                        <a:lnTo>
                          <a:pt x="5108" y="1853"/>
                        </a:lnTo>
                        <a:lnTo>
                          <a:pt x="5113" y="1849"/>
                        </a:lnTo>
                        <a:lnTo>
                          <a:pt x="5127" y="1830"/>
                        </a:lnTo>
                        <a:lnTo>
                          <a:pt x="5127" y="1817"/>
                        </a:lnTo>
                        <a:lnTo>
                          <a:pt x="5129" y="1813"/>
                        </a:lnTo>
                        <a:lnTo>
                          <a:pt x="5133" y="1801"/>
                        </a:lnTo>
                        <a:lnTo>
                          <a:pt x="5140" y="1798"/>
                        </a:lnTo>
                        <a:lnTo>
                          <a:pt x="5146" y="1790"/>
                        </a:lnTo>
                        <a:lnTo>
                          <a:pt x="5156" y="1786"/>
                        </a:lnTo>
                        <a:lnTo>
                          <a:pt x="5165" y="1769"/>
                        </a:lnTo>
                        <a:lnTo>
                          <a:pt x="5177" y="1759"/>
                        </a:lnTo>
                        <a:lnTo>
                          <a:pt x="5183" y="1750"/>
                        </a:lnTo>
                        <a:lnTo>
                          <a:pt x="5184" y="1742"/>
                        </a:lnTo>
                        <a:lnTo>
                          <a:pt x="5186" y="1717"/>
                        </a:lnTo>
                        <a:lnTo>
                          <a:pt x="5188" y="1705"/>
                        </a:lnTo>
                        <a:lnTo>
                          <a:pt x="5192" y="1702"/>
                        </a:lnTo>
                        <a:lnTo>
                          <a:pt x="5196" y="1700"/>
                        </a:lnTo>
                        <a:lnTo>
                          <a:pt x="5200" y="1692"/>
                        </a:lnTo>
                        <a:lnTo>
                          <a:pt x="5206" y="1688"/>
                        </a:lnTo>
                        <a:lnTo>
                          <a:pt x="5204" y="1681"/>
                        </a:lnTo>
                        <a:lnTo>
                          <a:pt x="5208" y="1675"/>
                        </a:lnTo>
                        <a:lnTo>
                          <a:pt x="5208" y="1671"/>
                        </a:lnTo>
                        <a:lnTo>
                          <a:pt x="5211" y="1669"/>
                        </a:lnTo>
                        <a:lnTo>
                          <a:pt x="5215" y="1663"/>
                        </a:lnTo>
                        <a:lnTo>
                          <a:pt x="5219" y="1661"/>
                        </a:lnTo>
                        <a:lnTo>
                          <a:pt x="5223" y="1658"/>
                        </a:lnTo>
                        <a:lnTo>
                          <a:pt x="5227" y="1656"/>
                        </a:lnTo>
                        <a:lnTo>
                          <a:pt x="5227" y="1652"/>
                        </a:lnTo>
                        <a:lnTo>
                          <a:pt x="5231" y="1648"/>
                        </a:lnTo>
                        <a:lnTo>
                          <a:pt x="5232" y="1644"/>
                        </a:lnTo>
                        <a:lnTo>
                          <a:pt x="5238" y="1640"/>
                        </a:lnTo>
                        <a:lnTo>
                          <a:pt x="5238" y="1634"/>
                        </a:lnTo>
                        <a:lnTo>
                          <a:pt x="5242" y="1634"/>
                        </a:lnTo>
                        <a:lnTo>
                          <a:pt x="5244" y="1631"/>
                        </a:lnTo>
                        <a:lnTo>
                          <a:pt x="5248" y="1631"/>
                        </a:lnTo>
                        <a:lnTo>
                          <a:pt x="5248" y="1627"/>
                        </a:lnTo>
                        <a:lnTo>
                          <a:pt x="5244" y="1625"/>
                        </a:lnTo>
                        <a:lnTo>
                          <a:pt x="5244" y="1621"/>
                        </a:lnTo>
                        <a:lnTo>
                          <a:pt x="5248" y="1621"/>
                        </a:lnTo>
                        <a:lnTo>
                          <a:pt x="5252" y="1619"/>
                        </a:lnTo>
                        <a:lnTo>
                          <a:pt x="5255" y="1617"/>
                        </a:lnTo>
                        <a:lnTo>
                          <a:pt x="5255" y="1610"/>
                        </a:lnTo>
                        <a:lnTo>
                          <a:pt x="5257" y="1608"/>
                        </a:lnTo>
                        <a:lnTo>
                          <a:pt x="5259" y="1602"/>
                        </a:lnTo>
                        <a:lnTo>
                          <a:pt x="5261" y="1600"/>
                        </a:lnTo>
                        <a:lnTo>
                          <a:pt x="5263" y="1594"/>
                        </a:lnTo>
                        <a:lnTo>
                          <a:pt x="5267" y="1590"/>
                        </a:lnTo>
                        <a:lnTo>
                          <a:pt x="5265" y="1583"/>
                        </a:lnTo>
                        <a:lnTo>
                          <a:pt x="5257" y="1581"/>
                        </a:lnTo>
                        <a:lnTo>
                          <a:pt x="5257" y="1577"/>
                        </a:lnTo>
                        <a:lnTo>
                          <a:pt x="5263" y="1575"/>
                        </a:lnTo>
                        <a:lnTo>
                          <a:pt x="5265" y="1571"/>
                        </a:lnTo>
                        <a:lnTo>
                          <a:pt x="5271" y="1569"/>
                        </a:lnTo>
                        <a:lnTo>
                          <a:pt x="5271" y="1567"/>
                        </a:lnTo>
                        <a:lnTo>
                          <a:pt x="5273" y="1565"/>
                        </a:lnTo>
                        <a:lnTo>
                          <a:pt x="5271" y="1558"/>
                        </a:lnTo>
                        <a:lnTo>
                          <a:pt x="5269" y="1558"/>
                        </a:lnTo>
                        <a:lnTo>
                          <a:pt x="5267" y="1562"/>
                        </a:lnTo>
                        <a:lnTo>
                          <a:pt x="5263" y="1560"/>
                        </a:lnTo>
                        <a:lnTo>
                          <a:pt x="5263" y="1556"/>
                        </a:lnTo>
                        <a:lnTo>
                          <a:pt x="5265" y="1552"/>
                        </a:lnTo>
                        <a:lnTo>
                          <a:pt x="5265" y="1550"/>
                        </a:lnTo>
                        <a:lnTo>
                          <a:pt x="5259" y="1548"/>
                        </a:lnTo>
                        <a:lnTo>
                          <a:pt x="5257" y="1544"/>
                        </a:lnTo>
                        <a:lnTo>
                          <a:pt x="5261" y="1539"/>
                        </a:lnTo>
                        <a:lnTo>
                          <a:pt x="5267" y="1537"/>
                        </a:lnTo>
                        <a:lnTo>
                          <a:pt x="5269" y="1531"/>
                        </a:lnTo>
                        <a:lnTo>
                          <a:pt x="5273" y="1533"/>
                        </a:lnTo>
                        <a:lnTo>
                          <a:pt x="5279" y="1527"/>
                        </a:lnTo>
                        <a:lnTo>
                          <a:pt x="5286" y="1527"/>
                        </a:lnTo>
                        <a:lnTo>
                          <a:pt x="5288" y="1519"/>
                        </a:lnTo>
                        <a:lnTo>
                          <a:pt x="5292" y="1519"/>
                        </a:lnTo>
                        <a:lnTo>
                          <a:pt x="5294" y="1517"/>
                        </a:lnTo>
                        <a:lnTo>
                          <a:pt x="5294" y="1514"/>
                        </a:lnTo>
                        <a:lnTo>
                          <a:pt x="5296" y="1510"/>
                        </a:lnTo>
                        <a:lnTo>
                          <a:pt x="5305" y="1508"/>
                        </a:lnTo>
                        <a:lnTo>
                          <a:pt x="5309" y="1508"/>
                        </a:lnTo>
                        <a:lnTo>
                          <a:pt x="5303" y="1491"/>
                        </a:lnTo>
                        <a:lnTo>
                          <a:pt x="5309" y="1475"/>
                        </a:lnTo>
                        <a:lnTo>
                          <a:pt x="5305" y="1475"/>
                        </a:lnTo>
                        <a:lnTo>
                          <a:pt x="5302" y="1479"/>
                        </a:lnTo>
                        <a:lnTo>
                          <a:pt x="5298" y="1477"/>
                        </a:lnTo>
                        <a:lnTo>
                          <a:pt x="5305" y="1469"/>
                        </a:lnTo>
                        <a:lnTo>
                          <a:pt x="5305" y="1464"/>
                        </a:lnTo>
                        <a:lnTo>
                          <a:pt x="5309" y="1460"/>
                        </a:lnTo>
                        <a:lnTo>
                          <a:pt x="5307" y="1452"/>
                        </a:lnTo>
                        <a:lnTo>
                          <a:pt x="5307" y="1450"/>
                        </a:lnTo>
                        <a:lnTo>
                          <a:pt x="5311" y="1450"/>
                        </a:lnTo>
                        <a:lnTo>
                          <a:pt x="5315" y="1454"/>
                        </a:lnTo>
                        <a:lnTo>
                          <a:pt x="5317" y="1452"/>
                        </a:lnTo>
                        <a:lnTo>
                          <a:pt x="5325" y="1446"/>
                        </a:lnTo>
                        <a:lnTo>
                          <a:pt x="5326" y="1443"/>
                        </a:lnTo>
                        <a:lnTo>
                          <a:pt x="5334" y="1439"/>
                        </a:lnTo>
                        <a:lnTo>
                          <a:pt x="5334" y="1433"/>
                        </a:lnTo>
                        <a:lnTo>
                          <a:pt x="5338" y="1427"/>
                        </a:lnTo>
                        <a:lnTo>
                          <a:pt x="5338" y="1414"/>
                        </a:lnTo>
                        <a:lnTo>
                          <a:pt x="5344" y="1404"/>
                        </a:lnTo>
                        <a:lnTo>
                          <a:pt x="5346" y="1397"/>
                        </a:lnTo>
                        <a:lnTo>
                          <a:pt x="5348" y="1393"/>
                        </a:lnTo>
                        <a:lnTo>
                          <a:pt x="5348" y="1389"/>
                        </a:lnTo>
                        <a:lnTo>
                          <a:pt x="5350" y="1385"/>
                        </a:lnTo>
                        <a:lnTo>
                          <a:pt x="5348" y="1379"/>
                        </a:lnTo>
                        <a:lnTo>
                          <a:pt x="5350" y="1374"/>
                        </a:lnTo>
                        <a:lnTo>
                          <a:pt x="5350" y="1370"/>
                        </a:lnTo>
                        <a:lnTo>
                          <a:pt x="5336" y="1364"/>
                        </a:lnTo>
                        <a:lnTo>
                          <a:pt x="5328" y="1364"/>
                        </a:lnTo>
                        <a:lnTo>
                          <a:pt x="5328" y="1362"/>
                        </a:lnTo>
                        <a:lnTo>
                          <a:pt x="5330" y="1352"/>
                        </a:lnTo>
                        <a:lnTo>
                          <a:pt x="5334" y="1352"/>
                        </a:lnTo>
                        <a:lnTo>
                          <a:pt x="5338" y="1356"/>
                        </a:lnTo>
                        <a:lnTo>
                          <a:pt x="5340" y="1354"/>
                        </a:lnTo>
                        <a:lnTo>
                          <a:pt x="5344" y="1350"/>
                        </a:lnTo>
                        <a:lnTo>
                          <a:pt x="5350" y="1352"/>
                        </a:lnTo>
                        <a:lnTo>
                          <a:pt x="5353" y="1347"/>
                        </a:lnTo>
                        <a:lnTo>
                          <a:pt x="5359" y="1347"/>
                        </a:lnTo>
                        <a:lnTo>
                          <a:pt x="5359" y="1341"/>
                        </a:lnTo>
                        <a:lnTo>
                          <a:pt x="5359" y="1333"/>
                        </a:lnTo>
                        <a:lnTo>
                          <a:pt x="5361" y="1329"/>
                        </a:lnTo>
                        <a:lnTo>
                          <a:pt x="5363" y="1324"/>
                        </a:lnTo>
                        <a:lnTo>
                          <a:pt x="5357" y="1308"/>
                        </a:lnTo>
                        <a:lnTo>
                          <a:pt x="5357" y="1304"/>
                        </a:lnTo>
                        <a:lnTo>
                          <a:pt x="5361" y="1295"/>
                        </a:lnTo>
                        <a:lnTo>
                          <a:pt x="5365" y="1293"/>
                        </a:lnTo>
                        <a:lnTo>
                          <a:pt x="5365" y="1291"/>
                        </a:lnTo>
                        <a:lnTo>
                          <a:pt x="5367" y="1285"/>
                        </a:lnTo>
                        <a:lnTo>
                          <a:pt x="5367" y="1281"/>
                        </a:lnTo>
                        <a:lnTo>
                          <a:pt x="5363" y="1268"/>
                        </a:lnTo>
                        <a:lnTo>
                          <a:pt x="5363" y="1262"/>
                        </a:lnTo>
                        <a:lnTo>
                          <a:pt x="5363" y="1255"/>
                        </a:lnTo>
                        <a:lnTo>
                          <a:pt x="5373" y="1241"/>
                        </a:lnTo>
                        <a:lnTo>
                          <a:pt x="5373" y="1228"/>
                        </a:lnTo>
                        <a:lnTo>
                          <a:pt x="5376" y="1222"/>
                        </a:lnTo>
                        <a:lnTo>
                          <a:pt x="5376" y="1220"/>
                        </a:lnTo>
                        <a:lnTo>
                          <a:pt x="5374" y="1218"/>
                        </a:lnTo>
                        <a:lnTo>
                          <a:pt x="5365" y="1224"/>
                        </a:lnTo>
                        <a:lnTo>
                          <a:pt x="5359" y="1239"/>
                        </a:lnTo>
                        <a:lnTo>
                          <a:pt x="5357" y="1243"/>
                        </a:lnTo>
                        <a:lnTo>
                          <a:pt x="5353" y="1243"/>
                        </a:lnTo>
                        <a:lnTo>
                          <a:pt x="5353" y="1237"/>
                        </a:lnTo>
                        <a:lnTo>
                          <a:pt x="5361" y="1222"/>
                        </a:lnTo>
                        <a:lnTo>
                          <a:pt x="5361" y="1218"/>
                        </a:lnTo>
                        <a:lnTo>
                          <a:pt x="5357" y="1218"/>
                        </a:lnTo>
                        <a:lnTo>
                          <a:pt x="5348" y="1232"/>
                        </a:lnTo>
                        <a:lnTo>
                          <a:pt x="5342" y="1247"/>
                        </a:lnTo>
                        <a:lnTo>
                          <a:pt x="5340" y="1251"/>
                        </a:lnTo>
                        <a:lnTo>
                          <a:pt x="5338" y="1253"/>
                        </a:lnTo>
                        <a:lnTo>
                          <a:pt x="5334" y="1251"/>
                        </a:lnTo>
                        <a:lnTo>
                          <a:pt x="5336" y="1247"/>
                        </a:lnTo>
                        <a:lnTo>
                          <a:pt x="5348" y="1224"/>
                        </a:lnTo>
                        <a:lnTo>
                          <a:pt x="5348" y="1214"/>
                        </a:lnTo>
                        <a:lnTo>
                          <a:pt x="5351" y="1208"/>
                        </a:lnTo>
                        <a:lnTo>
                          <a:pt x="5350" y="1195"/>
                        </a:lnTo>
                        <a:lnTo>
                          <a:pt x="5348" y="1195"/>
                        </a:lnTo>
                        <a:lnTo>
                          <a:pt x="5338" y="1203"/>
                        </a:lnTo>
                        <a:lnTo>
                          <a:pt x="5338" y="1208"/>
                        </a:lnTo>
                        <a:lnTo>
                          <a:pt x="5330" y="1218"/>
                        </a:lnTo>
                        <a:lnTo>
                          <a:pt x="5330" y="1230"/>
                        </a:lnTo>
                        <a:lnTo>
                          <a:pt x="5328" y="1230"/>
                        </a:lnTo>
                        <a:lnTo>
                          <a:pt x="5326" y="1230"/>
                        </a:lnTo>
                        <a:lnTo>
                          <a:pt x="5326" y="1216"/>
                        </a:lnTo>
                        <a:lnTo>
                          <a:pt x="5326" y="1214"/>
                        </a:lnTo>
                        <a:lnTo>
                          <a:pt x="5323" y="1216"/>
                        </a:lnTo>
                        <a:lnTo>
                          <a:pt x="5321" y="1214"/>
                        </a:lnTo>
                        <a:lnTo>
                          <a:pt x="5317" y="1214"/>
                        </a:lnTo>
                        <a:lnTo>
                          <a:pt x="5315" y="1222"/>
                        </a:lnTo>
                        <a:lnTo>
                          <a:pt x="5311" y="1226"/>
                        </a:lnTo>
                        <a:lnTo>
                          <a:pt x="5309" y="1226"/>
                        </a:lnTo>
                        <a:lnTo>
                          <a:pt x="5309" y="1222"/>
                        </a:lnTo>
                        <a:lnTo>
                          <a:pt x="5313" y="1216"/>
                        </a:lnTo>
                        <a:lnTo>
                          <a:pt x="5309" y="1214"/>
                        </a:lnTo>
                        <a:lnTo>
                          <a:pt x="5305" y="1214"/>
                        </a:lnTo>
                        <a:lnTo>
                          <a:pt x="5300" y="1220"/>
                        </a:lnTo>
                        <a:lnTo>
                          <a:pt x="5294" y="1220"/>
                        </a:lnTo>
                        <a:lnTo>
                          <a:pt x="5288" y="1222"/>
                        </a:lnTo>
                        <a:lnTo>
                          <a:pt x="5286" y="1222"/>
                        </a:lnTo>
                        <a:lnTo>
                          <a:pt x="5284" y="1218"/>
                        </a:lnTo>
                        <a:lnTo>
                          <a:pt x="5284" y="1214"/>
                        </a:lnTo>
                        <a:lnTo>
                          <a:pt x="5288" y="1212"/>
                        </a:lnTo>
                        <a:lnTo>
                          <a:pt x="5292" y="1214"/>
                        </a:lnTo>
                        <a:lnTo>
                          <a:pt x="5292" y="1214"/>
                        </a:lnTo>
                        <a:lnTo>
                          <a:pt x="5296" y="1214"/>
                        </a:lnTo>
                        <a:lnTo>
                          <a:pt x="5298" y="1207"/>
                        </a:lnTo>
                        <a:lnTo>
                          <a:pt x="5298" y="1199"/>
                        </a:lnTo>
                        <a:lnTo>
                          <a:pt x="5300" y="1195"/>
                        </a:lnTo>
                        <a:lnTo>
                          <a:pt x="5305" y="1193"/>
                        </a:lnTo>
                        <a:lnTo>
                          <a:pt x="5309" y="1187"/>
                        </a:lnTo>
                        <a:lnTo>
                          <a:pt x="5309" y="1184"/>
                        </a:lnTo>
                        <a:lnTo>
                          <a:pt x="5305" y="1184"/>
                        </a:lnTo>
                        <a:lnTo>
                          <a:pt x="5300" y="1187"/>
                        </a:lnTo>
                        <a:lnTo>
                          <a:pt x="5294" y="1185"/>
                        </a:lnTo>
                        <a:lnTo>
                          <a:pt x="5290" y="1189"/>
                        </a:lnTo>
                        <a:lnTo>
                          <a:pt x="5288" y="1197"/>
                        </a:lnTo>
                        <a:lnTo>
                          <a:pt x="5286" y="1201"/>
                        </a:lnTo>
                        <a:lnTo>
                          <a:pt x="5284" y="1201"/>
                        </a:lnTo>
                        <a:lnTo>
                          <a:pt x="5284" y="1193"/>
                        </a:lnTo>
                        <a:lnTo>
                          <a:pt x="5282" y="1193"/>
                        </a:lnTo>
                        <a:lnTo>
                          <a:pt x="5280" y="1201"/>
                        </a:lnTo>
                        <a:lnTo>
                          <a:pt x="5277" y="1205"/>
                        </a:lnTo>
                        <a:lnTo>
                          <a:pt x="5267" y="1203"/>
                        </a:lnTo>
                        <a:lnTo>
                          <a:pt x="5255" y="1207"/>
                        </a:lnTo>
                        <a:lnTo>
                          <a:pt x="5254" y="1205"/>
                        </a:lnTo>
                        <a:lnTo>
                          <a:pt x="5255" y="1203"/>
                        </a:lnTo>
                        <a:lnTo>
                          <a:pt x="5255" y="1203"/>
                        </a:lnTo>
                        <a:lnTo>
                          <a:pt x="5261" y="1199"/>
                        </a:lnTo>
                        <a:lnTo>
                          <a:pt x="5267" y="1193"/>
                        </a:lnTo>
                        <a:lnTo>
                          <a:pt x="5267" y="1189"/>
                        </a:lnTo>
                        <a:lnTo>
                          <a:pt x="5257" y="1185"/>
                        </a:lnTo>
                        <a:lnTo>
                          <a:pt x="5255" y="1182"/>
                        </a:lnTo>
                        <a:lnTo>
                          <a:pt x="5252" y="1184"/>
                        </a:lnTo>
                        <a:lnTo>
                          <a:pt x="5252" y="1189"/>
                        </a:lnTo>
                        <a:lnTo>
                          <a:pt x="5254" y="1195"/>
                        </a:lnTo>
                        <a:lnTo>
                          <a:pt x="5252" y="1199"/>
                        </a:lnTo>
                        <a:lnTo>
                          <a:pt x="5250" y="1197"/>
                        </a:lnTo>
                        <a:lnTo>
                          <a:pt x="5248" y="1189"/>
                        </a:lnTo>
                        <a:lnTo>
                          <a:pt x="5242" y="1187"/>
                        </a:lnTo>
                        <a:lnTo>
                          <a:pt x="5238" y="1189"/>
                        </a:lnTo>
                        <a:lnTo>
                          <a:pt x="5236" y="1195"/>
                        </a:lnTo>
                        <a:lnTo>
                          <a:pt x="5234" y="1199"/>
                        </a:lnTo>
                        <a:lnTo>
                          <a:pt x="5231" y="1199"/>
                        </a:lnTo>
                        <a:lnTo>
                          <a:pt x="5232" y="1187"/>
                        </a:lnTo>
                        <a:lnTo>
                          <a:pt x="5229" y="1180"/>
                        </a:lnTo>
                        <a:lnTo>
                          <a:pt x="5231" y="1172"/>
                        </a:lnTo>
                        <a:lnTo>
                          <a:pt x="5229" y="1166"/>
                        </a:lnTo>
                        <a:lnTo>
                          <a:pt x="5227" y="1166"/>
                        </a:lnTo>
                        <a:lnTo>
                          <a:pt x="5225" y="1174"/>
                        </a:lnTo>
                        <a:lnTo>
                          <a:pt x="5217" y="1180"/>
                        </a:lnTo>
                        <a:lnTo>
                          <a:pt x="5215" y="1189"/>
                        </a:lnTo>
                        <a:lnTo>
                          <a:pt x="5209" y="1191"/>
                        </a:lnTo>
                        <a:lnTo>
                          <a:pt x="5206" y="1189"/>
                        </a:lnTo>
                        <a:lnTo>
                          <a:pt x="5211" y="1185"/>
                        </a:lnTo>
                        <a:lnTo>
                          <a:pt x="5211" y="1184"/>
                        </a:lnTo>
                        <a:lnTo>
                          <a:pt x="5206" y="1172"/>
                        </a:lnTo>
                        <a:lnTo>
                          <a:pt x="5208" y="1162"/>
                        </a:lnTo>
                        <a:lnTo>
                          <a:pt x="5206" y="1161"/>
                        </a:lnTo>
                        <a:lnTo>
                          <a:pt x="5202" y="1159"/>
                        </a:lnTo>
                        <a:lnTo>
                          <a:pt x="5202" y="1161"/>
                        </a:lnTo>
                        <a:lnTo>
                          <a:pt x="5200" y="1168"/>
                        </a:lnTo>
                        <a:lnTo>
                          <a:pt x="5194" y="1174"/>
                        </a:lnTo>
                        <a:lnTo>
                          <a:pt x="5194" y="1178"/>
                        </a:lnTo>
                        <a:lnTo>
                          <a:pt x="5188" y="1182"/>
                        </a:lnTo>
                        <a:lnTo>
                          <a:pt x="5186" y="1187"/>
                        </a:lnTo>
                        <a:lnTo>
                          <a:pt x="5181" y="1189"/>
                        </a:lnTo>
                        <a:lnTo>
                          <a:pt x="5181" y="1184"/>
                        </a:lnTo>
                        <a:lnTo>
                          <a:pt x="5183" y="1176"/>
                        </a:lnTo>
                        <a:lnTo>
                          <a:pt x="5181" y="1170"/>
                        </a:lnTo>
                        <a:lnTo>
                          <a:pt x="5179" y="1153"/>
                        </a:lnTo>
                        <a:lnTo>
                          <a:pt x="5177" y="1151"/>
                        </a:lnTo>
                        <a:lnTo>
                          <a:pt x="5173" y="1153"/>
                        </a:lnTo>
                        <a:lnTo>
                          <a:pt x="5175" y="1161"/>
                        </a:lnTo>
                        <a:lnTo>
                          <a:pt x="5171" y="1166"/>
                        </a:lnTo>
                        <a:lnTo>
                          <a:pt x="5171" y="1174"/>
                        </a:lnTo>
                        <a:lnTo>
                          <a:pt x="5167" y="1174"/>
                        </a:lnTo>
                        <a:lnTo>
                          <a:pt x="5165" y="1166"/>
                        </a:lnTo>
                        <a:lnTo>
                          <a:pt x="5167" y="1157"/>
                        </a:lnTo>
                        <a:lnTo>
                          <a:pt x="5167" y="1155"/>
                        </a:lnTo>
                        <a:lnTo>
                          <a:pt x="5165" y="1155"/>
                        </a:lnTo>
                        <a:lnTo>
                          <a:pt x="5160" y="1161"/>
                        </a:lnTo>
                        <a:lnTo>
                          <a:pt x="5154" y="1159"/>
                        </a:lnTo>
                        <a:lnTo>
                          <a:pt x="5152" y="1157"/>
                        </a:lnTo>
                        <a:lnTo>
                          <a:pt x="5156" y="1153"/>
                        </a:lnTo>
                        <a:lnTo>
                          <a:pt x="5158" y="1151"/>
                        </a:lnTo>
                        <a:lnTo>
                          <a:pt x="5154" y="1147"/>
                        </a:lnTo>
                        <a:lnTo>
                          <a:pt x="5150" y="1145"/>
                        </a:lnTo>
                        <a:lnTo>
                          <a:pt x="5146" y="1143"/>
                        </a:lnTo>
                        <a:lnTo>
                          <a:pt x="5144" y="1137"/>
                        </a:lnTo>
                        <a:lnTo>
                          <a:pt x="5138" y="1136"/>
                        </a:lnTo>
                        <a:lnTo>
                          <a:pt x="5133" y="1139"/>
                        </a:lnTo>
                        <a:lnTo>
                          <a:pt x="5125" y="1147"/>
                        </a:lnTo>
                        <a:lnTo>
                          <a:pt x="5119" y="1149"/>
                        </a:lnTo>
                        <a:lnTo>
                          <a:pt x="5117" y="1145"/>
                        </a:lnTo>
                        <a:lnTo>
                          <a:pt x="5117" y="1141"/>
                        </a:lnTo>
                        <a:lnTo>
                          <a:pt x="5115" y="1137"/>
                        </a:lnTo>
                        <a:lnTo>
                          <a:pt x="5113" y="1136"/>
                        </a:lnTo>
                        <a:lnTo>
                          <a:pt x="5112" y="1137"/>
                        </a:lnTo>
                        <a:lnTo>
                          <a:pt x="5110" y="1141"/>
                        </a:lnTo>
                        <a:lnTo>
                          <a:pt x="5112" y="1147"/>
                        </a:lnTo>
                        <a:lnTo>
                          <a:pt x="5112" y="1155"/>
                        </a:lnTo>
                        <a:lnTo>
                          <a:pt x="5117" y="1159"/>
                        </a:lnTo>
                        <a:lnTo>
                          <a:pt x="5121" y="1166"/>
                        </a:lnTo>
                        <a:lnTo>
                          <a:pt x="5123" y="1170"/>
                        </a:lnTo>
                        <a:lnTo>
                          <a:pt x="5125" y="1180"/>
                        </a:lnTo>
                        <a:lnTo>
                          <a:pt x="5123" y="1182"/>
                        </a:lnTo>
                        <a:lnTo>
                          <a:pt x="5121" y="1180"/>
                        </a:lnTo>
                        <a:lnTo>
                          <a:pt x="5119" y="1174"/>
                        </a:lnTo>
                        <a:lnTo>
                          <a:pt x="5113" y="1168"/>
                        </a:lnTo>
                        <a:lnTo>
                          <a:pt x="5106" y="1164"/>
                        </a:lnTo>
                        <a:lnTo>
                          <a:pt x="5102" y="1151"/>
                        </a:lnTo>
                        <a:lnTo>
                          <a:pt x="5094" y="1143"/>
                        </a:lnTo>
                        <a:lnTo>
                          <a:pt x="5094" y="1139"/>
                        </a:lnTo>
                        <a:lnTo>
                          <a:pt x="5090" y="1134"/>
                        </a:lnTo>
                        <a:lnTo>
                          <a:pt x="5085" y="1134"/>
                        </a:lnTo>
                        <a:lnTo>
                          <a:pt x="5083" y="1147"/>
                        </a:lnTo>
                        <a:lnTo>
                          <a:pt x="5083" y="1151"/>
                        </a:lnTo>
                        <a:lnTo>
                          <a:pt x="5077" y="1153"/>
                        </a:lnTo>
                        <a:lnTo>
                          <a:pt x="5071" y="1159"/>
                        </a:lnTo>
                        <a:lnTo>
                          <a:pt x="5067" y="1161"/>
                        </a:lnTo>
                        <a:lnTo>
                          <a:pt x="5066" y="1161"/>
                        </a:lnTo>
                        <a:lnTo>
                          <a:pt x="5064" y="1161"/>
                        </a:lnTo>
                        <a:lnTo>
                          <a:pt x="5066" y="1157"/>
                        </a:lnTo>
                        <a:lnTo>
                          <a:pt x="5071" y="1155"/>
                        </a:lnTo>
                        <a:lnTo>
                          <a:pt x="5073" y="1147"/>
                        </a:lnTo>
                        <a:lnTo>
                          <a:pt x="5073" y="1136"/>
                        </a:lnTo>
                        <a:lnTo>
                          <a:pt x="5071" y="1132"/>
                        </a:lnTo>
                        <a:lnTo>
                          <a:pt x="5067" y="1132"/>
                        </a:lnTo>
                        <a:lnTo>
                          <a:pt x="5066" y="1136"/>
                        </a:lnTo>
                        <a:lnTo>
                          <a:pt x="5064" y="1136"/>
                        </a:lnTo>
                        <a:lnTo>
                          <a:pt x="5062" y="1122"/>
                        </a:lnTo>
                        <a:lnTo>
                          <a:pt x="5058" y="1124"/>
                        </a:lnTo>
                        <a:lnTo>
                          <a:pt x="5052" y="1130"/>
                        </a:lnTo>
                        <a:lnTo>
                          <a:pt x="5052" y="1139"/>
                        </a:lnTo>
                        <a:lnTo>
                          <a:pt x="5050" y="1141"/>
                        </a:lnTo>
                        <a:lnTo>
                          <a:pt x="5048" y="1141"/>
                        </a:lnTo>
                        <a:lnTo>
                          <a:pt x="5046" y="1136"/>
                        </a:lnTo>
                        <a:lnTo>
                          <a:pt x="5042" y="1134"/>
                        </a:lnTo>
                        <a:lnTo>
                          <a:pt x="5044" y="1128"/>
                        </a:lnTo>
                        <a:lnTo>
                          <a:pt x="5041" y="1126"/>
                        </a:lnTo>
                        <a:lnTo>
                          <a:pt x="5039" y="1128"/>
                        </a:lnTo>
                        <a:lnTo>
                          <a:pt x="5041" y="1136"/>
                        </a:lnTo>
                        <a:lnTo>
                          <a:pt x="5037" y="1139"/>
                        </a:lnTo>
                        <a:lnTo>
                          <a:pt x="5035" y="1147"/>
                        </a:lnTo>
                        <a:lnTo>
                          <a:pt x="5029" y="1151"/>
                        </a:lnTo>
                        <a:lnTo>
                          <a:pt x="5027" y="1151"/>
                        </a:lnTo>
                        <a:lnTo>
                          <a:pt x="5027" y="1149"/>
                        </a:lnTo>
                        <a:lnTo>
                          <a:pt x="5031" y="1139"/>
                        </a:lnTo>
                        <a:lnTo>
                          <a:pt x="5033" y="1136"/>
                        </a:lnTo>
                        <a:lnTo>
                          <a:pt x="5029" y="1134"/>
                        </a:lnTo>
                        <a:lnTo>
                          <a:pt x="5023" y="1136"/>
                        </a:lnTo>
                        <a:lnTo>
                          <a:pt x="5021" y="1139"/>
                        </a:lnTo>
                        <a:lnTo>
                          <a:pt x="5014" y="1145"/>
                        </a:lnTo>
                        <a:lnTo>
                          <a:pt x="5012" y="1147"/>
                        </a:lnTo>
                        <a:lnTo>
                          <a:pt x="5014" y="1157"/>
                        </a:lnTo>
                        <a:lnTo>
                          <a:pt x="5014" y="1161"/>
                        </a:lnTo>
                        <a:lnTo>
                          <a:pt x="5010" y="1155"/>
                        </a:lnTo>
                        <a:lnTo>
                          <a:pt x="5006" y="1155"/>
                        </a:lnTo>
                        <a:lnTo>
                          <a:pt x="5004" y="1161"/>
                        </a:lnTo>
                        <a:lnTo>
                          <a:pt x="5000" y="1161"/>
                        </a:lnTo>
                        <a:lnTo>
                          <a:pt x="4998" y="1149"/>
                        </a:lnTo>
                        <a:lnTo>
                          <a:pt x="4995" y="1147"/>
                        </a:lnTo>
                        <a:lnTo>
                          <a:pt x="4991" y="1147"/>
                        </a:lnTo>
                        <a:lnTo>
                          <a:pt x="4983" y="1161"/>
                        </a:lnTo>
                        <a:lnTo>
                          <a:pt x="4975" y="1166"/>
                        </a:lnTo>
                        <a:lnTo>
                          <a:pt x="4975" y="1172"/>
                        </a:lnTo>
                        <a:lnTo>
                          <a:pt x="4975" y="1176"/>
                        </a:lnTo>
                        <a:lnTo>
                          <a:pt x="4975" y="1178"/>
                        </a:lnTo>
                        <a:lnTo>
                          <a:pt x="4970" y="1178"/>
                        </a:lnTo>
                        <a:lnTo>
                          <a:pt x="4964" y="1180"/>
                        </a:lnTo>
                        <a:lnTo>
                          <a:pt x="4958" y="1185"/>
                        </a:lnTo>
                        <a:lnTo>
                          <a:pt x="4956" y="1191"/>
                        </a:lnTo>
                        <a:lnTo>
                          <a:pt x="4952" y="1197"/>
                        </a:lnTo>
                        <a:lnTo>
                          <a:pt x="4943" y="1205"/>
                        </a:lnTo>
                        <a:lnTo>
                          <a:pt x="4943" y="1210"/>
                        </a:lnTo>
                        <a:lnTo>
                          <a:pt x="4947" y="1216"/>
                        </a:lnTo>
                        <a:lnTo>
                          <a:pt x="4945" y="1220"/>
                        </a:lnTo>
                        <a:lnTo>
                          <a:pt x="4945" y="1226"/>
                        </a:lnTo>
                        <a:lnTo>
                          <a:pt x="4947" y="1232"/>
                        </a:lnTo>
                        <a:lnTo>
                          <a:pt x="4947" y="1245"/>
                        </a:lnTo>
                        <a:lnTo>
                          <a:pt x="4943" y="1249"/>
                        </a:lnTo>
                        <a:lnTo>
                          <a:pt x="4943" y="1255"/>
                        </a:lnTo>
                        <a:lnTo>
                          <a:pt x="4937" y="1260"/>
                        </a:lnTo>
                        <a:lnTo>
                          <a:pt x="4937" y="1274"/>
                        </a:lnTo>
                        <a:lnTo>
                          <a:pt x="4937" y="1274"/>
                        </a:lnTo>
                        <a:lnTo>
                          <a:pt x="4933" y="1274"/>
                        </a:lnTo>
                        <a:lnTo>
                          <a:pt x="4927" y="1272"/>
                        </a:lnTo>
                        <a:lnTo>
                          <a:pt x="4933" y="1260"/>
                        </a:lnTo>
                        <a:lnTo>
                          <a:pt x="4931" y="1255"/>
                        </a:lnTo>
                        <a:lnTo>
                          <a:pt x="4927" y="1251"/>
                        </a:lnTo>
                        <a:lnTo>
                          <a:pt x="4924" y="1253"/>
                        </a:lnTo>
                        <a:lnTo>
                          <a:pt x="4924" y="1249"/>
                        </a:lnTo>
                        <a:lnTo>
                          <a:pt x="4920" y="1249"/>
                        </a:lnTo>
                        <a:lnTo>
                          <a:pt x="4918" y="1251"/>
                        </a:lnTo>
                        <a:lnTo>
                          <a:pt x="4912" y="1260"/>
                        </a:lnTo>
                        <a:lnTo>
                          <a:pt x="4910" y="1278"/>
                        </a:lnTo>
                        <a:lnTo>
                          <a:pt x="4910" y="1281"/>
                        </a:lnTo>
                        <a:lnTo>
                          <a:pt x="4912" y="1287"/>
                        </a:lnTo>
                        <a:lnTo>
                          <a:pt x="4920" y="1293"/>
                        </a:lnTo>
                        <a:lnTo>
                          <a:pt x="4935" y="1299"/>
                        </a:lnTo>
                        <a:lnTo>
                          <a:pt x="4943" y="1299"/>
                        </a:lnTo>
                        <a:lnTo>
                          <a:pt x="4948" y="1297"/>
                        </a:lnTo>
                        <a:lnTo>
                          <a:pt x="4956" y="1299"/>
                        </a:lnTo>
                        <a:lnTo>
                          <a:pt x="4964" y="1304"/>
                        </a:lnTo>
                        <a:lnTo>
                          <a:pt x="4973" y="1312"/>
                        </a:lnTo>
                        <a:lnTo>
                          <a:pt x="4985" y="1314"/>
                        </a:lnTo>
                        <a:lnTo>
                          <a:pt x="4989" y="1312"/>
                        </a:lnTo>
                        <a:lnTo>
                          <a:pt x="4995" y="1303"/>
                        </a:lnTo>
                        <a:lnTo>
                          <a:pt x="5004" y="1303"/>
                        </a:lnTo>
                        <a:lnTo>
                          <a:pt x="5008" y="1306"/>
                        </a:lnTo>
                        <a:lnTo>
                          <a:pt x="5006" y="1312"/>
                        </a:lnTo>
                        <a:lnTo>
                          <a:pt x="5006" y="1318"/>
                        </a:lnTo>
                        <a:lnTo>
                          <a:pt x="5012" y="1318"/>
                        </a:lnTo>
                        <a:lnTo>
                          <a:pt x="5019" y="1316"/>
                        </a:lnTo>
                        <a:lnTo>
                          <a:pt x="5027" y="1320"/>
                        </a:lnTo>
                        <a:lnTo>
                          <a:pt x="5031" y="1324"/>
                        </a:lnTo>
                        <a:lnTo>
                          <a:pt x="5041" y="1326"/>
                        </a:lnTo>
                        <a:lnTo>
                          <a:pt x="5042" y="1329"/>
                        </a:lnTo>
                        <a:lnTo>
                          <a:pt x="5048" y="1337"/>
                        </a:lnTo>
                        <a:lnTo>
                          <a:pt x="5046" y="1339"/>
                        </a:lnTo>
                        <a:lnTo>
                          <a:pt x="5044" y="1341"/>
                        </a:lnTo>
                        <a:lnTo>
                          <a:pt x="5039" y="1333"/>
                        </a:lnTo>
                        <a:lnTo>
                          <a:pt x="5029" y="1333"/>
                        </a:lnTo>
                        <a:lnTo>
                          <a:pt x="5019" y="1324"/>
                        </a:lnTo>
                        <a:lnTo>
                          <a:pt x="5010" y="1326"/>
                        </a:lnTo>
                        <a:lnTo>
                          <a:pt x="5006" y="1326"/>
                        </a:lnTo>
                        <a:lnTo>
                          <a:pt x="5004" y="1324"/>
                        </a:lnTo>
                        <a:lnTo>
                          <a:pt x="5002" y="1314"/>
                        </a:lnTo>
                        <a:lnTo>
                          <a:pt x="5004" y="1308"/>
                        </a:lnTo>
                        <a:lnTo>
                          <a:pt x="5000" y="1304"/>
                        </a:lnTo>
                        <a:lnTo>
                          <a:pt x="4998" y="1304"/>
                        </a:lnTo>
                        <a:lnTo>
                          <a:pt x="4996" y="1312"/>
                        </a:lnTo>
                        <a:lnTo>
                          <a:pt x="4991" y="1318"/>
                        </a:lnTo>
                        <a:lnTo>
                          <a:pt x="4979" y="1320"/>
                        </a:lnTo>
                        <a:lnTo>
                          <a:pt x="4970" y="1316"/>
                        </a:lnTo>
                        <a:lnTo>
                          <a:pt x="4956" y="1304"/>
                        </a:lnTo>
                        <a:lnTo>
                          <a:pt x="4950" y="1303"/>
                        </a:lnTo>
                        <a:lnTo>
                          <a:pt x="4937" y="1308"/>
                        </a:lnTo>
                        <a:lnTo>
                          <a:pt x="4920" y="1310"/>
                        </a:lnTo>
                        <a:lnTo>
                          <a:pt x="4912" y="1314"/>
                        </a:lnTo>
                        <a:lnTo>
                          <a:pt x="4912" y="1322"/>
                        </a:lnTo>
                        <a:lnTo>
                          <a:pt x="4925" y="1341"/>
                        </a:lnTo>
                        <a:lnTo>
                          <a:pt x="4920" y="1343"/>
                        </a:lnTo>
                        <a:lnTo>
                          <a:pt x="4914" y="1331"/>
                        </a:lnTo>
                        <a:lnTo>
                          <a:pt x="4904" y="1326"/>
                        </a:lnTo>
                        <a:lnTo>
                          <a:pt x="4895" y="1310"/>
                        </a:lnTo>
                        <a:lnTo>
                          <a:pt x="4889" y="1304"/>
                        </a:lnTo>
                        <a:lnTo>
                          <a:pt x="4883" y="1287"/>
                        </a:lnTo>
                        <a:lnTo>
                          <a:pt x="4879" y="1287"/>
                        </a:lnTo>
                        <a:lnTo>
                          <a:pt x="4877" y="1291"/>
                        </a:lnTo>
                        <a:lnTo>
                          <a:pt x="4874" y="1293"/>
                        </a:lnTo>
                        <a:lnTo>
                          <a:pt x="4870" y="1297"/>
                        </a:lnTo>
                        <a:lnTo>
                          <a:pt x="4870" y="1303"/>
                        </a:lnTo>
                        <a:lnTo>
                          <a:pt x="4864" y="1308"/>
                        </a:lnTo>
                        <a:lnTo>
                          <a:pt x="4862" y="1314"/>
                        </a:lnTo>
                        <a:lnTo>
                          <a:pt x="4856" y="1318"/>
                        </a:lnTo>
                        <a:lnTo>
                          <a:pt x="4853" y="1324"/>
                        </a:lnTo>
                        <a:lnTo>
                          <a:pt x="4841" y="1333"/>
                        </a:lnTo>
                        <a:lnTo>
                          <a:pt x="4835" y="1343"/>
                        </a:lnTo>
                        <a:lnTo>
                          <a:pt x="4833" y="1349"/>
                        </a:lnTo>
                        <a:lnTo>
                          <a:pt x="4824" y="1360"/>
                        </a:lnTo>
                        <a:lnTo>
                          <a:pt x="4824" y="1366"/>
                        </a:lnTo>
                        <a:lnTo>
                          <a:pt x="4820" y="1368"/>
                        </a:lnTo>
                        <a:lnTo>
                          <a:pt x="4810" y="1366"/>
                        </a:lnTo>
                        <a:lnTo>
                          <a:pt x="4808" y="1368"/>
                        </a:lnTo>
                        <a:lnTo>
                          <a:pt x="4808" y="1372"/>
                        </a:lnTo>
                        <a:lnTo>
                          <a:pt x="4803" y="1375"/>
                        </a:lnTo>
                        <a:lnTo>
                          <a:pt x="4795" y="1372"/>
                        </a:lnTo>
                        <a:lnTo>
                          <a:pt x="4793" y="1364"/>
                        </a:lnTo>
                        <a:lnTo>
                          <a:pt x="4797" y="1356"/>
                        </a:lnTo>
                        <a:lnTo>
                          <a:pt x="4797" y="1352"/>
                        </a:lnTo>
                        <a:lnTo>
                          <a:pt x="4793" y="1352"/>
                        </a:lnTo>
                        <a:lnTo>
                          <a:pt x="4787" y="1358"/>
                        </a:lnTo>
                        <a:lnTo>
                          <a:pt x="4787" y="1364"/>
                        </a:lnTo>
                        <a:lnTo>
                          <a:pt x="4780" y="1374"/>
                        </a:lnTo>
                        <a:lnTo>
                          <a:pt x="4780" y="1377"/>
                        </a:lnTo>
                        <a:lnTo>
                          <a:pt x="4782" y="1379"/>
                        </a:lnTo>
                        <a:lnTo>
                          <a:pt x="4774" y="1385"/>
                        </a:lnTo>
                        <a:lnTo>
                          <a:pt x="4749" y="1372"/>
                        </a:lnTo>
                        <a:lnTo>
                          <a:pt x="4753" y="1368"/>
                        </a:lnTo>
                        <a:lnTo>
                          <a:pt x="4755" y="1362"/>
                        </a:lnTo>
                        <a:lnTo>
                          <a:pt x="4751" y="1356"/>
                        </a:lnTo>
                        <a:lnTo>
                          <a:pt x="4749" y="1350"/>
                        </a:lnTo>
                        <a:lnTo>
                          <a:pt x="4745" y="1349"/>
                        </a:lnTo>
                        <a:lnTo>
                          <a:pt x="4741" y="1350"/>
                        </a:lnTo>
                        <a:lnTo>
                          <a:pt x="4726" y="1362"/>
                        </a:lnTo>
                        <a:lnTo>
                          <a:pt x="4722" y="1364"/>
                        </a:lnTo>
                        <a:lnTo>
                          <a:pt x="4716" y="1360"/>
                        </a:lnTo>
                        <a:lnTo>
                          <a:pt x="4711" y="1360"/>
                        </a:lnTo>
                        <a:lnTo>
                          <a:pt x="4707" y="1364"/>
                        </a:lnTo>
                        <a:lnTo>
                          <a:pt x="4707" y="1374"/>
                        </a:lnTo>
                        <a:lnTo>
                          <a:pt x="4703" y="1375"/>
                        </a:lnTo>
                        <a:lnTo>
                          <a:pt x="4697" y="1372"/>
                        </a:lnTo>
                        <a:lnTo>
                          <a:pt x="4689" y="1377"/>
                        </a:lnTo>
                        <a:lnTo>
                          <a:pt x="4684" y="1377"/>
                        </a:lnTo>
                        <a:lnTo>
                          <a:pt x="4684" y="1385"/>
                        </a:lnTo>
                        <a:lnTo>
                          <a:pt x="4682" y="1387"/>
                        </a:lnTo>
                        <a:lnTo>
                          <a:pt x="4680" y="1387"/>
                        </a:lnTo>
                        <a:lnTo>
                          <a:pt x="4674" y="1383"/>
                        </a:lnTo>
                        <a:lnTo>
                          <a:pt x="4664" y="1381"/>
                        </a:lnTo>
                        <a:lnTo>
                          <a:pt x="4653" y="1381"/>
                        </a:lnTo>
                        <a:lnTo>
                          <a:pt x="4649" y="1383"/>
                        </a:lnTo>
                        <a:lnTo>
                          <a:pt x="4645" y="1389"/>
                        </a:lnTo>
                        <a:lnTo>
                          <a:pt x="4645" y="1397"/>
                        </a:lnTo>
                        <a:lnTo>
                          <a:pt x="4643" y="1400"/>
                        </a:lnTo>
                        <a:lnTo>
                          <a:pt x="4643" y="1410"/>
                        </a:lnTo>
                        <a:lnTo>
                          <a:pt x="4640" y="1414"/>
                        </a:lnTo>
                        <a:lnTo>
                          <a:pt x="4638" y="1414"/>
                        </a:lnTo>
                        <a:lnTo>
                          <a:pt x="4638" y="1408"/>
                        </a:lnTo>
                        <a:lnTo>
                          <a:pt x="4640" y="1400"/>
                        </a:lnTo>
                        <a:lnTo>
                          <a:pt x="4641" y="1395"/>
                        </a:lnTo>
                        <a:lnTo>
                          <a:pt x="4641" y="1389"/>
                        </a:lnTo>
                        <a:lnTo>
                          <a:pt x="4640" y="1383"/>
                        </a:lnTo>
                        <a:lnTo>
                          <a:pt x="4634" y="1383"/>
                        </a:lnTo>
                        <a:lnTo>
                          <a:pt x="4630" y="1379"/>
                        </a:lnTo>
                        <a:lnTo>
                          <a:pt x="4626" y="1379"/>
                        </a:lnTo>
                        <a:lnTo>
                          <a:pt x="4622" y="1379"/>
                        </a:lnTo>
                        <a:lnTo>
                          <a:pt x="4620" y="1377"/>
                        </a:lnTo>
                        <a:lnTo>
                          <a:pt x="4624" y="1375"/>
                        </a:lnTo>
                        <a:lnTo>
                          <a:pt x="4624" y="1374"/>
                        </a:lnTo>
                        <a:lnTo>
                          <a:pt x="4618" y="1368"/>
                        </a:lnTo>
                        <a:lnTo>
                          <a:pt x="4599" y="1370"/>
                        </a:lnTo>
                        <a:lnTo>
                          <a:pt x="4599" y="1377"/>
                        </a:lnTo>
                        <a:lnTo>
                          <a:pt x="4595" y="1377"/>
                        </a:lnTo>
                        <a:lnTo>
                          <a:pt x="4588" y="1375"/>
                        </a:lnTo>
                        <a:lnTo>
                          <a:pt x="4584" y="1375"/>
                        </a:lnTo>
                        <a:lnTo>
                          <a:pt x="4582" y="1377"/>
                        </a:lnTo>
                        <a:lnTo>
                          <a:pt x="4582" y="1385"/>
                        </a:lnTo>
                        <a:lnTo>
                          <a:pt x="4580" y="1389"/>
                        </a:lnTo>
                        <a:lnTo>
                          <a:pt x="4570" y="1383"/>
                        </a:lnTo>
                        <a:lnTo>
                          <a:pt x="4549" y="1385"/>
                        </a:lnTo>
                        <a:lnTo>
                          <a:pt x="4545" y="1389"/>
                        </a:lnTo>
                        <a:lnTo>
                          <a:pt x="4544" y="1393"/>
                        </a:lnTo>
                        <a:lnTo>
                          <a:pt x="4544" y="1404"/>
                        </a:lnTo>
                        <a:lnTo>
                          <a:pt x="4536" y="1406"/>
                        </a:lnTo>
                        <a:lnTo>
                          <a:pt x="4534" y="1412"/>
                        </a:lnTo>
                        <a:lnTo>
                          <a:pt x="4530" y="1410"/>
                        </a:lnTo>
                        <a:lnTo>
                          <a:pt x="4528" y="1408"/>
                        </a:lnTo>
                        <a:lnTo>
                          <a:pt x="4528" y="1398"/>
                        </a:lnTo>
                        <a:lnTo>
                          <a:pt x="4524" y="1393"/>
                        </a:lnTo>
                        <a:lnTo>
                          <a:pt x="4524" y="1387"/>
                        </a:lnTo>
                        <a:lnTo>
                          <a:pt x="4522" y="1385"/>
                        </a:lnTo>
                        <a:lnTo>
                          <a:pt x="4515" y="1385"/>
                        </a:lnTo>
                        <a:lnTo>
                          <a:pt x="4507" y="1379"/>
                        </a:lnTo>
                        <a:lnTo>
                          <a:pt x="4496" y="1368"/>
                        </a:lnTo>
                        <a:lnTo>
                          <a:pt x="4488" y="1366"/>
                        </a:lnTo>
                        <a:lnTo>
                          <a:pt x="4482" y="1368"/>
                        </a:lnTo>
                        <a:lnTo>
                          <a:pt x="4478" y="1375"/>
                        </a:lnTo>
                        <a:lnTo>
                          <a:pt x="4480" y="1383"/>
                        </a:lnTo>
                        <a:lnTo>
                          <a:pt x="4480" y="1387"/>
                        </a:lnTo>
                        <a:lnTo>
                          <a:pt x="4478" y="1387"/>
                        </a:lnTo>
                        <a:lnTo>
                          <a:pt x="4469" y="1387"/>
                        </a:lnTo>
                        <a:lnTo>
                          <a:pt x="4463" y="1389"/>
                        </a:lnTo>
                        <a:lnTo>
                          <a:pt x="4461" y="1391"/>
                        </a:lnTo>
                        <a:lnTo>
                          <a:pt x="4457" y="1395"/>
                        </a:lnTo>
                        <a:lnTo>
                          <a:pt x="4457" y="1398"/>
                        </a:lnTo>
                        <a:lnTo>
                          <a:pt x="4457" y="1400"/>
                        </a:lnTo>
                        <a:lnTo>
                          <a:pt x="4467" y="1420"/>
                        </a:lnTo>
                        <a:lnTo>
                          <a:pt x="4469" y="1429"/>
                        </a:lnTo>
                        <a:lnTo>
                          <a:pt x="4482" y="1433"/>
                        </a:lnTo>
                        <a:lnTo>
                          <a:pt x="4486" y="1437"/>
                        </a:lnTo>
                        <a:lnTo>
                          <a:pt x="4488" y="1439"/>
                        </a:lnTo>
                        <a:lnTo>
                          <a:pt x="4484" y="1441"/>
                        </a:lnTo>
                        <a:lnTo>
                          <a:pt x="4467" y="1437"/>
                        </a:lnTo>
                        <a:lnTo>
                          <a:pt x="4461" y="1433"/>
                        </a:lnTo>
                        <a:lnTo>
                          <a:pt x="4463" y="1429"/>
                        </a:lnTo>
                        <a:lnTo>
                          <a:pt x="4463" y="1425"/>
                        </a:lnTo>
                        <a:lnTo>
                          <a:pt x="4451" y="1404"/>
                        </a:lnTo>
                        <a:lnTo>
                          <a:pt x="4448" y="1402"/>
                        </a:lnTo>
                        <a:lnTo>
                          <a:pt x="4434" y="1398"/>
                        </a:lnTo>
                        <a:lnTo>
                          <a:pt x="4427" y="1404"/>
                        </a:lnTo>
                        <a:lnTo>
                          <a:pt x="4427" y="1420"/>
                        </a:lnTo>
                        <a:lnTo>
                          <a:pt x="4427" y="1429"/>
                        </a:lnTo>
                        <a:lnTo>
                          <a:pt x="4423" y="1437"/>
                        </a:lnTo>
                        <a:lnTo>
                          <a:pt x="4421" y="1441"/>
                        </a:lnTo>
                        <a:lnTo>
                          <a:pt x="4421" y="1448"/>
                        </a:lnTo>
                        <a:lnTo>
                          <a:pt x="4423" y="1466"/>
                        </a:lnTo>
                        <a:lnTo>
                          <a:pt x="4428" y="1481"/>
                        </a:lnTo>
                        <a:lnTo>
                          <a:pt x="4432" y="1483"/>
                        </a:lnTo>
                        <a:lnTo>
                          <a:pt x="4436" y="1487"/>
                        </a:lnTo>
                        <a:lnTo>
                          <a:pt x="4444" y="1492"/>
                        </a:lnTo>
                        <a:lnTo>
                          <a:pt x="4440" y="1494"/>
                        </a:lnTo>
                        <a:lnTo>
                          <a:pt x="4436" y="1496"/>
                        </a:lnTo>
                        <a:lnTo>
                          <a:pt x="4434" y="1491"/>
                        </a:lnTo>
                        <a:lnTo>
                          <a:pt x="4419" y="1473"/>
                        </a:lnTo>
                        <a:lnTo>
                          <a:pt x="4417" y="1460"/>
                        </a:lnTo>
                        <a:lnTo>
                          <a:pt x="4415" y="1452"/>
                        </a:lnTo>
                        <a:lnTo>
                          <a:pt x="4415" y="1446"/>
                        </a:lnTo>
                        <a:lnTo>
                          <a:pt x="4411" y="1439"/>
                        </a:lnTo>
                        <a:lnTo>
                          <a:pt x="4411" y="1437"/>
                        </a:lnTo>
                        <a:lnTo>
                          <a:pt x="4419" y="1431"/>
                        </a:lnTo>
                        <a:lnTo>
                          <a:pt x="4421" y="1427"/>
                        </a:lnTo>
                        <a:lnTo>
                          <a:pt x="4423" y="1408"/>
                        </a:lnTo>
                        <a:lnTo>
                          <a:pt x="4423" y="1397"/>
                        </a:lnTo>
                        <a:lnTo>
                          <a:pt x="4427" y="1395"/>
                        </a:lnTo>
                        <a:lnTo>
                          <a:pt x="4430" y="1393"/>
                        </a:lnTo>
                        <a:lnTo>
                          <a:pt x="4434" y="1393"/>
                        </a:lnTo>
                        <a:lnTo>
                          <a:pt x="4444" y="1397"/>
                        </a:lnTo>
                        <a:lnTo>
                          <a:pt x="4448" y="1397"/>
                        </a:lnTo>
                        <a:lnTo>
                          <a:pt x="4451" y="1395"/>
                        </a:lnTo>
                        <a:lnTo>
                          <a:pt x="4450" y="1387"/>
                        </a:lnTo>
                        <a:lnTo>
                          <a:pt x="4450" y="1383"/>
                        </a:lnTo>
                        <a:lnTo>
                          <a:pt x="4442" y="1383"/>
                        </a:lnTo>
                        <a:lnTo>
                          <a:pt x="4440" y="1377"/>
                        </a:lnTo>
                        <a:lnTo>
                          <a:pt x="4444" y="1374"/>
                        </a:lnTo>
                        <a:lnTo>
                          <a:pt x="4450" y="1374"/>
                        </a:lnTo>
                        <a:lnTo>
                          <a:pt x="4455" y="1377"/>
                        </a:lnTo>
                        <a:lnTo>
                          <a:pt x="4461" y="1377"/>
                        </a:lnTo>
                        <a:lnTo>
                          <a:pt x="4474" y="1370"/>
                        </a:lnTo>
                        <a:lnTo>
                          <a:pt x="4476" y="1362"/>
                        </a:lnTo>
                        <a:lnTo>
                          <a:pt x="4478" y="1360"/>
                        </a:lnTo>
                        <a:lnTo>
                          <a:pt x="4474" y="1354"/>
                        </a:lnTo>
                        <a:lnTo>
                          <a:pt x="4474" y="1350"/>
                        </a:lnTo>
                        <a:lnTo>
                          <a:pt x="4480" y="1324"/>
                        </a:lnTo>
                        <a:lnTo>
                          <a:pt x="4474" y="1316"/>
                        </a:lnTo>
                        <a:lnTo>
                          <a:pt x="4471" y="1314"/>
                        </a:lnTo>
                        <a:lnTo>
                          <a:pt x="4461" y="1297"/>
                        </a:lnTo>
                        <a:lnTo>
                          <a:pt x="4461" y="1285"/>
                        </a:lnTo>
                        <a:lnTo>
                          <a:pt x="4459" y="1278"/>
                        </a:lnTo>
                        <a:lnTo>
                          <a:pt x="4459" y="1268"/>
                        </a:lnTo>
                        <a:lnTo>
                          <a:pt x="4467" y="1249"/>
                        </a:lnTo>
                        <a:lnTo>
                          <a:pt x="4465" y="1239"/>
                        </a:lnTo>
                        <a:lnTo>
                          <a:pt x="4457" y="1226"/>
                        </a:lnTo>
                        <a:lnTo>
                          <a:pt x="4453" y="1224"/>
                        </a:lnTo>
                        <a:lnTo>
                          <a:pt x="4451" y="1222"/>
                        </a:lnTo>
                        <a:lnTo>
                          <a:pt x="4444" y="1232"/>
                        </a:lnTo>
                        <a:lnTo>
                          <a:pt x="4440" y="1232"/>
                        </a:lnTo>
                        <a:lnTo>
                          <a:pt x="4428" y="1232"/>
                        </a:lnTo>
                        <a:lnTo>
                          <a:pt x="4421" y="1222"/>
                        </a:lnTo>
                        <a:lnTo>
                          <a:pt x="4415" y="1220"/>
                        </a:lnTo>
                        <a:lnTo>
                          <a:pt x="4409" y="1220"/>
                        </a:lnTo>
                        <a:lnTo>
                          <a:pt x="4405" y="1222"/>
                        </a:lnTo>
                        <a:lnTo>
                          <a:pt x="4390" y="1233"/>
                        </a:lnTo>
                        <a:lnTo>
                          <a:pt x="4384" y="1235"/>
                        </a:lnTo>
                        <a:lnTo>
                          <a:pt x="4373" y="1249"/>
                        </a:lnTo>
                        <a:lnTo>
                          <a:pt x="4365" y="1255"/>
                        </a:lnTo>
                        <a:lnTo>
                          <a:pt x="4359" y="1256"/>
                        </a:lnTo>
                        <a:lnTo>
                          <a:pt x="4354" y="1255"/>
                        </a:lnTo>
                        <a:lnTo>
                          <a:pt x="4352" y="1256"/>
                        </a:lnTo>
                        <a:lnTo>
                          <a:pt x="4334" y="1276"/>
                        </a:lnTo>
                        <a:lnTo>
                          <a:pt x="4302" y="1287"/>
                        </a:lnTo>
                        <a:lnTo>
                          <a:pt x="4281" y="1301"/>
                        </a:lnTo>
                        <a:lnTo>
                          <a:pt x="4263" y="1310"/>
                        </a:lnTo>
                        <a:lnTo>
                          <a:pt x="4244" y="1320"/>
                        </a:lnTo>
                        <a:lnTo>
                          <a:pt x="4244" y="1310"/>
                        </a:lnTo>
                        <a:lnTo>
                          <a:pt x="4242" y="1304"/>
                        </a:lnTo>
                        <a:lnTo>
                          <a:pt x="4235" y="1297"/>
                        </a:lnTo>
                        <a:lnTo>
                          <a:pt x="4229" y="1295"/>
                        </a:lnTo>
                        <a:lnTo>
                          <a:pt x="4223" y="1289"/>
                        </a:lnTo>
                        <a:lnTo>
                          <a:pt x="4235" y="1283"/>
                        </a:lnTo>
                        <a:lnTo>
                          <a:pt x="4244" y="1276"/>
                        </a:lnTo>
                        <a:lnTo>
                          <a:pt x="4248" y="1272"/>
                        </a:lnTo>
                        <a:lnTo>
                          <a:pt x="4248" y="1268"/>
                        </a:lnTo>
                        <a:lnTo>
                          <a:pt x="4246" y="1264"/>
                        </a:lnTo>
                        <a:lnTo>
                          <a:pt x="4250" y="1245"/>
                        </a:lnTo>
                        <a:lnTo>
                          <a:pt x="4248" y="1241"/>
                        </a:lnTo>
                        <a:lnTo>
                          <a:pt x="4246" y="1239"/>
                        </a:lnTo>
                        <a:lnTo>
                          <a:pt x="4238" y="1239"/>
                        </a:lnTo>
                        <a:lnTo>
                          <a:pt x="4237" y="1237"/>
                        </a:lnTo>
                        <a:lnTo>
                          <a:pt x="4233" y="1235"/>
                        </a:lnTo>
                        <a:lnTo>
                          <a:pt x="4227" y="1241"/>
                        </a:lnTo>
                        <a:lnTo>
                          <a:pt x="4235" y="1233"/>
                        </a:lnTo>
                        <a:lnTo>
                          <a:pt x="4240" y="1237"/>
                        </a:lnTo>
                        <a:lnTo>
                          <a:pt x="4263" y="1237"/>
                        </a:lnTo>
                        <a:lnTo>
                          <a:pt x="4271" y="1233"/>
                        </a:lnTo>
                        <a:lnTo>
                          <a:pt x="4277" y="1224"/>
                        </a:lnTo>
                        <a:lnTo>
                          <a:pt x="4285" y="1218"/>
                        </a:lnTo>
                        <a:lnTo>
                          <a:pt x="4288" y="1218"/>
                        </a:lnTo>
                        <a:lnTo>
                          <a:pt x="4290" y="1212"/>
                        </a:lnTo>
                        <a:lnTo>
                          <a:pt x="4288" y="1203"/>
                        </a:lnTo>
                        <a:lnTo>
                          <a:pt x="4286" y="1191"/>
                        </a:lnTo>
                        <a:lnTo>
                          <a:pt x="4294" y="1161"/>
                        </a:lnTo>
                        <a:lnTo>
                          <a:pt x="4321" y="1128"/>
                        </a:lnTo>
                        <a:lnTo>
                          <a:pt x="4329" y="1122"/>
                        </a:lnTo>
                        <a:lnTo>
                          <a:pt x="4329" y="1122"/>
                        </a:lnTo>
                        <a:lnTo>
                          <a:pt x="4329" y="1122"/>
                        </a:lnTo>
                        <a:lnTo>
                          <a:pt x="4325" y="1116"/>
                        </a:lnTo>
                        <a:lnTo>
                          <a:pt x="4334" y="1109"/>
                        </a:lnTo>
                        <a:lnTo>
                          <a:pt x="4336" y="1105"/>
                        </a:lnTo>
                        <a:lnTo>
                          <a:pt x="4338" y="1099"/>
                        </a:lnTo>
                        <a:lnTo>
                          <a:pt x="4340" y="1093"/>
                        </a:lnTo>
                        <a:lnTo>
                          <a:pt x="4348" y="1090"/>
                        </a:lnTo>
                        <a:lnTo>
                          <a:pt x="4352" y="1084"/>
                        </a:lnTo>
                        <a:lnTo>
                          <a:pt x="4354" y="1068"/>
                        </a:lnTo>
                        <a:lnTo>
                          <a:pt x="4348" y="1066"/>
                        </a:lnTo>
                        <a:lnTo>
                          <a:pt x="4348" y="1063"/>
                        </a:lnTo>
                        <a:lnTo>
                          <a:pt x="4352" y="1061"/>
                        </a:lnTo>
                        <a:lnTo>
                          <a:pt x="4359" y="1065"/>
                        </a:lnTo>
                        <a:lnTo>
                          <a:pt x="4363" y="1063"/>
                        </a:lnTo>
                        <a:lnTo>
                          <a:pt x="4371" y="1051"/>
                        </a:lnTo>
                        <a:lnTo>
                          <a:pt x="4373" y="1040"/>
                        </a:lnTo>
                        <a:lnTo>
                          <a:pt x="4379" y="1036"/>
                        </a:lnTo>
                        <a:lnTo>
                          <a:pt x="4377" y="1034"/>
                        </a:lnTo>
                        <a:lnTo>
                          <a:pt x="4367" y="1036"/>
                        </a:lnTo>
                        <a:lnTo>
                          <a:pt x="4344" y="1030"/>
                        </a:lnTo>
                        <a:lnTo>
                          <a:pt x="4338" y="1024"/>
                        </a:lnTo>
                        <a:lnTo>
                          <a:pt x="4338" y="1019"/>
                        </a:lnTo>
                        <a:lnTo>
                          <a:pt x="4342" y="1019"/>
                        </a:lnTo>
                        <a:lnTo>
                          <a:pt x="4346" y="1024"/>
                        </a:lnTo>
                        <a:lnTo>
                          <a:pt x="4354" y="1028"/>
                        </a:lnTo>
                        <a:lnTo>
                          <a:pt x="4363" y="1032"/>
                        </a:lnTo>
                        <a:lnTo>
                          <a:pt x="4379" y="1032"/>
                        </a:lnTo>
                        <a:lnTo>
                          <a:pt x="4384" y="1026"/>
                        </a:lnTo>
                        <a:lnTo>
                          <a:pt x="4392" y="1028"/>
                        </a:lnTo>
                        <a:lnTo>
                          <a:pt x="4405" y="1026"/>
                        </a:lnTo>
                        <a:lnTo>
                          <a:pt x="4409" y="1024"/>
                        </a:lnTo>
                        <a:lnTo>
                          <a:pt x="4413" y="1020"/>
                        </a:lnTo>
                        <a:lnTo>
                          <a:pt x="4415" y="1017"/>
                        </a:lnTo>
                        <a:lnTo>
                          <a:pt x="4417" y="1011"/>
                        </a:lnTo>
                        <a:lnTo>
                          <a:pt x="4421" y="1001"/>
                        </a:lnTo>
                        <a:lnTo>
                          <a:pt x="4430" y="994"/>
                        </a:lnTo>
                        <a:lnTo>
                          <a:pt x="4436" y="988"/>
                        </a:lnTo>
                        <a:lnTo>
                          <a:pt x="4442" y="988"/>
                        </a:lnTo>
                        <a:lnTo>
                          <a:pt x="4446" y="986"/>
                        </a:lnTo>
                        <a:lnTo>
                          <a:pt x="4453" y="980"/>
                        </a:lnTo>
                        <a:lnTo>
                          <a:pt x="4463" y="978"/>
                        </a:lnTo>
                        <a:lnTo>
                          <a:pt x="4469" y="972"/>
                        </a:lnTo>
                        <a:lnTo>
                          <a:pt x="4473" y="972"/>
                        </a:lnTo>
                        <a:lnTo>
                          <a:pt x="4476" y="971"/>
                        </a:lnTo>
                        <a:lnTo>
                          <a:pt x="4482" y="959"/>
                        </a:lnTo>
                        <a:lnTo>
                          <a:pt x="4488" y="955"/>
                        </a:lnTo>
                        <a:lnTo>
                          <a:pt x="4503" y="938"/>
                        </a:lnTo>
                        <a:lnTo>
                          <a:pt x="4515" y="919"/>
                        </a:lnTo>
                        <a:lnTo>
                          <a:pt x="4524" y="898"/>
                        </a:lnTo>
                        <a:lnTo>
                          <a:pt x="4532" y="890"/>
                        </a:lnTo>
                        <a:lnTo>
                          <a:pt x="4545" y="880"/>
                        </a:lnTo>
                        <a:lnTo>
                          <a:pt x="4557" y="869"/>
                        </a:lnTo>
                        <a:lnTo>
                          <a:pt x="4561" y="855"/>
                        </a:lnTo>
                        <a:lnTo>
                          <a:pt x="4559" y="840"/>
                        </a:lnTo>
                        <a:lnTo>
                          <a:pt x="4565" y="846"/>
                        </a:lnTo>
                        <a:lnTo>
                          <a:pt x="4570" y="846"/>
                        </a:lnTo>
                        <a:lnTo>
                          <a:pt x="4578" y="840"/>
                        </a:lnTo>
                        <a:lnTo>
                          <a:pt x="4599" y="829"/>
                        </a:lnTo>
                        <a:lnTo>
                          <a:pt x="4609" y="813"/>
                        </a:lnTo>
                        <a:lnTo>
                          <a:pt x="4618" y="811"/>
                        </a:lnTo>
                        <a:lnTo>
                          <a:pt x="4624" y="806"/>
                        </a:lnTo>
                        <a:lnTo>
                          <a:pt x="4628" y="796"/>
                        </a:lnTo>
                        <a:lnTo>
                          <a:pt x="4636" y="786"/>
                        </a:lnTo>
                        <a:lnTo>
                          <a:pt x="4638" y="781"/>
                        </a:lnTo>
                        <a:lnTo>
                          <a:pt x="4636" y="775"/>
                        </a:lnTo>
                        <a:lnTo>
                          <a:pt x="4630" y="775"/>
                        </a:lnTo>
                        <a:lnTo>
                          <a:pt x="4622" y="783"/>
                        </a:lnTo>
                        <a:lnTo>
                          <a:pt x="4618" y="783"/>
                        </a:lnTo>
                        <a:lnTo>
                          <a:pt x="4603" y="783"/>
                        </a:lnTo>
                        <a:lnTo>
                          <a:pt x="4592" y="784"/>
                        </a:lnTo>
                        <a:lnTo>
                          <a:pt x="4590" y="779"/>
                        </a:lnTo>
                        <a:lnTo>
                          <a:pt x="4590" y="769"/>
                        </a:lnTo>
                        <a:lnTo>
                          <a:pt x="4586" y="763"/>
                        </a:lnTo>
                        <a:lnTo>
                          <a:pt x="4582" y="761"/>
                        </a:lnTo>
                        <a:lnTo>
                          <a:pt x="4574" y="761"/>
                        </a:lnTo>
                        <a:lnTo>
                          <a:pt x="4570" y="763"/>
                        </a:lnTo>
                        <a:lnTo>
                          <a:pt x="4565" y="765"/>
                        </a:lnTo>
                        <a:lnTo>
                          <a:pt x="4563" y="767"/>
                        </a:lnTo>
                        <a:lnTo>
                          <a:pt x="4563" y="771"/>
                        </a:lnTo>
                        <a:lnTo>
                          <a:pt x="4567" y="783"/>
                        </a:lnTo>
                        <a:lnTo>
                          <a:pt x="4563" y="788"/>
                        </a:lnTo>
                        <a:lnTo>
                          <a:pt x="4551" y="794"/>
                        </a:lnTo>
                        <a:lnTo>
                          <a:pt x="4542" y="792"/>
                        </a:lnTo>
                        <a:lnTo>
                          <a:pt x="4538" y="792"/>
                        </a:lnTo>
                        <a:lnTo>
                          <a:pt x="4528" y="802"/>
                        </a:lnTo>
                        <a:lnTo>
                          <a:pt x="4524" y="811"/>
                        </a:lnTo>
                        <a:lnTo>
                          <a:pt x="4517" y="817"/>
                        </a:lnTo>
                        <a:lnTo>
                          <a:pt x="4515" y="817"/>
                        </a:lnTo>
                        <a:lnTo>
                          <a:pt x="4511" y="809"/>
                        </a:lnTo>
                        <a:lnTo>
                          <a:pt x="4507" y="811"/>
                        </a:lnTo>
                        <a:lnTo>
                          <a:pt x="4503" y="811"/>
                        </a:lnTo>
                        <a:lnTo>
                          <a:pt x="4498" y="813"/>
                        </a:lnTo>
                        <a:lnTo>
                          <a:pt x="4496" y="815"/>
                        </a:lnTo>
                        <a:lnTo>
                          <a:pt x="4496" y="819"/>
                        </a:lnTo>
                        <a:lnTo>
                          <a:pt x="4494" y="821"/>
                        </a:lnTo>
                        <a:lnTo>
                          <a:pt x="4490" y="817"/>
                        </a:lnTo>
                        <a:lnTo>
                          <a:pt x="4490" y="815"/>
                        </a:lnTo>
                        <a:lnTo>
                          <a:pt x="4492" y="813"/>
                        </a:lnTo>
                        <a:lnTo>
                          <a:pt x="4492" y="807"/>
                        </a:lnTo>
                        <a:lnTo>
                          <a:pt x="4494" y="804"/>
                        </a:lnTo>
                        <a:lnTo>
                          <a:pt x="4503" y="807"/>
                        </a:lnTo>
                        <a:lnTo>
                          <a:pt x="4513" y="806"/>
                        </a:lnTo>
                        <a:lnTo>
                          <a:pt x="4517" y="809"/>
                        </a:lnTo>
                        <a:lnTo>
                          <a:pt x="4519" y="809"/>
                        </a:lnTo>
                        <a:lnTo>
                          <a:pt x="4519" y="807"/>
                        </a:lnTo>
                        <a:lnTo>
                          <a:pt x="4530" y="792"/>
                        </a:lnTo>
                        <a:lnTo>
                          <a:pt x="4534" y="788"/>
                        </a:lnTo>
                        <a:lnTo>
                          <a:pt x="4542" y="784"/>
                        </a:lnTo>
                        <a:lnTo>
                          <a:pt x="4545" y="784"/>
                        </a:lnTo>
                        <a:lnTo>
                          <a:pt x="4547" y="788"/>
                        </a:lnTo>
                        <a:lnTo>
                          <a:pt x="4559" y="784"/>
                        </a:lnTo>
                        <a:lnTo>
                          <a:pt x="4561" y="784"/>
                        </a:lnTo>
                        <a:lnTo>
                          <a:pt x="4561" y="781"/>
                        </a:lnTo>
                        <a:lnTo>
                          <a:pt x="4557" y="769"/>
                        </a:lnTo>
                        <a:lnTo>
                          <a:pt x="4559" y="763"/>
                        </a:lnTo>
                        <a:lnTo>
                          <a:pt x="4569" y="758"/>
                        </a:lnTo>
                        <a:lnTo>
                          <a:pt x="4582" y="752"/>
                        </a:lnTo>
                        <a:lnTo>
                          <a:pt x="4586" y="752"/>
                        </a:lnTo>
                        <a:lnTo>
                          <a:pt x="4592" y="756"/>
                        </a:lnTo>
                        <a:lnTo>
                          <a:pt x="4595" y="773"/>
                        </a:lnTo>
                        <a:lnTo>
                          <a:pt x="4603" y="777"/>
                        </a:lnTo>
                        <a:lnTo>
                          <a:pt x="4615" y="779"/>
                        </a:lnTo>
                        <a:lnTo>
                          <a:pt x="4622" y="773"/>
                        </a:lnTo>
                        <a:lnTo>
                          <a:pt x="4628" y="771"/>
                        </a:lnTo>
                        <a:lnTo>
                          <a:pt x="4638" y="758"/>
                        </a:lnTo>
                        <a:lnTo>
                          <a:pt x="4640" y="754"/>
                        </a:lnTo>
                        <a:lnTo>
                          <a:pt x="4638" y="708"/>
                        </a:lnTo>
                        <a:lnTo>
                          <a:pt x="4636" y="698"/>
                        </a:lnTo>
                        <a:lnTo>
                          <a:pt x="4620" y="681"/>
                        </a:lnTo>
                        <a:lnTo>
                          <a:pt x="4593" y="665"/>
                        </a:lnTo>
                        <a:lnTo>
                          <a:pt x="4586" y="664"/>
                        </a:lnTo>
                        <a:lnTo>
                          <a:pt x="4574" y="667"/>
                        </a:lnTo>
                        <a:lnTo>
                          <a:pt x="4549" y="664"/>
                        </a:lnTo>
                        <a:lnTo>
                          <a:pt x="4540" y="665"/>
                        </a:lnTo>
                        <a:lnTo>
                          <a:pt x="4528" y="665"/>
                        </a:lnTo>
                        <a:lnTo>
                          <a:pt x="4522" y="660"/>
                        </a:lnTo>
                        <a:lnTo>
                          <a:pt x="4515" y="646"/>
                        </a:lnTo>
                        <a:lnTo>
                          <a:pt x="4509" y="641"/>
                        </a:lnTo>
                        <a:lnTo>
                          <a:pt x="4505" y="635"/>
                        </a:lnTo>
                        <a:lnTo>
                          <a:pt x="4503" y="629"/>
                        </a:lnTo>
                        <a:lnTo>
                          <a:pt x="4501" y="617"/>
                        </a:lnTo>
                        <a:lnTo>
                          <a:pt x="4498" y="614"/>
                        </a:lnTo>
                        <a:lnTo>
                          <a:pt x="4492" y="610"/>
                        </a:lnTo>
                        <a:lnTo>
                          <a:pt x="4486" y="608"/>
                        </a:lnTo>
                        <a:lnTo>
                          <a:pt x="4476" y="610"/>
                        </a:lnTo>
                        <a:lnTo>
                          <a:pt x="4473" y="623"/>
                        </a:lnTo>
                        <a:lnTo>
                          <a:pt x="4469" y="623"/>
                        </a:lnTo>
                        <a:lnTo>
                          <a:pt x="4469" y="621"/>
                        </a:lnTo>
                        <a:lnTo>
                          <a:pt x="4469" y="612"/>
                        </a:lnTo>
                        <a:lnTo>
                          <a:pt x="4473" y="606"/>
                        </a:lnTo>
                        <a:lnTo>
                          <a:pt x="4474" y="606"/>
                        </a:lnTo>
                        <a:lnTo>
                          <a:pt x="4482" y="600"/>
                        </a:lnTo>
                        <a:lnTo>
                          <a:pt x="4484" y="594"/>
                        </a:lnTo>
                        <a:lnTo>
                          <a:pt x="4480" y="579"/>
                        </a:lnTo>
                        <a:lnTo>
                          <a:pt x="4471" y="558"/>
                        </a:lnTo>
                        <a:lnTo>
                          <a:pt x="4469" y="543"/>
                        </a:lnTo>
                        <a:lnTo>
                          <a:pt x="4461" y="529"/>
                        </a:lnTo>
                        <a:lnTo>
                          <a:pt x="4455" y="522"/>
                        </a:lnTo>
                        <a:lnTo>
                          <a:pt x="4455" y="512"/>
                        </a:lnTo>
                        <a:lnTo>
                          <a:pt x="4448" y="493"/>
                        </a:lnTo>
                        <a:lnTo>
                          <a:pt x="4448" y="487"/>
                        </a:lnTo>
                        <a:lnTo>
                          <a:pt x="4446" y="479"/>
                        </a:lnTo>
                        <a:lnTo>
                          <a:pt x="4440" y="474"/>
                        </a:lnTo>
                        <a:lnTo>
                          <a:pt x="4436" y="462"/>
                        </a:lnTo>
                        <a:lnTo>
                          <a:pt x="4430" y="451"/>
                        </a:lnTo>
                        <a:lnTo>
                          <a:pt x="4430" y="441"/>
                        </a:lnTo>
                        <a:lnTo>
                          <a:pt x="4423" y="429"/>
                        </a:lnTo>
                        <a:lnTo>
                          <a:pt x="4421" y="416"/>
                        </a:lnTo>
                        <a:lnTo>
                          <a:pt x="4421" y="401"/>
                        </a:lnTo>
                        <a:lnTo>
                          <a:pt x="4409" y="362"/>
                        </a:lnTo>
                        <a:lnTo>
                          <a:pt x="4409" y="347"/>
                        </a:lnTo>
                        <a:lnTo>
                          <a:pt x="4409" y="337"/>
                        </a:lnTo>
                        <a:lnTo>
                          <a:pt x="4409" y="326"/>
                        </a:lnTo>
                        <a:lnTo>
                          <a:pt x="4407" y="312"/>
                        </a:lnTo>
                        <a:lnTo>
                          <a:pt x="4409" y="291"/>
                        </a:lnTo>
                        <a:lnTo>
                          <a:pt x="4411" y="278"/>
                        </a:lnTo>
                        <a:lnTo>
                          <a:pt x="4407" y="268"/>
                        </a:lnTo>
                        <a:lnTo>
                          <a:pt x="4405" y="266"/>
                        </a:lnTo>
                        <a:lnTo>
                          <a:pt x="4400" y="268"/>
                        </a:lnTo>
                        <a:lnTo>
                          <a:pt x="4398" y="274"/>
                        </a:lnTo>
                        <a:lnTo>
                          <a:pt x="4392" y="299"/>
                        </a:lnTo>
                        <a:lnTo>
                          <a:pt x="4390" y="314"/>
                        </a:lnTo>
                        <a:lnTo>
                          <a:pt x="4390" y="347"/>
                        </a:lnTo>
                        <a:lnTo>
                          <a:pt x="4388" y="355"/>
                        </a:lnTo>
                        <a:lnTo>
                          <a:pt x="4386" y="345"/>
                        </a:lnTo>
                        <a:lnTo>
                          <a:pt x="4386" y="314"/>
                        </a:lnTo>
                        <a:lnTo>
                          <a:pt x="4386" y="291"/>
                        </a:lnTo>
                        <a:lnTo>
                          <a:pt x="4392" y="264"/>
                        </a:lnTo>
                        <a:lnTo>
                          <a:pt x="4384" y="230"/>
                        </a:lnTo>
                        <a:lnTo>
                          <a:pt x="4380" y="222"/>
                        </a:lnTo>
                        <a:lnTo>
                          <a:pt x="4375" y="211"/>
                        </a:lnTo>
                        <a:lnTo>
                          <a:pt x="4371" y="203"/>
                        </a:lnTo>
                        <a:lnTo>
                          <a:pt x="4367" y="201"/>
                        </a:lnTo>
                        <a:lnTo>
                          <a:pt x="4359" y="190"/>
                        </a:lnTo>
                        <a:lnTo>
                          <a:pt x="4346" y="180"/>
                        </a:lnTo>
                        <a:lnTo>
                          <a:pt x="4334" y="167"/>
                        </a:lnTo>
                        <a:lnTo>
                          <a:pt x="4325" y="163"/>
                        </a:lnTo>
                        <a:lnTo>
                          <a:pt x="4319" y="163"/>
                        </a:lnTo>
                        <a:lnTo>
                          <a:pt x="4317" y="168"/>
                        </a:lnTo>
                        <a:lnTo>
                          <a:pt x="4315" y="184"/>
                        </a:lnTo>
                        <a:lnTo>
                          <a:pt x="4319" y="207"/>
                        </a:lnTo>
                        <a:lnTo>
                          <a:pt x="4338" y="253"/>
                        </a:lnTo>
                        <a:lnTo>
                          <a:pt x="4334" y="251"/>
                        </a:lnTo>
                        <a:lnTo>
                          <a:pt x="4327" y="241"/>
                        </a:lnTo>
                        <a:lnTo>
                          <a:pt x="4315" y="209"/>
                        </a:lnTo>
                        <a:lnTo>
                          <a:pt x="4311" y="207"/>
                        </a:lnTo>
                        <a:lnTo>
                          <a:pt x="4309" y="209"/>
                        </a:lnTo>
                        <a:lnTo>
                          <a:pt x="4304" y="228"/>
                        </a:lnTo>
                        <a:lnTo>
                          <a:pt x="4296" y="236"/>
                        </a:lnTo>
                        <a:lnTo>
                          <a:pt x="4286" y="245"/>
                        </a:lnTo>
                        <a:lnTo>
                          <a:pt x="4279" y="249"/>
                        </a:lnTo>
                        <a:lnTo>
                          <a:pt x="4271" y="261"/>
                        </a:lnTo>
                        <a:lnTo>
                          <a:pt x="4269" y="268"/>
                        </a:lnTo>
                        <a:lnTo>
                          <a:pt x="4261" y="280"/>
                        </a:lnTo>
                        <a:lnTo>
                          <a:pt x="4244" y="291"/>
                        </a:lnTo>
                        <a:lnTo>
                          <a:pt x="4240" y="301"/>
                        </a:lnTo>
                        <a:lnTo>
                          <a:pt x="4233" y="309"/>
                        </a:lnTo>
                        <a:lnTo>
                          <a:pt x="4227" y="328"/>
                        </a:lnTo>
                        <a:lnTo>
                          <a:pt x="4219" y="341"/>
                        </a:lnTo>
                        <a:lnTo>
                          <a:pt x="4206" y="357"/>
                        </a:lnTo>
                        <a:lnTo>
                          <a:pt x="4196" y="378"/>
                        </a:lnTo>
                        <a:lnTo>
                          <a:pt x="4189" y="393"/>
                        </a:lnTo>
                        <a:lnTo>
                          <a:pt x="4185" y="395"/>
                        </a:lnTo>
                        <a:lnTo>
                          <a:pt x="4183" y="395"/>
                        </a:lnTo>
                        <a:lnTo>
                          <a:pt x="4181" y="391"/>
                        </a:lnTo>
                        <a:lnTo>
                          <a:pt x="4179" y="393"/>
                        </a:lnTo>
                        <a:lnTo>
                          <a:pt x="4171" y="399"/>
                        </a:lnTo>
                        <a:lnTo>
                          <a:pt x="4169" y="404"/>
                        </a:lnTo>
                        <a:lnTo>
                          <a:pt x="4162" y="406"/>
                        </a:lnTo>
                        <a:lnTo>
                          <a:pt x="4162" y="418"/>
                        </a:lnTo>
                        <a:lnTo>
                          <a:pt x="4164" y="426"/>
                        </a:lnTo>
                        <a:lnTo>
                          <a:pt x="4164" y="429"/>
                        </a:lnTo>
                        <a:lnTo>
                          <a:pt x="4156" y="449"/>
                        </a:lnTo>
                        <a:lnTo>
                          <a:pt x="4154" y="458"/>
                        </a:lnTo>
                        <a:lnTo>
                          <a:pt x="4150" y="464"/>
                        </a:lnTo>
                        <a:lnTo>
                          <a:pt x="4144" y="468"/>
                        </a:lnTo>
                        <a:lnTo>
                          <a:pt x="4141" y="479"/>
                        </a:lnTo>
                        <a:lnTo>
                          <a:pt x="4133" y="489"/>
                        </a:lnTo>
                        <a:lnTo>
                          <a:pt x="4131" y="502"/>
                        </a:lnTo>
                        <a:lnTo>
                          <a:pt x="4125" y="510"/>
                        </a:lnTo>
                        <a:lnTo>
                          <a:pt x="4123" y="514"/>
                        </a:lnTo>
                        <a:lnTo>
                          <a:pt x="4123" y="522"/>
                        </a:lnTo>
                        <a:lnTo>
                          <a:pt x="4121" y="525"/>
                        </a:lnTo>
                        <a:lnTo>
                          <a:pt x="4119" y="535"/>
                        </a:lnTo>
                        <a:lnTo>
                          <a:pt x="4116" y="539"/>
                        </a:lnTo>
                        <a:lnTo>
                          <a:pt x="4110" y="543"/>
                        </a:lnTo>
                        <a:lnTo>
                          <a:pt x="4110" y="548"/>
                        </a:lnTo>
                        <a:lnTo>
                          <a:pt x="4104" y="554"/>
                        </a:lnTo>
                        <a:lnTo>
                          <a:pt x="4102" y="558"/>
                        </a:lnTo>
                        <a:lnTo>
                          <a:pt x="4096" y="564"/>
                        </a:lnTo>
                        <a:lnTo>
                          <a:pt x="4075" y="577"/>
                        </a:lnTo>
                        <a:lnTo>
                          <a:pt x="4062" y="581"/>
                        </a:lnTo>
                        <a:lnTo>
                          <a:pt x="4056" y="589"/>
                        </a:lnTo>
                        <a:lnTo>
                          <a:pt x="4054" y="596"/>
                        </a:lnTo>
                        <a:lnTo>
                          <a:pt x="4045" y="600"/>
                        </a:lnTo>
                        <a:lnTo>
                          <a:pt x="4033" y="600"/>
                        </a:lnTo>
                        <a:lnTo>
                          <a:pt x="4012" y="593"/>
                        </a:lnTo>
                        <a:lnTo>
                          <a:pt x="3991" y="594"/>
                        </a:lnTo>
                        <a:lnTo>
                          <a:pt x="3989" y="587"/>
                        </a:lnTo>
                        <a:lnTo>
                          <a:pt x="3989" y="581"/>
                        </a:lnTo>
                        <a:lnTo>
                          <a:pt x="3972" y="570"/>
                        </a:lnTo>
                        <a:lnTo>
                          <a:pt x="3960" y="573"/>
                        </a:lnTo>
                        <a:lnTo>
                          <a:pt x="3960" y="575"/>
                        </a:lnTo>
                        <a:lnTo>
                          <a:pt x="3945" y="579"/>
                        </a:lnTo>
                        <a:lnTo>
                          <a:pt x="3935" y="585"/>
                        </a:lnTo>
                        <a:lnTo>
                          <a:pt x="3930" y="585"/>
                        </a:lnTo>
                        <a:lnTo>
                          <a:pt x="3899" y="577"/>
                        </a:lnTo>
                        <a:lnTo>
                          <a:pt x="3891" y="564"/>
                        </a:lnTo>
                        <a:lnTo>
                          <a:pt x="3885" y="564"/>
                        </a:lnTo>
                        <a:lnTo>
                          <a:pt x="3878" y="568"/>
                        </a:lnTo>
                        <a:lnTo>
                          <a:pt x="3876" y="573"/>
                        </a:lnTo>
                        <a:lnTo>
                          <a:pt x="3868" y="577"/>
                        </a:lnTo>
                        <a:lnTo>
                          <a:pt x="3860" y="577"/>
                        </a:lnTo>
                        <a:lnTo>
                          <a:pt x="3857" y="581"/>
                        </a:lnTo>
                        <a:lnTo>
                          <a:pt x="3855" y="585"/>
                        </a:lnTo>
                        <a:lnTo>
                          <a:pt x="3853" y="591"/>
                        </a:lnTo>
                        <a:lnTo>
                          <a:pt x="3847" y="593"/>
                        </a:lnTo>
                        <a:lnTo>
                          <a:pt x="3826" y="596"/>
                        </a:lnTo>
                        <a:lnTo>
                          <a:pt x="3826" y="598"/>
                        </a:lnTo>
                        <a:lnTo>
                          <a:pt x="3824" y="604"/>
                        </a:lnTo>
                        <a:lnTo>
                          <a:pt x="3816" y="610"/>
                        </a:lnTo>
                        <a:lnTo>
                          <a:pt x="3807" y="602"/>
                        </a:lnTo>
                        <a:lnTo>
                          <a:pt x="3801" y="600"/>
                        </a:lnTo>
                        <a:lnTo>
                          <a:pt x="3797" y="600"/>
                        </a:lnTo>
                        <a:lnTo>
                          <a:pt x="3786" y="606"/>
                        </a:lnTo>
                        <a:lnTo>
                          <a:pt x="3780" y="606"/>
                        </a:lnTo>
                        <a:lnTo>
                          <a:pt x="3774" y="604"/>
                        </a:lnTo>
                        <a:lnTo>
                          <a:pt x="3768" y="596"/>
                        </a:lnTo>
                        <a:lnTo>
                          <a:pt x="3759" y="593"/>
                        </a:lnTo>
                        <a:lnTo>
                          <a:pt x="3753" y="591"/>
                        </a:lnTo>
                        <a:lnTo>
                          <a:pt x="3747" y="589"/>
                        </a:lnTo>
                        <a:lnTo>
                          <a:pt x="3743" y="585"/>
                        </a:lnTo>
                        <a:lnTo>
                          <a:pt x="3738" y="579"/>
                        </a:lnTo>
                        <a:lnTo>
                          <a:pt x="3736" y="571"/>
                        </a:lnTo>
                        <a:lnTo>
                          <a:pt x="3730" y="568"/>
                        </a:lnTo>
                        <a:lnTo>
                          <a:pt x="3718" y="570"/>
                        </a:lnTo>
                        <a:lnTo>
                          <a:pt x="3709" y="571"/>
                        </a:lnTo>
                        <a:lnTo>
                          <a:pt x="3707" y="570"/>
                        </a:lnTo>
                        <a:lnTo>
                          <a:pt x="3703" y="566"/>
                        </a:lnTo>
                        <a:lnTo>
                          <a:pt x="3703" y="560"/>
                        </a:lnTo>
                        <a:lnTo>
                          <a:pt x="3707" y="554"/>
                        </a:lnTo>
                        <a:lnTo>
                          <a:pt x="3707" y="548"/>
                        </a:lnTo>
                        <a:lnTo>
                          <a:pt x="3703" y="541"/>
                        </a:lnTo>
                        <a:lnTo>
                          <a:pt x="3699" y="541"/>
                        </a:lnTo>
                        <a:lnTo>
                          <a:pt x="3697" y="541"/>
                        </a:lnTo>
                        <a:lnTo>
                          <a:pt x="3686" y="552"/>
                        </a:lnTo>
                        <a:lnTo>
                          <a:pt x="3682" y="552"/>
                        </a:lnTo>
                        <a:lnTo>
                          <a:pt x="3674" y="550"/>
                        </a:lnTo>
                        <a:lnTo>
                          <a:pt x="3674" y="550"/>
                        </a:lnTo>
                        <a:lnTo>
                          <a:pt x="3678" y="556"/>
                        </a:lnTo>
                        <a:lnTo>
                          <a:pt x="3674" y="550"/>
                        </a:lnTo>
                        <a:lnTo>
                          <a:pt x="3672" y="550"/>
                        </a:lnTo>
                        <a:lnTo>
                          <a:pt x="3661" y="535"/>
                        </a:lnTo>
                        <a:lnTo>
                          <a:pt x="3653" y="516"/>
                        </a:lnTo>
                        <a:lnTo>
                          <a:pt x="3642" y="520"/>
                        </a:lnTo>
                        <a:lnTo>
                          <a:pt x="3642" y="522"/>
                        </a:lnTo>
                        <a:lnTo>
                          <a:pt x="3638" y="523"/>
                        </a:lnTo>
                        <a:lnTo>
                          <a:pt x="3638" y="525"/>
                        </a:lnTo>
                        <a:lnTo>
                          <a:pt x="3624" y="525"/>
                        </a:lnTo>
                        <a:lnTo>
                          <a:pt x="3617" y="529"/>
                        </a:lnTo>
                        <a:lnTo>
                          <a:pt x="3607" y="537"/>
                        </a:lnTo>
                        <a:lnTo>
                          <a:pt x="3603" y="539"/>
                        </a:lnTo>
                        <a:lnTo>
                          <a:pt x="3588" y="537"/>
                        </a:lnTo>
                        <a:lnTo>
                          <a:pt x="3582" y="543"/>
                        </a:lnTo>
                        <a:lnTo>
                          <a:pt x="3584" y="545"/>
                        </a:lnTo>
                        <a:lnTo>
                          <a:pt x="3578" y="554"/>
                        </a:lnTo>
                        <a:lnTo>
                          <a:pt x="3561" y="550"/>
                        </a:lnTo>
                        <a:lnTo>
                          <a:pt x="3559" y="550"/>
                        </a:lnTo>
                        <a:lnTo>
                          <a:pt x="3550" y="550"/>
                        </a:lnTo>
                        <a:lnTo>
                          <a:pt x="3540" y="552"/>
                        </a:lnTo>
                        <a:lnTo>
                          <a:pt x="3528" y="550"/>
                        </a:lnTo>
                        <a:lnTo>
                          <a:pt x="3521" y="552"/>
                        </a:lnTo>
                        <a:lnTo>
                          <a:pt x="3509" y="558"/>
                        </a:lnTo>
                        <a:lnTo>
                          <a:pt x="3505" y="556"/>
                        </a:lnTo>
                        <a:lnTo>
                          <a:pt x="3494" y="546"/>
                        </a:lnTo>
                        <a:lnTo>
                          <a:pt x="3484" y="545"/>
                        </a:lnTo>
                        <a:lnTo>
                          <a:pt x="3473" y="539"/>
                        </a:lnTo>
                        <a:lnTo>
                          <a:pt x="3467" y="537"/>
                        </a:lnTo>
                        <a:lnTo>
                          <a:pt x="3459" y="537"/>
                        </a:lnTo>
                        <a:lnTo>
                          <a:pt x="3454" y="541"/>
                        </a:lnTo>
                        <a:lnTo>
                          <a:pt x="3456" y="554"/>
                        </a:lnTo>
                        <a:lnTo>
                          <a:pt x="3454" y="558"/>
                        </a:lnTo>
                        <a:lnTo>
                          <a:pt x="3444" y="570"/>
                        </a:lnTo>
                        <a:lnTo>
                          <a:pt x="3438" y="570"/>
                        </a:lnTo>
                        <a:lnTo>
                          <a:pt x="3433" y="573"/>
                        </a:lnTo>
                        <a:lnTo>
                          <a:pt x="3431" y="583"/>
                        </a:lnTo>
                        <a:lnTo>
                          <a:pt x="3438" y="591"/>
                        </a:lnTo>
                        <a:lnTo>
                          <a:pt x="3442" y="591"/>
                        </a:lnTo>
                        <a:lnTo>
                          <a:pt x="3448" y="602"/>
                        </a:lnTo>
                        <a:lnTo>
                          <a:pt x="3454" y="604"/>
                        </a:lnTo>
                        <a:lnTo>
                          <a:pt x="3457" y="614"/>
                        </a:lnTo>
                        <a:lnTo>
                          <a:pt x="3467" y="617"/>
                        </a:lnTo>
                        <a:lnTo>
                          <a:pt x="3471" y="631"/>
                        </a:lnTo>
                        <a:lnTo>
                          <a:pt x="3467" y="654"/>
                        </a:lnTo>
                        <a:lnTo>
                          <a:pt x="3463" y="660"/>
                        </a:lnTo>
                        <a:lnTo>
                          <a:pt x="3459" y="662"/>
                        </a:lnTo>
                        <a:lnTo>
                          <a:pt x="3442" y="664"/>
                        </a:lnTo>
                        <a:lnTo>
                          <a:pt x="3434" y="662"/>
                        </a:lnTo>
                        <a:lnTo>
                          <a:pt x="3421" y="654"/>
                        </a:lnTo>
                        <a:lnTo>
                          <a:pt x="3404" y="652"/>
                        </a:lnTo>
                        <a:lnTo>
                          <a:pt x="3398" y="650"/>
                        </a:lnTo>
                        <a:lnTo>
                          <a:pt x="3390" y="644"/>
                        </a:lnTo>
                        <a:lnTo>
                          <a:pt x="3383" y="642"/>
                        </a:lnTo>
                        <a:lnTo>
                          <a:pt x="3373" y="642"/>
                        </a:lnTo>
                        <a:lnTo>
                          <a:pt x="3369" y="644"/>
                        </a:lnTo>
                        <a:lnTo>
                          <a:pt x="3360" y="644"/>
                        </a:lnTo>
                        <a:lnTo>
                          <a:pt x="3356" y="648"/>
                        </a:lnTo>
                        <a:lnTo>
                          <a:pt x="3350" y="650"/>
                        </a:lnTo>
                        <a:lnTo>
                          <a:pt x="3333" y="648"/>
                        </a:lnTo>
                        <a:lnTo>
                          <a:pt x="3325" y="650"/>
                        </a:lnTo>
                        <a:lnTo>
                          <a:pt x="3306" y="662"/>
                        </a:lnTo>
                        <a:lnTo>
                          <a:pt x="3296" y="660"/>
                        </a:lnTo>
                        <a:lnTo>
                          <a:pt x="3291" y="660"/>
                        </a:lnTo>
                        <a:lnTo>
                          <a:pt x="3285" y="660"/>
                        </a:lnTo>
                        <a:lnTo>
                          <a:pt x="3279" y="654"/>
                        </a:lnTo>
                        <a:lnTo>
                          <a:pt x="3271" y="652"/>
                        </a:lnTo>
                        <a:lnTo>
                          <a:pt x="3256" y="650"/>
                        </a:lnTo>
                        <a:lnTo>
                          <a:pt x="3256" y="652"/>
                        </a:lnTo>
                        <a:lnTo>
                          <a:pt x="3248" y="642"/>
                        </a:lnTo>
                        <a:lnTo>
                          <a:pt x="3248" y="639"/>
                        </a:lnTo>
                        <a:lnTo>
                          <a:pt x="3241" y="633"/>
                        </a:lnTo>
                        <a:lnTo>
                          <a:pt x="3231" y="635"/>
                        </a:lnTo>
                        <a:lnTo>
                          <a:pt x="3223" y="641"/>
                        </a:lnTo>
                        <a:lnTo>
                          <a:pt x="3210" y="642"/>
                        </a:lnTo>
                        <a:lnTo>
                          <a:pt x="3202" y="639"/>
                        </a:lnTo>
                        <a:lnTo>
                          <a:pt x="3195" y="642"/>
                        </a:lnTo>
                        <a:lnTo>
                          <a:pt x="3189" y="648"/>
                        </a:lnTo>
                        <a:lnTo>
                          <a:pt x="3181" y="652"/>
                        </a:lnTo>
                        <a:lnTo>
                          <a:pt x="3175" y="669"/>
                        </a:lnTo>
                        <a:lnTo>
                          <a:pt x="3175" y="671"/>
                        </a:lnTo>
                        <a:lnTo>
                          <a:pt x="3150" y="692"/>
                        </a:lnTo>
                        <a:lnTo>
                          <a:pt x="3139" y="696"/>
                        </a:lnTo>
                        <a:lnTo>
                          <a:pt x="3133" y="696"/>
                        </a:lnTo>
                        <a:lnTo>
                          <a:pt x="3118" y="688"/>
                        </a:lnTo>
                        <a:lnTo>
                          <a:pt x="3110" y="690"/>
                        </a:lnTo>
                        <a:lnTo>
                          <a:pt x="3106" y="692"/>
                        </a:lnTo>
                        <a:lnTo>
                          <a:pt x="3101" y="692"/>
                        </a:lnTo>
                        <a:lnTo>
                          <a:pt x="3101" y="694"/>
                        </a:lnTo>
                        <a:lnTo>
                          <a:pt x="3081" y="702"/>
                        </a:lnTo>
                        <a:lnTo>
                          <a:pt x="3078" y="700"/>
                        </a:lnTo>
                        <a:lnTo>
                          <a:pt x="3078" y="702"/>
                        </a:lnTo>
                        <a:lnTo>
                          <a:pt x="3070" y="708"/>
                        </a:lnTo>
                        <a:lnTo>
                          <a:pt x="3070" y="723"/>
                        </a:lnTo>
                        <a:lnTo>
                          <a:pt x="3070" y="729"/>
                        </a:lnTo>
                        <a:lnTo>
                          <a:pt x="3068" y="731"/>
                        </a:lnTo>
                        <a:lnTo>
                          <a:pt x="3062" y="731"/>
                        </a:lnTo>
                        <a:lnTo>
                          <a:pt x="3058" y="729"/>
                        </a:lnTo>
                        <a:lnTo>
                          <a:pt x="3045" y="727"/>
                        </a:lnTo>
                        <a:lnTo>
                          <a:pt x="3033" y="719"/>
                        </a:lnTo>
                        <a:lnTo>
                          <a:pt x="3018" y="719"/>
                        </a:lnTo>
                        <a:lnTo>
                          <a:pt x="3008" y="713"/>
                        </a:lnTo>
                        <a:lnTo>
                          <a:pt x="3001" y="713"/>
                        </a:lnTo>
                        <a:lnTo>
                          <a:pt x="2997" y="717"/>
                        </a:lnTo>
                        <a:lnTo>
                          <a:pt x="2995" y="719"/>
                        </a:lnTo>
                        <a:lnTo>
                          <a:pt x="2997" y="729"/>
                        </a:lnTo>
                        <a:lnTo>
                          <a:pt x="2995" y="733"/>
                        </a:lnTo>
                        <a:lnTo>
                          <a:pt x="2989" y="738"/>
                        </a:lnTo>
                        <a:lnTo>
                          <a:pt x="2984" y="740"/>
                        </a:lnTo>
                        <a:lnTo>
                          <a:pt x="2976" y="735"/>
                        </a:lnTo>
                        <a:lnTo>
                          <a:pt x="2974" y="735"/>
                        </a:lnTo>
                        <a:lnTo>
                          <a:pt x="2970" y="733"/>
                        </a:lnTo>
                        <a:lnTo>
                          <a:pt x="2962" y="735"/>
                        </a:lnTo>
                        <a:lnTo>
                          <a:pt x="2964" y="742"/>
                        </a:lnTo>
                        <a:lnTo>
                          <a:pt x="2974" y="752"/>
                        </a:lnTo>
                        <a:lnTo>
                          <a:pt x="2974" y="756"/>
                        </a:lnTo>
                        <a:lnTo>
                          <a:pt x="2974" y="763"/>
                        </a:lnTo>
                        <a:lnTo>
                          <a:pt x="2966" y="775"/>
                        </a:lnTo>
                        <a:lnTo>
                          <a:pt x="2960" y="775"/>
                        </a:lnTo>
                        <a:lnTo>
                          <a:pt x="2953" y="771"/>
                        </a:lnTo>
                        <a:lnTo>
                          <a:pt x="2932" y="773"/>
                        </a:lnTo>
                        <a:lnTo>
                          <a:pt x="2926" y="784"/>
                        </a:lnTo>
                        <a:lnTo>
                          <a:pt x="2920" y="788"/>
                        </a:lnTo>
                        <a:lnTo>
                          <a:pt x="2914" y="790"/>
                        </a:lnTo>
                        <a:lnTo>
                          <a:pt x="2907" y="790"/>
                        </a:lnTo>
                        <a:lnTo>
                          <a:pt x="2895" y="786"/>
                        </a:lnTo>
                        <a:lnTo>
                          <a:pt x="2893" y="784"/>
                        </a:lnTo>
                        <a:lnTo>
                          <a:pt x="2893" y="784"/>
                        </a:lnTo>
                        <a:lnTo>
                          <a:pt x="2893" y="784"/>
                        </a:lnTo>
                        <a:lnTo>
                          <a:pt x="2893" y="784"/>
                        </a:lnTo>
                        <a:lnTo>
                          <a:pt x="2891" y="773"/>
                        </a:lnTo>
                        <a:lnTo>
                          <a:pt x="2886" y="767"/>
                        </a:lnTo>
                        <a:lnTo>
                          <a:pt x="2872" y="761"/>
                        </a:lnTo>
                        <a:lnTo>
                          <a:pt x="2872" y="763"/>
                        </a:lnTo>
                        <a:lnTo>
                          <a:pt x="2866" y="765"/>
                        </a:lnTo>
                        <a:lnTo>
                          <a:pt x="2855" y="765"/>
                        </a:lnTo>
                        <a:lnTo>
                          <a:pt x="2853" y="763"/>
                        </a:lnTo>
                        <a:lnTo>
                          <a:pt x="2843" y="758"/>
                        </a:lnTo>
                        <a:lnTo>
                          <a:pt x="2830" y="756"/>
                        </a:lnTo>
                        <a:lnTo>
                          <a:pt x="2820" y="752"/>
                        </a:lnTo>
                        <a:lnTo>
                          <a:pt x="2817" y="746"/>
                        </a:lnTo>
                        <a:lnTo>
                          <a:pt x="2815" y="740"/>
                        </a:lnTo>
                        <a:lnTo>
                          <a:pt x="2813" y="738"/>
                        </a:lnTo>
                        <a:lnTo>
                          <a:pt x="2813" y="735"/>
                        </a:lnTo>
                        <a:lnTo>
                          <a:pt x="2795" y="727"/>
                        </a:lnTo>
                        <a:lnTo>
                          <a:pt x="2794" y="717"/>
                        </a:lnTo>
                        <a:lnTo>
                          <a:pt x="2786" y="708"/>
                        </a:lnTo>
                        <a:lnTo>
                          <a:pt x="2782" y="704"/>
                        </a:lnTo>
                        <a:lnTo>
                          <a:pt x="2780" y="704"/>
                        </a:lnTo>
                        <a:lnTo>
                          <a:pt x="2774" y="696"/>
                        </a:lnTo>
                        <a:lnTo>
                          <a:pt x="2771" y="692"/>
                        </a:lnTo>
                        <a:lnTo>
                          <a:pt x="2751" y="688"/>
                        </a:lnTo>
                        <a:lnTo>
                          <a:pt x="2747" y="685"/>
                        </a:lnTo>
                        <a:lnTo>
                          <a:pt x="2747" y="681"/>
                        </a:lnTo>
                        <a:lnTo>
                          <a:pt x="2746" y="671"/>
                        </a:lnTo>
                        <a:lnTo>
                          <a:pt x="2740" y="664"/>
                        </a:lnTo>
                        <a:lnTo>
                          <a:pt x="2732" y="656"/>
                        </a:lnTo>
                        <a:lnTo>
                          <a:pt x="2728" y="648"/>
                        </a:lnTo>
                        <a:lnTo>
                          <a:pt x="2736" y="612"/>
                        </a:lnTo>
                        <a:lnTo>
                          <a:pt x="2734" y="591"/>
                        </a:lnTo>
                        <a:lnTo>
                          <a:pt x="2734" y="577"/>
                        </a:lnTo>
                        <a:lnTo>
                          <a:pt x="2732" y="573"/>
                        </a:lnTo>
                        <a:lnTo>
                          <a:pt x="2721" y="573"/>
                        </a:lnTo>
                        <a:lnTo>
                          <a:pt x="2717" y="564"/>
                        </a:lnTo>
                        <a:lnTo>
                          <a:pt x="2709" y="564"/>
                        </a:lnTo>
                        <a:lnTo>
                          <a:pt x="2701" y="560"/>
                        </a:lnTo>
                        <a:lnTo>
                          <a:pt x="2700" y="554"/>
                        </a:lnTo>
                        <a:lnTo>
                          <a:pt x="2703" y="545"/>
                        </a:lnTo>
                        <a:lnTo>
                          <a:pt x="2701" y="533"/>
                        </a:lnTo>
                        <a:lnTo>
                          <a:pt x="2694" y="522"/>
                        </a:lnTo>
                        <a:lnTo>
                          <a:pt x="2686" y="502"/>
                        </a:lnTo>
                        <a:lnTo>
                          <a:pt x="2684" y="487"/>
                        </a:lnTo>
                        <a:lnTo>
                          <a:pt x="2686" y="481"/>
                        </a:lnTo>
                        <a:lnTo>
                          <a:pt x="2694" y="426"/>
                        </a:lnTo>
                        <a:lnTo>
                          <a:pt x="2696" y="420"/>
                        </a:lnTo>
                        <a:lnTo>
                          <a:pt x="2701" y="414"/>
                        </a:lnTo>
                        <a:lnTo>
                          <a:pt x="2705" y="401"/>
                        </a:lnTo>
                        <a:lnTo>
                          <a:pt x="2721" y="370"/>
                        </a:lnTo>
                        <a:lnTo>
                          <a:pt x="2721" y="351"/>
                        </a:lnTo>
                        <a:lnTo>
                          <a:pt x="2713" y="337"/>
                        </a:lnTo>
                        <a:lnTo>
                          <a:pt x="2711" y="330"/>
                        </a:lnTo>
                        <a:lnTo>
                          <a:pt x="2713" y="328"/>
                        </a:lnTo>
                        <a:lnTo>
                          <a:pt x="2723" y="322"/>
                        </a:lnTo>
                        <a:lnTo>
                          <a:pt x="2732" y="310"/>
                        </a:lnTo>
                        <a:lnTo>
                          <a:pt x="2732" y="307"/>
                        </a:lnTo>
                        <a:lnTo>
                          <a:pt x="2744" y="301"/>
                        </a:lnTo>
                        <a:lnTo>
                          <a:pt x="2747" y="299"/>
                        </a:lnTo>
                        <a:lnTo>
                          <a:pt x="2747" y="293"/>
                        </a:lnTo>
                        <a:lnTo>
                          <a:pt x="2751" y="286"/>
                        </a:lnTo>
                        <a:lnTo>
                          <a:pt x="2765" y="276"/>
                        </a:lnTo>
                        <a:lnTo>
                          <a:pt x="2767" y="262"/>
                        </a:lnTo>
                        <a:lnTo>
                          <a:pt x="2774" y="253"/>
                        </a:lnTo>
                        <a:lnTo>
                          <a:pt x="2776" y="249"/>
                        </a:lnTo>
                        <a:lnTo>
                          <a:pt x="2769" y="243"/>
                        </a:lnTo>
                        <a:lnTo>
                          <a:pt x="2763" y="234"/>
                        </a:lnTo>
                        <a:lnTo>
                          <a:pt x="2757" y="230"/>
                        </a:lnTo>
                        <a:lnTo>
                          <a:pt x="2753" y="224"/>
                        </a:lnTo>
                        <a:lnTo>
                          <a:pt x="2751" y="215"/>
                        </a:lnTo>
                        <a:lnTo>
                          <a:pt x="2747" y="211"/>
                        </a:lnTo>
                        <a:lnTo>
                          <a:pt x="2742" y="209"/>
                        </a:lnTo>
                        <a:lnTo>
                          <a:pt x="2736" y="201"/>
                        </a:lnTo>
                        <a:lnTo>
                          <a:pt x="2736" y="195"/>
                        </a:lnTo>
                        <a:lnTo>
                          <a:pt x="2744" y="182"/>
                        </a:lnTo>
                        <a:lnTo>
                          <a:pt x="2746" y="176"/>
                        </a:lnTo>
                        <a:lnTo>
                          <a:pt x="2742" y="172"/>
                        </a:lnTo>
                        <a:lnTo>
                          <a:pt x="2728" y="163"/>
                        </a:lnTo>
                        <a:lnTo>
                          <a:pt x="2724" y="159"/>
                        </a:lnTo>
                        <a:lnTo>
                          <a:pt x="2717" y="161"/>
                        </a:lnTo>
                        <a:lnTo>
                          <a:pt x="2709" y="157"/>
                        </a:lnTo>
                        <a:lnTo>
                          <a:pt x="2701" y="157"/>
                        </a:lnTo>
                        <a:lnTo>
                          <a:pt x="2680" y="147"/>
                        </a:lnTo>
                        <a:lnTo>
                          <a:pt x="2673" y="145"/>
                        </a:lnTo>
                        <a:lnTo>
                          <a:pt x="2665" y="142"/>
                        </a:lnTo>
                        <a:lnTo>
                          <a:pt x="2655" y="142"/>
                        </a:lnTo>
                        <a:lnTo>
                          <a:pt x="2655" y="140"/>
                        </a:lnTo>
                        <a:lnTo>
                          <a:pt x="2661" y="130"/>
                        </a:lnTo>
                        <a:lnTo>
                          <a:pt x="2669" y="124"/>
                        </a:lnTo>
                        <a:lnTo>
                          <a:pt x="2675" y="117"/>
                        </a:lnTo>
                        <a:lnTo>
                          <a:pt x="2678" y="109"/>
                        </a:lnTo>
                        <a:lnTo>
                          <a:pt x="2678" y="86"/>
                        </a:lnTo>
                        <a:lnTo>
                          <a:pt x="2680" y="73"/>
                        </a:lnTo>
                        <a:lnTo>
                          <a:pt x="2678" y="63"/>
                        </a:lnTo>
                        <a:lnTo>
                          <a:pt x="2680" y="36"/>
                        </a:lnTo>
                        <a:lnTo>
                          <a:pt x="2678" y="28"/>
                        </a:lnTo>
                        <a:lnTo>
                          <a:pt x="2667" y="19"/>
                        </a:lnTo>
                        <a:lnTo>
                          <a:pt x="2665" y="13"/>
                        </a:lnTo>
                        <a:lnTo>
                          <a:pt x="2663" y="2"/>
                        </a:lnTo>
                        <a:lnTo>
                          <a:pt x="2657" y="3"/>
                        </a:lnTo>
                        <a:lnTo>
                          <a:pt x="2655" y="2"/>
                        </a:lnTo>
                        <a:lnTo>
                          <a:pt x="2652" y="0"/>
                        </a:lnTo>
                        <a:lnTo>
                          <a:pt x="2636" y="7"/>
                        </a:lnTo>
                        <a:lnTo>
                          <a:pt x="2619" y="13"/>
                        </a:lnTo>
                        <a:lnTo>
                          <a:pt x="2592" y="13"/>
                        </a:lnTo>
                        <a:lnTo>
                          <a:pt x="2575" y="17"/>
                        </a:lnTo>
                        <a:lnTo>
                          <a:pt x="2556" y="11"/>
                        </a:lnTo>
                        <a:lnTo>
                          <a:pt x="2548" y="13"/>
                        </a:lnTo>
                        <a:lnTo>
                          <a:pt x="2546" y="13"/>
                        </a:lnTo>
                        <a:lnTo>
                          <a:pt x="2563" y="32"/>
                        </a:lnTo>
                        <a:lnTo>
                          <a:pt x="2563" y="34"/>
                        </a:lnTo>
                        <a:lnTo>
                          <a:pt x="2559" y="36"/>
                        </a:lnTo>
                        <a:lnTo>
                          <a:pt x="2559" y="38"/>
                        </a:lnTo>
                        <a:lnTo>
                          <a:pt x="2561" y="44"/>
                        </a:lnTo>
                        <a:lnTo>
                          <a:pt x="2567" y="48"/>
                        </a:lnTo>
                        <a:lnTo>
                          <a:pt x="2571" y="53"/>
                        </a:lnTo>
                        <a:lnTo>
                          <a:pt x="2567" y="65"/>
                        </a:lnTo>
                        <a:lnTo>
                          <a:pt x="2561" y="73"/>
                        </a:lnTo>
                        <a:lnTo>
                          <a:pt x="2558" y="80"/>
                        </a:lnTo>
                        <a:lnTo>
                          <a:pt x="2552" y="90"/>
                        </a:lnTo>
                        <a:lnTo>
                          <a:pt x="2542" y="97"/>
                        </a:lnTo>
                        <a:lnTo>
                          <a:pt x="2511" y="107"/>
                        </a:lnTo>
                        <a:lnTo>
                          <a:pt x="2502" y="122"/>
                        </a:lnTo>
                        <a:lnTo>
                          <a:pt x="2498" y="134"/>
                        </a:lnTo>
                        <a:lnTo>
                          <a:pt x="2492" y="140"/>
                        </a:lnTo>
                        <a:lnTo>
                          <a:pt x="2483" y="142"/>
                        </a:lnTo>
                        <a:lnTo>
                          <a:pt x="2473" y="144"/>
                        </a:lnTo>
                        <a:lnTo>
                          <a:pt x="2465" y="145"/>
                        </a:lnTo>
                        <a:lnTo>
                          <a:pt x="2460" y="149"/>
                        </a:lnTo>
                        <a:lnTo>
                          <a:pt x="2442" y="144"/>
                        </a:lnTo>
                        <a:lnTo>
                          <a:pt x="2435" y="138"/>
                        </a:lnTo>
                        <a:lnTo>
                          <a:pt x="2435" y="140"/>
                        </a:lnTo>
                        <a:lnTo>
                          <a:pt x="2431" y="140"/>
                        </a:lnTo>
                        <a:lnTo>
                          <a:pt x="2429" y="144"/>
                        </a:lnTo>
                        <a:lnTo>
                          <a:pt x="2433" y="147"/>
                        </a:lnTo>
                        <a:lnTo>
                          <a:pt x="2435" y="153"/>
                        </a:lnTo>
                        <a:lnTo>
                          <a:pt x="2429" y="155"/>
                        </a:lnTo>
                        <a:lnTo>
                          <a:pt x="2425" y="161"/>
                        </a:lnTo>
                        <a:lnTo>
                          <a:pt x="2421" y="163"/>
                        </a:lnTo>
                        <a:lnTo>
                          <a:pt x="2412" y="161"/>
                        </a:lnTo>
                        <a:lnTo>
                          <a:pt x="2402" y="159"/>
                        </a:lnTo>
                        <a:lnTo>
                          <a:pt x="2400" y="157"/>
                        </a:lnTo>
                        <a:lnTo>
                          <a:pt x="2391" y="167"/>
                        </a:lnTo>
                        <a:lnTo>
                          <a:pt x="2392" y="168"/>
                        </a:lnTo>
                        <a:lnTo>
                          <a:pt x="2391" y="172"/>
                        </a:lnTo>
                        <a:lnTo>
                          <a:pt x="2391" y="184"/>
                        </a:lnTo>
                        <a:lnTo>
                          <a:pt x="2389" y="188"/>
                        </a:lnTo>
                        <a:lnTo>
                          <a:pt x="2377" y="197"/>
                        </a:lnTo>
                        <a:lnTo>
                          <a:pt x="2369" y="197"/>
                        </a:lnTo>
                        <a:lnTo>
                          <a:pt x="2360" y="190"/>
                        </a:lnTo>
                        <a:lnTo>
                          <a:pt x="2350" y="193"/>
                        </a:lnTo>
                        <a:lnTo>
                          <a:pt x="2345" y="191"/>
                        </a:lnTo>
                        <a:lnTo>
                          <a:pt x="2341" y="193"/>
                        </a:lnTo>
                        <a:lnTo>
                          <a:pt x="2333" y="203"/>
                        </a:lnTo>
                        <a:lnTo>
                          <a:pt x="2333" y="205"/>
                        </a:lnTo>
                        <a:lnTo>
                          <a:pt x="2329" y="209"/>
                        </a:lnTo>
                        <a:lnTo>
                          <a:pt x="2320" y="211"/>
                        </a:lnTo>
                        <a:lnTo>
                          <a:pt x="2314" y="216"/>
                        </a:lnTo>
                        <a:lnTo>
                          <a:pt x="2300" y="211"/>
                        </a:lnTo>
                        <a:lnTo>
                          <a:pt x="2285" y="213"/>
                        </a:lnTo>
                        <a:lnTo>
                          <a:pt x="2279" y="216"/>
                        </a:lnTo>
                        <a:lnTo>
                          <a:pt x="2274" y="224"/>
                        </a:lnTo>
                        <a:lnTo>
                          <a:pt x="2268" y="226"/>
                        </a:lnTo>
                        <a:lnTo>
                          <a:pt x="2268" y="228"/>
                        </a:lnTo>
                        <a:lnTo>
                          <a:pt x="2260" y="220"/>
                        </a:lnTo>
                        <a:lnTo>
                          <a:pt x="2258" y="222"/>
                        </a:lnTo>
                        <a:lnTo>
                          <a:pt x="2245" y="216"/>
                        </a:lnTo>
                        <a:lnTo>
                          <a:pt x="2239" y="216"/>
                        </a:lnTo>
                        <a:lnTo>
                          <a:pt x="2231" y="215"/>
                        </a:lnTo>
                        <a:lnTo>
                          <a:pt x="2222" y="205"/>
                        </a:lnTo>
                        <a:lnTo>
                          <a:pt x="2214" y="203"/>
                        </a:lnTo>
                        <a:lnTo>
                          <a:pt x="2210" y="205"/>
                        </a:lnTo>
                        <a:lnTo>
                          <a:pt x="2204" y="213"/>
                        </a:lnTo>
                        <a:lnTo>
                          <a:pt x="2195" y="216"/>
                        </a:lnTo>
                        <a:lnTo>
                          <a:pt x="2191" y="224"/>
                        </a:lnTo>
                        <a:lnTo>
                          <a:pt x="2193" y="232"/>
                        </a:lnTo>
                        <a:lnTo>
                          <a:pt x="2189" y="238"/>
                        </a:lnTo>
                        <a:lnTo>
                          <a:pt x="2183" y="238"/>
                        </a:lnTo>
                        <a:lnTo>
                          <a:pt x="2174" y="234"/>
                        </a:lnTo>
                        <a:lnTo>
                          <a:pt x="2162" y="234"/>
                        </a:lnTo>
                        <a:lnTo>
                          <a:pt x="2153" y="234"/>
                        </a:lnTo>
                        <a:lnTo>
                          <a:pt x="2147" y="238"/>
                        </a:lnTo>
                        <a:lnTo>
                          <a:pt x="2147" y="245"/>
                        </a:lnTo>
                        <a:lnTo>
                          <a:pt x="2151" y="253"/>
                        </a:lnTo>
                        <a:lnTo>
                          <a:pt x="2147" y="264"/>
                        </a:lnTo>
                        <a:lnTo>
                          <a:pt x="2149" y="268"/>
                        </a:lnTo>
                        <a:lnTo>
                          <a:pt x="2151" y="266"/>
                        </a:lnTo>
                        <a:lnTo>
                          <a:pt x="2153" y="280"/>
                        </a:lnTo>
                        <a:lnTo>
                          <a:pt x="2155" y="287"/>
                        </a:lnTo>
                        <a:lnTo>
                          <a:pt x="2155" y="297"/>
                        </a:lnTo>
                        <a:lnTo>
                          <a:pt x="2153" y="301"/>
                        </a:lnTo>
                        <a:lnTo>
                          <a:pt x="2149" y="303"/>
                        </a:lnTo>
                        <a:lnTo>
                          <a:pt x="2143" y="301"/>
                        </a:lnTo>
                        <a:lnTo>
                          <a:pt x="2137" y="293"/>
                        </a:lnTo>
                        <a:lnTo>
                          <a:pt x="2133" y="295"/>
                        </a:lnTo>
                        <a:lnTo>
                          <a:pt x="2128" y="301"/>
                        </a:lnTo>
                        <a:lnTo>
                          <a:pt x="2120" y="305"/>
                        </a:lnTo>
                        <a:lnTo>
                          <a:pt x="2114" y="318"/>
                        </a:lnTo>
                        <a:lnTo>
                          <a:pt x="2110" y="318"/>
                        </a:lnTo>
                        <a:lnTo>
                          <a:pt x="2101" y="316"/>
                        </a:lnTo>
                        <a:lnTo>
                          <a:pt x="2097" y="310"/>
                        </a:lnTo>
                        <a:lnTo>
                          <a:pt x="2091" y="305"/>
                        </a:lnTo>
                        <a:lnTo>
                          <a:pt x="2087" y="293"/>
                        </a:lnTo>
                        <a:lnTo>
                          <a:pt x="2084" y="284"/>
                        </a:lnTo>
                        <a:lnTo>
                          <a:pt x="2082" y="284"/>
                        </a:lnTo>
                        <a:lnTo>
                          <a:pt x="2074" y="276"/>
                        </a:lnTo>
                        <a:lnTo>
                          <a:pt x="2059" y="276"/>
                        </a:lnTo>
                        <a:lnTo>
                          <a:pt x="2057" y="272"/>
                        </a:lnTo>
                        <a:lnTo>
                          <a:pt x="2057" y="270"/>
                        </a:lnTo>
                        <a:lnTo>
                          <a:pt x="2059" y="262"/>
                        </a:lnTo>
                        <a:lnTo>
                          <a:pt x="2062" y="257"/>
                        </a:lnTo>
                        <a:lnTo>
                          <a:pt x="2061" y="251"/>
                        </a:lnTo>
                        <a:lnTo>
                          <a:pt x="2059" y="249"/>
                        </a:lnTo>
                        <a:lnTo>
                          <a:pt x="2034" y="245"/>
                        </a:lnTo>
                        <a:lnTo>
                          <a:pt x="2020" y="245"/>
                        </a:lnTo>
                        <a:lnTo>
                          <a:pt x="2013" y="247"/>
                        </a:lnTo>
                        <a:lnTo>
                          <a:pt x="2014" y="249"/>
                        </a:lnTo>
                        <a:lnTo>
                          <a:pt x="2022" y="253"/>
                        </a:lnTo>
                        <a:lnTo>
                          <a:pt x="2024" y="259"/>
                        </a:lnTo>
                        <a:lnTo>
                          <a:pt x="2018" y="266"/>
                        </a:lnTo>
                        <a:lnTo>
                          <a:pt x="2009" y="266"/>
                        </a:lnTo>
                        <a:lnTo>
                          <a:pt x="2007" y="268"/>
                        </a:lnTo>
                        <a:lnTo>
                          <a:pt x="2007" y="272"/>
                        </a:lnTo>
                        <a:lnTo>
                          <a:pt x="2007" y="274"/>
                        </a:lnTo>
                        <a:lnTo>
                          <a:pt x="2005" y="274"/>
                        </a:lnTo>
                        <a:lnTo>
                          <a:pt x="1988" y="261"/>
                        </a:lnTo>
                        <a:lnTo>
                          <a:pt x="1986" y="257"/>
                        </a:lnTo>
                        <a:lnTo>
                          <a:pt x="1978" y="251"/>
                        </a:lnTo>
                        <a:lnTo>
                          <a:pt x="1955" y="255"/>
                        </a:lnTo>
                        <a:lnTo>
                          <a:pt x="1947" y="253"/>
                        </a:lnTo>
                        <a:lnTo>
                          <a:pt x="1942" y="249"/>
                        </a:lnTo>
                        <a:lnTo>
                          <a:pt x="1936" y="249"/>
                        </a:lnTo>
                        <a:lnTo>
                          <a:pt x="1926" y="253"/>
                        </a:lnTo>
                        <a:lnTo>
                          <a:pt x="1926" y="255"/>
                        </a:lnTo>
                        <a:lnTo>
                          <a:pt x="1919" y="261"/>
                        </a:lnTo>
                        <a:lnTo>
                          <a:pt x="1913" y="266"/>
                        </a:lnTo>
                        <a:lnTo>
                          <a:pt x="1901" y="262"/>
                        </a:lnTo>
                        <a:lnTo>
                          <a:pt x="1895" y="247"/>
                        </a:lnTo>
                        <a:lnTo>
                          <a:pt x="1890" y="239"/>
                        </a:lnTo>
                        <a:lnTo>
                          <a:pt x="1882" y="220"/>
                        </a:lnTo>
                        <a:lnTo>
                          <a:pt x="1874" y="216"/>
                        </a:lnTo>
                        <a:lnTo>
                          <a:pt x="1853" y="213"/>
                        </a:lnTo>
                        <a:lnTo>
                          <a:pt x="1826" y="213"/>
                        </a:lnTo>
                        <a:lnTo>
                          <a:pt x="1805" y="218"/>
                        </a:lnTo>
                        <a:lnTo>
                          <a:pt x="1801" y="218"/>
                        </a:lnTo>
                        <a:lnTo>
                          <a:pt x="1792" y="215"/>
                        </a:lnTo>
                        <a:lnTo>
                          <a:pt x="1780" y="199"/>
                        </a:lnTo>
                        <a:lnTo>
                          <a:pt x="1775" y="193"/>
                        </a:lnTo>
                        <a:lnTo>
                          <a:pt x="1767" y="190"/>
                        </a:lnTo>
                        <a:lnTo>
                          <a:pt x="1761" y="180"/>
                        </a:lnTo>
                        <a:lnTo>
                          <a:pt x="1750" y="178"/>
                        </a:lnTo>
                        <a:lnTo>
                          <a:pt x="1748" y="180"/>
                        </a:lnTo>
                        <a:lnTo>
                          <a:pt x="1744" y="184"/>
                        </a:lnTo>
                        <a:lnTo>
                          <a:pt x="1744" y="190"/>
                        </a:lnTo>
                        <a:lnTo>
                          <a:pt x="1750" y="201"/>
                        </a:lnTo>
                        <a:lnTo>
                          <a:pt x="1777" y="236"/>
                        </a:lnTo>
                        <a:lnTo>
                          <a:pt x="1790" y="243"/>
                        </a:lnTo>
                        <a:lnTo>
                          <a:pt x="1790" y="245"/>
                        </a:lnTo>
                        <a:lnTo>
                          <a:pt x="1801" y="259"/>
                        </a:lnTo>
                        <a:lnTo>
                          <a:pt x="1807" y="268"/>
                        </a:lnTo>
                        <a:lnTo>
                          <a:pt x="1811" y="276"/>
                        </a:lnTo>
                        <a:lnTo>
                          <a:pt x="1813" y="274"/>
                        </a:lnTo>
                        <a:lnTo>
                          <a:pt x="1823" y="280"/>
                        </a:lnTo>
                        <a:lnTo>
                          <a:pt x="1830" y="282"/>
                        </a:lnTo>
                        <a:lnTo>
                          <a:pt x="1849" y="291"/>
                        </a:lnTo>
                        <a:lnTo>
                          <a:pt x="1857" y="297"/>
                        </a:lnTo>
                        <a:lnTo>
                          <a:pt x="1855" y="301"/>
                        </a:lnTo>
                        <a:lnTo>
                          <a:pt x="1857" y="303"/>
                        </a:lnTo>
                        <a:lnTo>
                          <a:pt x="1863" y="312"/>
                        </a:lnTo>
                        <a:lnTo>
                          <a:pt x="1871" y="318"/>
                        </a:lnTo>
                        <a:lnTo>
                          <a:pt x="1874" y="324"/>
                        </a:lnTo>
                        <a:lnTo>
                          <a:pt x="1874" y="328"/>
                        </a:lnTo>
                        <a:lnTo>
                          <a:pt x="1872" y="333"/>
                        </a:lnTo>
                        <a:lnTo>
                          <a:pt x="1867" y="341"/>
                        </a:lnTo>
                        <a:lnTo>
                          <a:pt x="1865" y="349"/>
                        </a:lnTo>
                        <a:lnTo>
                          <a:pt x="1863" y="360"/>
                        </a:lnTo>
                        <a:lnTo>
                          <a:pt x="1865" y="368"/>
                        </a:lnTo>
                        <a:lnTo>
                          <a:pt x="1867" y="378"/>
                        </a:lnTo>
                        <a:lnTo>
                          <a:pt x="1865" y="395"/>
                        </a:lnTo>
                        <a:lnTo>
                          <a:pt x="1863" y="408"/>
                        </a:lnTo>
                        <a:lnTo>
                          <a:pt x="1865" y="414"/>
                        </a:lnTo>
                        <a:lnTo>
                          <a:pt x="1880" y="428"/>
                        </a:lnTo>
                        <a:lnTo>
                          <a:pt x="1886" y="441"/>
                        </a:lnTo>
                        <a:lnTo>
                          <a:pt x="1895" y="452"/>
                        </a:lnTo>
                        <a:lnTo>
                          <a:pt x="1905" y="472"/>
                        </a:lnTo>
                        <a:lnTo>
                          <a:pt x="1907" y="483"/>
                        </a:lnTo>
                        <a:lnTo>
                          <a:pt x="1913" y="497"/>
                        </a:lnTo>
                        <a:lnTo>
                          <a:pt x="1911" y="510"/>
                        </a:lnTo>
                        <a:lnTo>
                          <a:pt x="1895" y="531"/>
                        </a:lnTo>
                        <a:lnTo>
                          <a:pt x="1897" y="533"/>
                        </a:lnTo>
                        <a:lnTo>
                          <a:pt x="1901" y="537"/>
                        </a:lnTo>
                        <a:lnTo>
                          <a:pt x="1911" y="537"/>
                        </a:lnTo>
                        <a:lnTo>
                          <a:pt x="1920" y="539"/>
                        </a:lnTo>
                        <a:lnTo>
                          <a:pt x="1947" y="543"/>
                        </a:lnTo>
                        <a:lnTo>
                          <a:pt x="1959" y="545"/>
                        </a:lnTo>
                        <a:lnTo>
                          <a:pt x="1965" y="543"/>
                        </a:lnTo>
                        <a:lnTo>
                          <a:pt x="1999" y="543"/>
                        </a:lnTo>
                        <a:lnTo>
                          <a:pt x="2009" y="548"/>
                        </a:lnTo>
                        <a:lnTo>
                          <a:pt x="2026" y="545"/>
                        </a:lnTo>
                        <a:lnTo>
                          <a:pt x="2030" y="548"/>
                        </a:lnTo>
                        <a:lnTo>
                          <a:pt x="2032" y="550"/>
                        </a:lnTo>
                        <a:lnTo>
                          <a:pt x="2032" y="560"/>
                        </a:lnTo>
                        <a:lnTo>
                          <a:pt x="2030" y="571"/>
                        </a:lnTo>
                        <a:lnTo>
                          <a:pt x="2030" y="587"/>
                        </a:lnTo>
                        <a:lnTo>
                          <a:pt x="2030" y="587"/>
                        </a:lnTo>
                        <a:lnTo>
                          <a:pt x="2022" y="600"/>
                        </a:lnTo>
                        <a:lnTo>
                          <a:pt x="2013" y="604"/>
                        </a:lnTo>
                        <a:lnTo>
                          <a:pt x="2011" y="606"/>
                        </a:lnTo>
                        <a:lnTo>
                          <a:pt x="2003" y="606"/>
                        </a:lnTo>
                        <a:lnTo>
                          <a:pt x="1993" y="606"/>
                        </a:lnTo>
                        <a:lnTo>
                          <a:pt x="1978" y="614"/>
                        </a:lnTo>
                        <a:lnTo>
                          <a:pt x="1966" y="629"/>
                        </a:lnTo>
                        <a:lnTo>
                          <a:pt x="1965" y="629"/>
                        </a:lnTo>
                        <a:lnTo>
                          <a:pt x="1957" y="627"/>
                        </a:lnTo>
                        <a:lnTo>
                          <a:pt x="1953" y="629"/>
                        </a:lnTo>
                        <a:lnTo>
                          <a:pt x="1949" y="635"/>
                        </a:lnTo>
                        <a:lnTo>
                          <a:pt x="1938" y="635"/>
                        </a:lnTo>
                        <a:lnTo>
                          <a:pt x="1936" y="637"/>
                        </a:lnTo>
                        <a:lnTo>
                          <a:pt x="1919" y="633"/>
                        </a:lnTo>
                        <a:lnTo>
                          <a:pt x="1903" y="637"/>
                        </a:lnTo>
                        <a:lnTo>
                          <a:pt x="1894" y="648"/>
                        </a:lnTo>
                        <a:lnTo>
                          <a:pt x="1894" y="669"/>
                        </a:lnTo>
                        <a:lnTo>
                          <a:pt x="1892" y="677"/>
                        </a:lnTo>
                        <a:lnTo>
                          <a:pt x="1892" y="690"/>
                        </a:lnTo>
                        <a:lnTo>
                          <a:pt x="1890" y="700"/>
                        </a:lnTo>
                        <a:lnTo>
                          <a:pt x="1886" y="706"/>
                        </a:lnTo>
                        <a:lnTo>
                          <a:pt x="1871" y="715"/>
                        </a:lnTo>
                        <a:lnTo>
                          <a:pt x="1863" y="731"/>
                        </a:lnTo>
                        <a:lnTo>
                          <a:pt x="1851" y="731"/>
                        </a:lnTo>
                        <a:lnTo>
                          <a:pt x="1849" y="735"/>
                        </a:lnTo>
                        <a:lnTo>
                          <a:pt x="1846" y="742"/>
                        </a:lnTo>
                        <a:lnTo>
                          <a:pt x="1844" y="754"/>
                        </a:lnTo>
                        <a:lnTo>
                          <a:pt x="1840" y="759"/>
                        </a:lnTo>
                        <a:lnTo>
                          <a:pt x="1836" y="759"/>
                        </a:lnTo>
                        <a:lnTo>
                          <a:pt x="1834" y="758"/>
                        </a:lnTo>
                        <a:lnTo>
                          <a:pt x="1834" y="754"/>
                        </a:lnTo>
                        <a:lnTo>
                          <a:pt x="1832" y="740"/>
                        </a:lnTo>
                        <a:lnTo>
                          <a:pt x="1834" y="735"/>
                        </a:lnTo>
                        <a:lnTo>
                          <a:pt x="1840" y="727"/>
                        </a:lnTo>
                        <a:lnTo>
                          <a:pt x="1840" y="723"/>
                        </a:lnTo>
                        <a:lnTo>
                          <a:pt x="1836" y="721"/>
                        </a:lnTo>
                        <a:lnTo>
                          <a:pt x="1826" y="723"/>
                        </a:lnTo>
                        <a:lnTo>
                          <a:pt x="1817" y="727"/>
                        </a:lnTo>
                        <a:lnTo>
                          <a:pt x="1807" y="735"/>
                        </a:lnTo>
                        <a:lnTo>
                          <a:pt x="1800" y="748"/>
                        </a:lnTo>
                        <a:lnTo>
                          <a:pt x="1796" y="756"/>
                        </a:lnTo>
                        <a:lnTo>
                          <a:pt x="1784" y="763"/>
                        </a:lnTo>
                        <a:lnTo>
                          <a:pt x="1778" y="765"/>
                        </a:lnTo>
                        <a:lnTo>
                          <a:pt x="1778" y="767"/>
                        </a:lnTo>
                        <a:lnTo>
                          <a:pt x="1761" y="779"/>
                        </a:lnTo>
                        <a:lnTo>
                          <a:pt x="1757" y="779"/>
                        </a:lnTo>
                        <a:lnTo>
                          <a:pt x="1757" y="779"/>
                        </a:lnTo>
                        <a:lnTo>
                          <a:pt x="1752" y="771"/>
                        </a:lnTo>
                        <a:lnTo>
                          <a:pt x="1746" y="771"/>
                        </a:lnTo>
                        <a:lnTo>
                          <a:pt x="1727" y="786"/>
                        </a:lnTo>
                        <a:lnTo>
                          <a:pt x="1717" y="788"/>
                        </a:lnTo>
                        <a:lnTo>
                          <a:pt x="1707" y="802"/>
                        </a:lnTo>
                        <a:lnTo>
                          <a:pt x="1704" y="804"/>
                        </a:lnTo>
                        <a:lnTo>
                          <a:pt x="1700" y="804"/>
                        </a:lnTo>
                        <a:lnTo>
                          <a:pt x="1690" y="800"/>
                        </a:lnTo>
                        <a:lnTo>
                          <a:pt x="1686" y="802"/>
                        </a:lnTo>
                        <a:lnTo>
                          <a:pt x="1681" y="807"/>
                        </a:lnTo>
                        <a:lnTo>
                          <a:pt x="1679" y="813"/>
                        </a:lnTo>
                        <a:lnTo>
                          <a:pt x="1675" y="838"/>
                        </a:lnTo>
                        <a:lnTo>
                          <a:pt x="1665" y="840"/>
                        </a:lnTo>
                        <a:lnTo>
                          <a:pt x="1658" y="838"/>
                        </a:lnTo>
                        <a:lnTo>
                          <a:pt x="1650" y="838"/>
                        </a:lnTo>
                        <a:lnTo>
                          <a:pt x="1648" y="840"/>
                        </a:lnTo>
                        <a:lnTo>
                          <a:pt x="1644" y="852"/>
                        </a:lnTo>
                        <a:lnTo>
                          <a:pt x="1635" y="855"/>
                        </a:lnTo>
                        <a:lnTo>
                          <a:pt x="1631" y="865"/>
                        </a:lnTo>
                        <a:lnTo>
                          <a:pt x="1629" y="878"/>
                        </a:lnTo>
                        <a:lnTo>
                          <a:pt x="1623" y="886"/>
                        </a:lnTo>
                        <a:lnTo>
                          <a:pt x="1608" y="890"/>
                        </a:lnTo>
                        <a:lnTo>
                          <a:pt x="1598" y="888"/>
                        </a:lnTo>
                        <a:lnTo>
                          <a:pt x="1598" y="886"/>
                        </a:lnTo>
                        <a:lnTo>
                          <a:pt x="1596" y="880"/>
                        </a:lnTo>
                        <a:lnTo>
                          <a:pt x="1598" y="871"/>
                        </a:lnTo>
                        <a:lnTo>
                          <a:pt x="1602" y="865"/>
                        </a:lnTo>
                        <a:lnTo>
                          <a:pt x="1602" y="861"/>
                        </a:lnTo>
                        <a:lnTo>
                          <a:pt x="1610" y="854"/>
                        </a:lnTo>
                        <a:lnTo>
                          <a:pt x="1611" y="846"/>
                        </a:lnTo>
                        <a:lnTo>
                          <a:pt x="1610" y="836"/>
                        </a:lnTo>
                        <a:lnTo>
                          <a:pt x="1604" y="830"/>
                        </a:lnTo>
                        <a:lnTo>
                          <a:pt x="1588" y="827"/>
                        </a:lnTo>
                        <a:lnTo>
                          <a:pt x="1583" y="827"/>
                        </a:lnTo>
                        <a:lnTo>
                          <a:pt x="1550" y="834"/>
                        </a:lnTo>
                        <a:lnTo>
                          <a:pt x="1542" y="838"/>
                        </a:lnTo>
                        <a:lnTo>
                          <a:pt x="1539" y="840"/>
                        </a:lnTo>
                        <a:lnTo>
                          <a:pt x="1529" y="854"/>
                        </a:lnTo>
                        <a:lnTo>
                          <a:pt x="1506" y="869"/>
                        </a:lnTo>
                        <a:lnTo>
                          <a:pt x="1496" y="873"/>
                        </a:lnTo>
                        <a:lnTo>
                          <a:pt x="1489" y="873"/>
                        </a:lnTo>
                        <a:lnTo>
                          <a:pt x="1477" y="869"/>
                        </a:lnTo>
                        <a:lnTo>
                          <a:pt x="1471" y="869"/>
                        </a:lnTo>
                        <a:lnTo>
                          <a:pt x="1464" y="873"/>
                        </a:lnTo>
                        <a:lnTo>
                          <a:pt x="1456" y="873"/>
                        </a:lnTo>
                        <a:lnTo>
                          <a:pt x="1431" y="850"/>
                        </a:lnTo>
                        <a:lnTo>
                          <a:pt x="1429" y="848"/>
                        </a:lnTo>
                        <a:lnTo>
                          <a:pt x="1410" y="829"/>
                        </a:lnTo>
                        <a:lnTo>
                          <a:pt x="1408" y="829"/>
                        </a:lnTo>
                        <a:lnTo>
                          <a:pt x="1402" y="825"/>
                        </a:lnTo>
                        <a:lnTo>
                          <a:pt x="1364" y="788"/>
                        </a:lnTo>
                        <a:lnTo>
                          <a:pt x="1351" y="779"/>
                        </a:lnTo>
                        <a:lnTo>
                          <a:pt x="1345" y="779"/>
                        </a:lnTo>
                        <a:lnTo>
                          <a:pt x="1327" y="784"/>
                        </a:lnTo>
                        <a:lnTo>
                          <a:pt x="1312" y="790"/>
                        </a:lnTo>
                        <a:lnTo>
                          <a:pt x="1308" y="786"/>
                        </a:lnTo>
                        <a:lnTo>
                          <a:pt x="1304" y="767"/>
                        </a:lnTo>
                        <a:lnTo>
                          <a:pt x="1303" y="750"/>
                        </a:lnTo>
                        <a:lnTo>
                          <a:pt x="1308" y="729"/>
                        </a:lnTo>
                        <a:lnTo>
                          <a:pt x="1308" y="715"/>
                        </a:lnTo>
                        <a:lnTo>
                          <a:pt x="1306" y="713"/>
                        </a:lnTo>
                        <a:lnTo>
                          <a:pt x="1306" y="710"/>
                        </a:lnTo>
                        <a:lnTo>
                          <a:pt x="1301" y="683"/>
                        </a:lnTo>
                        <a:lnTo>
                          <a:pt x="1297" y="671"/>
                        </a:lnTo>
                        <a:lnTo>
                          <a:pt x="1287" y="664"/>
                        </a:lnTo>
                        <a:lnTo>
                          <a:pt x="1281" y="664"/>
                        </a:lnTo>
                        <a:lnTo>
                          <a:pt x="1270" y="656"/>
                        </a:lnTo>
                        <a:lnTo>
                          <a:pt x="1262" y="639"/>
                        </a:lnTo>
                        <a:lnTo>
                          <a:pt x="1258" y="621"/>
                        </a:lnTo>
                        <a:lnTo>
                          <a:pt x="1255" y="602"/>
                        </a:lnTo>
                        <a:lnTo>
                          <a:pt x="1255" y="602"/>
                        </a:lnTo>
                        <a:lnTo>
                          <a:pt x="1251" y="589"/>
                        </a:lnTo>
                        <a:lnTo>
                          <a:pt x="1247" y="587"/>
                        </a:lnTo>
                        <a:lnTo>
                          <a:pt x="1245" y="585"/>
                        </a:lnTo>
                        <a:lnTo>
                          <a:pt x="1233" y="591"/>
                        </a:lnTo>
                        <a:lnTo>
                          <a:pt x="1232" y="589"/>
                        </a:lnTo>
                        <a:lnTo>
                          <a:pt x="1230" y="593"/>
                        </a:lnTo>
                        <a:lnTo>
                          <a:pt x="1230" y="596"/>
                        </a:lnTo>
                        <a:lnTo>
                          <a:pt x="1214" y="608"/>
                        </a:lnTo>
                        <a:lnTo>
                          <a:pt x="1199" y="629"/>
                        </a:lnTo>
                        <a:lnTo>
                          <a:pt x="1191" y="631"/>
                        </a:lnTo>
                        <a:lnTo>
                          <a:pt x="1178" y="627"/>
                        </a:lnTo>
                        <a:lnTo>
                          <a:pt x="1172" y="627"/>
                        </a:lnTo>
                        <a:lnTo>
                          <a:pt x="1168" y="631"/>
                        </a:lnTo>
                        <a:lnTo>
                          <a:pt x="1159" y="644"/>
                        </a:lnTo>
                        <a:lnTo>
                          <a:pt x="1151" y="652"/>
                        </a:lnTo>
                        <a:lnTo>
                          <a:pt x="1147" y="660"/>
                        </a:lnTo>
                        <a:lnTo>
                          <a:pt x="1138" y="665"/>
                        </a:lnTo>
                        <a:lnTo>
                          <a:pt x="1130" y="662"/>
                        </a:lnTo>
                        <a:lnTo>
                          <a:pt x="1122" y="658"/>
                        </a:lnTo>
                        <a:lnTo>
                          <a:pt x="1107" y="648"/>
                        </a:lnTo>
                        <a:lnTo>
                          <a:pt x="1103" y="642"/>
                        </a:lnTo>
                        <a:lnTo>
                          <a:pt x="1097" y="625"/>
                        </a:lnTo>
                        <a:lnTo>
                          <a:pt x="1091" y="623"/>
                        </a:lnTo>
                        <a:lnTo>
                          <a:pt x="1088" y="627"/>
                        </a:lnTo>
                        <a:lnTo>
                          <a:pt x="1086" y="629"/>
                        </a:lnTo>
                        <a:lnTo>
                          <a:pt x="1080" y="642"/>
                        </a:lnTo>
                        <a:lnTo>
                          <a:pt x="1078" y="648"/>
                        </a:lnTo>
                        <a:lnTo>
                          <a:pt x="1078" y="656"/>
                        </a:lnTo>
                        <a:lnTo>
                          <a:pt x="1084" y="662"/>
                        </a:lnTo>
                        <a:lnTo>
                          <a:pt x="1090" y="665"/>
                        </a:lnTo>
                        <a:lnTo>
                          <a:pt x="1093" y="673"/>
                        </a:lnTo>
                        <a:lnTo>
                          <a:pt x="1090" y="681"/>
                        </a:lnTo>
                        <a:lnTo>
                          <a:pt x="1074" y="681"/>
                        </a:lnTo>
                        <a:lnTo>
                          <a:pt x="1059" y="681"/>
                        </a:lnTo>
                        <a:lnTo>
                          <a:pt x="1053" y="681"/>
                        </a:lnTo>
                        <a:lnTo>
                          <a:pt x="1045" y="681"/>
                        </a:lnTo>
                        <a:lnTo>
                          <a:pt x="857" y="679"/>
                        </a:lnTo>
                        <a:lnTo>
                          <a:pt x="854" y="679"/>
                        </a:lnTo>
                        <a:lnTo>
                          <a:pt x="848" y="679"/>
                        </a:lnTo>
                        <a:lnTo>
                          <a:pt x="838" y="673"/>
                        </a:lnTo>
                        <a:lnTo>
                          <a:pt x="832" y="671"/>
                        </a:lnTo>
                        <a:lnTo>
                          <a:pt x="821" y="673"/>
                        </a:lnTo>
                        <a:lnTo>
                          <a:pt x="809" y="681"/>
                        </a:lnTo>
                        <a:lnTo>
                          <a:pt x="796" y="681"/>
                        </a:lnTo>
                        <a:lnTo>
                          <a:pt x="781" y="683"/>
                        </a:lnTo>
                        <a:lnTo>
                          <a:pt x="777" y="681"/>
                        </a:lnTo>
                        <a:lnTo>
                          <a:pt x="771" y="685"/>
                        </a:lnTo>
                        <a:lnTo>
                          <a:pt x="771" y="710"/>
                        </a:lnTo>
                        <a:lnTo>
                          <a:pt x="769" y="710"/>
                        </a:lnTo>
                        <a:lnTo>
                          <a:pt x="771" y="723"/>
                        </a:lnTo>
                        <a:lnTo>
                          <a:pt x="771" y="798"/>
                        </a:lnTo>
                        <a:lnTo>
                          <a:pt x="775" y="807"/>
                        </a:lnTo>
                        <a:lnTo>
                          <a:pt x="790" y="802"/>
                        </a:lnTo>
                        <a:lnTo>
                          <a:pt x="800" y="802"/>
                        </a:lnTo>
                        <a:lnTo>
                          <a:pt x="806" y="807"/>
                        </a:lnTo>
                        <a:lnTo>
                          <a:pt x="821" y="804"/>
                        </a:lnTo>
                        <a:lnTo>
                          <a:pt x="827" y="807"/>
                        </a:lnTo>
                        <a:lnTo>
                          <a:pt x="846" y="807"/>
                        </a:lnTo>
                        <a:lnTo>
                          <a:pt x="852" y="811"/>
                        </a:lnTo>
                        <a:lnTo>
                          <a:pt x="855" y="811"/>
                        </a:lnTo>
                        <a:lnTo>
                          <a:pt x="861" y="806"/>
                        </a:lnTo>
                        <a:lnTo>
                          <a:pt x="865" y="804"/>
                        </a:lnTo>
                        <a:lnTo>
                          <a:pt x="873" y="806"/>
                        </a:lnTo>
                        <a:lnTo>
                          <a:pt x="877" y="807"/>
                        </a:lnTo>
                        <a:lnTo>
                          <a:pt x="886" y="813"/>
                        </a:lnTo>
                        <a:lnTo>
                          <a:pt x="894" y="825"/>
                        </a:lnTo>
                        <a:lnTo>
                          <a:pt x="900" y="829"/>
                        </a:lnTo>
                        <a:lnTo>
                          <a:pt x="901" y="830"/>
                        </a:lnTo>
                        <a:lnTo>
                          <a:pt x="901" y="838"/>
                        </a:lnTo>
                        <a:lnTo>
                          <a:pt x="903" y="842"/>
                        </a:lnTo>
                        <a:lnTo>
                          <a:pt x="909" y="842"/>
                        </a:lnTo>
                        <a:lnTo>
                          <a:pt x="909" y="844"/>
                        </a:lnTo>
                        <a:lnTo>
                          <a:pt x="905" y="852"/>
                        </a:lnTo>
                        <a:lnTo>
                          <a:pt x="907" y="859"/>
                        </a:lnTo>
                        <a:lnTo>
                          <a:pt x="903" y="867"/>
                        </a:lnTo>
                        <a:lnTo>
                          <a:pt x="901" y="873"/>
                        </a:lnTo>
                        <a:lnTo>
                          <a:pt x="909" y="884"/>
                        </a:lnTo>
                        <a:lnTo>
                          <a:pt x="909" y="888"/>
                        </a:lnTo>
                        <a:lnTo>
                          <a:pt x="907" y="890"/>
                        </a:lnTo>
                        <a:lnTo>
                          <a:pt x="905" y="890"/>
                        </a:lnTo>
                        <a:lnTo>
                          <a:pt x="900" y="886"/>
                        </a:lnTo>
                        <a:lnTo>
                          <a:pt x="898" y="888"/>
                        </a:lnTo>
                        <a:lnTo>
                          <a:pt x="894" y="894"/>
                        </a:lnTo>
                        <a:lnTo>
                          <a:pt x="896" y="898"/>
                        </a:lnTo>
                        <a:lnTo>
                          <a:pt x="896" y="898"/>
                        </a:lnTo>
                        <a:lnTo>
                          <a:pt x="875" y="898"/>
                        </a:lnTo>
                        <a:lnTo>
                          <a:pt x="863" y="896"/>
                        </a:lnTo>
                        <a:lnTo>
                          <a:pt x="855" y="890"/>
                        </a:lnTo>
                        <a:lnTo>
                          <a:pt x="846" y="878"/>
                        </a:lnTo>
                        <a:lnTo>
                          <a:pt x="838" y="877"/>
                        </a:lnTo>
                        <a:lnTo>
                          <a:pt x="830" y="884"/>
                        </a:lnTo>
                        <a:lnTo>
                          <a:pt x="823" y="886"/>
                        </a:lnTo>
                        <a:lnTo>
                          <a:pt x="821" y="892"/>
                        </a:lnTo>
                        <a:lnTo>
                          <a:pt x="817" y="894"/>
                        </a:lnTo>
                        <a:lnTo>
                          <a:pt x="813" y="894"/>
                        </a:lnTo>
                        <a:lnTo>
                          <a:pt x="809" y="890"/>
                        </a:lnTo>
                        <a:lnTo>
                          <a:pt x="806" y="888"/>
                        </a:lnTo>
                        <a:lnTo>
                          <a:pt x="802" y="890"/>
                        </a:lnTo>
                        <a:lnTo>
                          <a:pt x="796" y="896"/>
                        </a:lnTo>
                        <a:lnTo>
                          <a:pt x="781" y="903"/>
                        </a:lnTo>
                        <a:lnTo>
                          <a:pt x="777" y="905"/>
                        </a:lnTo>
                        <a:lnTo>
                          <a:pt x="773" y="903"/>
                        </a:lnTo>
                        <a:lnTo>
                          <a:pt x="761" y="901"/>
                        </a:lnTo>
                        <a:lnTo>
                          <a:pt x="756" y="905"/>
                        </a:lnTo>
                        <a:lnTo>
                          <a:pt x="748" y="907"/>
                        </a:lnTo>
                        <a:lnTo>
                          <a:pt x="742" y="905"/>
                        </a:lnTo>
                        <a:lnTo>
                          <a:pt x="735" y="905"/>
                        </a:lnTo>
                        <a:lnTo>
                          <a:pt x="731" y="903"/>
                        </a:lnTo>
                        <a:lnTo>
                          <a:pt x="727" y="999"/>
                        </a:lnTo>
                        <a:lnTo>
                          <a:pt x="727" y="1011"/>
                        </a:lnTo>
                        <a:lnTo>
                          <a:pt x="725" y="1019"/>
                        </a:lnTo>
                        <a:lnTo>
                          <a:pt x="725" y="1028"/>
                        </a:lnTo>
                        <a:lnTo>
                          <a:pt x="731" y="1038"/>
                        </a:lnTo>
                        <a:lnTo>
                          <a:pt x="731" y="1055"/>
                        </a:lnTo>
                        <a:lnTo>
                          <a:pt x="740" y="1068"/>
                        </a:lnTo>
                        <a:lnTo>
                          <a:pt x="754" y="1082"/>
                        </a:lnTo>
                        <a:lnTo>
                          <a:pt x="765" y="1084"/>
                        </a:lnTo>
                        <a:lnTo>
                          <a:pt x="771" y="1088"/>
                        </a:lnTo>
                        <a:lnTo>
                          <a:pt x="781" y="1095"/>
                        </a:lnTo>
                        <a:lnTo>
                          <a:pt x="798" y="1111"/>
                        </a:lnTo>
                        <a:lnTo>
                          <a:pt x="804" y="1114"/>
                        </a:lnTo>
                        <a:lnTo>
                          <a:pt x="813" y="1126"/>
                        </a:lnTo>
                        <a:lnTo>
                          <a:pt x="819" y="1136"/>
                        </a:lnTo>
                        <a:lnTo>
                          <a:pt x="819" y="1143"/>
                        </a:lnTo>
                        <a:lnTo>
                          <a:pt x="811" y="1161"/>
                        </a:lnTo>
                        <a:lnTo>
                          <a:pt x="809" y="1166"/>
                        </a:lnTo>
                        <a:lnTo>
                          <a:pt x="813" y="1170"/>
                        </a:lnTo>
                        <a:lnTo>
                          <a:pt x="817" y="1174"/>
                        </a:lnTo>
                        <a:lnTo>
                          <a:pt x="821" y="1184"/>
                        </a:lnTo>
                        <a:lnTo>
                          <a:pt x="823" y="1184"/>
                        </a:lnTo>
                        <a:lnTo>
                          <a:pt x="827" y="1189"/>
                        </a:lnTo>
                        <a:lnTo>
                          <a:pt x="830" y="1199"/>
                        </a:lnTo>
                        <a:lnTo>
                          <a:pt x="840" y="1207"/>
                        </a:lnTo>
                        <a:lnTo>
                          <a:pt x="844" y="1212"/>
                        </a:lnTo>
                        <a:lnTo>
                          <a:pt x="848" y="1220"/>
                        </a:lnTo>
                        <a:lnTo>
                          <a:pt x="850" y="1230"/>
                        </a:lnTo>
                        <a:lnTo>
                          <a:pt x="854" y="1233"/>
                        </a:lnTo>
                        <a:lnTo>
                          <a:pt x="855" y="1235"/>
                        </a:lnTo>
                        <a:lnTo>
                          <a:pt x="855" y="1239"/>
                        </a:lnTo>
                        <a:lnTo>
                          <a:pt x="854" y="1243"/>
                        </a:lnTo>
                        <a:lnTo>
                          <a:pt x="852" y="1245"/>
                        </a:lnTo>
                        <a:lnTo>
                          <a:pt x="848" y="1251"/>
                        </a:lnTo>
                        <a:lnTo>
                          <a:pt x="848" y="1278"/>
                        </a:lnTo>
                        <a:lnTo>
                          <a:pt x="844" y="1293"/>
                        </a:lnTo>
                        <a:lnTo>
                          <a:pt x="844" y="1308"/>
                        </a:lnTo>
                        <a:lnTo>
                          <a:pt x="846" y="1318"/>
                        </a:lnTo>
                        <a:lnTo>
                          <a:pt x="850" y="1322"/>
                        </a:lnTo>
                        <a:lnTo>
                          <a:pt x="846" y="1349"/>
                        </a:lnTo>
                        <a:lnTo>
                          <a:pt x="842" y="1358"/>
                        </a:lnTo>
                        <a:lnTo>
                          <a:pt x="844" y="1362"/>
                        </a:lnTo>
                        <a:lnTo>
                          <a:pt x="830" y="1437"/>
                        </a:lnTo>
                        <a:lnTo>
                          <a:pt x="829" y="1445"/>
                        </a:lnTo>
                        <a:lnTo>
                          <a:pt x="829" y="1452"/>
                        </a:lnTo>
                        <a:lnTo>
                          <a:pt x="830" y="1454"/>
                        </a:lnTo>
                        <a:lnTo>
                          <a:pt x="823" y="1481"/>
                        </a:lnTo>
                        <a:lnTo>
                          <a:pt x="817" y="1521"/>
                        </a:lnTo>
                        <a:lnTo>
                          <a:pt x="817" y="1523"/>
                        </a:lnTo>
                        <a:lnTo>
                          <a:pt x="817" y="1533"/>
                        </a:lnTo>
                        <a:lnTo>
                          <a:pt x="815" y="1535"/>
                        </a:lnTo>
                        <a:lnTo>
                          <a:pt x="771" y="1778"/>
                        </a:lnTo>
                        <a:lnTo>
                          <a:pt x="773" y="1780"/>
                        </a:lnTo>
                        <a:lnTo>
                          <a:pt x="771" y="1788"/>
                        </a:lnTo>
                        <a:lnTo>
                          <a:pt x="761" y="1842"/>
                        </a:lnTo>
                        <a:lnTo>
                          <a:pt x="756" y="1853"/>
                        </a:lnTo>
                        <a:lnTo>
                          <a:pt x="758" y="1863"/>
                        </a:lnTo>
                        <a:lnTo>
                          <a:pt x="756" y="1880"/>
                        </a:lnTo>
                        <a:lnTo>
                          <a:pt x="750" y="1890"/>
                        </a:lnTo>
                        <a:lnTo>
                          <a:pt x="740" y="1888"/>
                        </a:lnTo>
                        <a:lnTo>
                          <a:pt x="736" y="1880"/>
                        </a:lnTo>
                        <a:lnTo>
                          <a:pt x="733" y="1876"/>
                        </a:lnTo>
                        <a:lnTo>
                          <a:pt x="721" y="1874"/>
                        </a:lnTo>
                        <a:lnTo>
                          <a:pt x="715" y="1878"/>
                        </a:lnTo>
                        <a:lnTo>
                          <a:pt x="713" y="1886"/>
                        </a:lnTo>
                        <a:lnTo>
                          <a:pt x="713" y="1892"/>
                        </a:lnTo>
                        <a:lnTo>
                          <a:pt x="712" y="1894"/>
                        </a:lnTo>
                        <a:lnTo>
                          <a:pt x="708" y="1892"/>
                        </a:lnTo>
                        <a:lnTo>
                          <a:pt x="706" y="1888"/>
                        </a:lnTo>
                        <a:lnTo>
                          <a:pt x="706" y="1880"/>
                        </a:lnTo>
                        <a:lnTo>
                          <a:pt x="702" y="1878"/>
                        </a:lnTo>
                        <a:lnTo>
                          <a:pt x="700" y="1884"/>
                        </a:lnTo>
                        <a:lnTo>
                          <a:pt x="696" y="1886"/>
                        </a:lnTo>
                        <a:lnTo>
                          <a:pt x="694" y="1884"/>
                        </a:lnTo>
                        <a:lnTo>
                          <a:pt x="694" y="1882"/>
                        </a:lnTo>
                        <a:lnTo>
                          <a:pt x="696" y="1878"/>
                        </a:lnTo>
                        <a:lnTo>
                          <a:pt x="690" y="1876"/>
                        </a:lnTo>
                        <a:lnTo>
                          <a:pt x="690" y="1869"/>
                        </a:lnTo>
                        <a:lnTo>
                          <a:pt x="692" y="1865"/>
                        </a:lnTo>
                        <a:lnTo>
                          <a:pt x="692" y="1861"/>
                        </a:lnTo>
                        <a:lnTo>
                          <a:pt x="690" y="1853"/>
                        </a:lnTo>
                        <a:lnTo>
                          <a:pt x="681" y="1853"/>
                        </a:lnTo>
                        <a:lnTo>
                          <a:pt x="679" y="1859"/>
                        </a:lnTo>
                        <a:lnTo>
                          <a:pt x="675" y="1861"/>
                        </a:lnTo>
                        <a:lnTo>
                          <a:pt x="673" y="1849"/>
                        </a:lnTo>
                        <a:lnTo>
                          <a:pt x="665" y="1847"/>
                        </a:lnTo>
                        <a:lnTo>
                          <a:pt x="658" y="1855"/>
                        </a:lnTo>
                        <a:lnTo>
                          <a:pt x="654" y="1857"/>
                        </a:lnTo>
                        <a:lnTo>
                          <a:pt x="654" y="1861"/>
                        </a:lnTo>
                        <a:lnTo>
                          <a:pt x="652" y="1863"/>
                        </a:lnTo>
                        <a:lnTo>
                          <a:pt x="648" y="1861"/>
                        </a:lnTo>
                        <a:lnTo>
                          <a:pt x="646" y="1855"/>
                        </a:lnTo>
                        <a:lnTo>
                          <a:pt x="642" y="1853"/>
                        </a:lnTo>
                        <a:lnTo>
                          <a:pt x="641" y="1853"/>
                        </a:lnTo>
                        <a:lnTo>
                          <a:pt x="639" y="1857"/>
                        </a:lnTo>
                        <a:lnTo>
                          <a:pt x="639" y="1863"/>
                        </a:lnTo>
                        <a:lnTo>
                          <a:pt x="637" y="1863"/>
                        </a:lnTo>
                        <a:lnTo>
                          <a:pt x="635" y="1863"/>
                        </a:lnTo>
                        <a:lnTo>
                          <a:pt x="631" y="1861"/>
                        </a:lnTo>
                        <a:lnTo>
                          <a:pt x="623" y="1861"/>
                        </a:lnTo>
                        <a:lnTo>
                          <a:pt x="623" y="1859"/>
                        </a:lnTo>
                        <a:lnTo>
                          <a:pt x="625" y="1853"/>
                        </a:lnTo>
                        <a:lnTo>
                          <a:pt x="623" y="1851"/>
                        </a:lnTo>
                        <a:lnTo>
                          <a:pt x="619" y="1853"/>
                        </a:lnTo>
                        <a:lnTo>
                          <a:pt x="614" y="1865"/>
                        </a:lnTo>
                        <a:lnTo>
                          <a:pt x="608" y="1865"/>
                        </a:lnTo>
                        <a:lnTo>
                          <a:pt x="598" y="1859"/>
                        </a:lnTo>
                        <a:lnTo>
                          <a:pt x="594" y="1859"/>
                        </a:lnTo>
                        <a:lnTo>
                          <a:pt x="585" y="1867"/>
                        </a:lnTo>
                        <a:lnTo>
                          <a:pt x="585" y="1871"/>
                        </a:lnTo>
                        <a:lnTo>
                          <a:pt x="583" y="1874"/>
                        </a:lnTo>
                        <a:lnTo>
                          <a:pt x="577" y="1876"/>
                        </a:lnTo>
                        <a:lnTo>
                          <a:pt x="575" y="1886"/>
                        </a:lnTo>
                        <a:lnTo>
                          <a:pt x="570" y="1892"/>
                        </a:lnTo>
                        <a:lnTo>
                          <a:pt x="564" y="1899"/>
                        </a:lnTo>
                        <a:lnTo>
                          <a:pt x="558" y="1899"/>
                        </a:lnTo>
                        <a:lnTo>
                          <a:pt x="556" y="1894"/>
                        </a:lnTo>
                        <a:lnTo>
                          <a:pt x="554" y="1894"/>
                        </a:lnTo>
                        <a:lnTo>
                          <a:pt x="550" y="1897"/>
                        </a:lnTo>
                        <a:lnTo>
                          <a:pt x="548" y="1905"/>
                        </a:lnTo>
                        <a:lnTo>
                          <a:pt x="543" y="1905"/>
                        </a:lnTo>
                        <a:lnTo>
                          <a:pt x="539" y="1903"/>
                        </a:lnTo>
                        <a:lnTo>
                          <a:pt x="533" y="1901"/>
                        </a:lnTo>
                        <a:lnTo>
                          <a:pt x="531" y="1903"/>
                        </a:lnTo>
                        <a:lnTo>
                          <a:pt x="531" y="1907"/>
                        </a:lnTo>
                        <a:lnTo>
                          <a:pt x="529" y="1909"/>
                        </a:lnTo>
                        <a:lnTo>
                          <a:pt x="527" y="1907"/>
                        </a:lnTo>
                        <a:lnTo>
                          <a:pt x="525" y="1905"/>
                        </a:lnTo>
                        <a:lnTo>
                          <a:pt x="523" y="1903"/>
                        </a:lnTo>
                        <a:lnTo>
                          <a:pt x="514" y="1909"/>
                        </a:lnTo>
                        <a:lnTo>
                          <a:pt x="512" y="1907"/>
                        </a:lnTo>
                        <a:lnTo>
                          <a:pt x="512" y="1905"/>
                        </a:lnTo>
                        <a:lnTo>
                          <a:pt x="510" y="1903"/>
                        </a:lnTo>
                        <a:lnTo>
                          <a:pt x="500" y="1899"/>
                        </a:lnTo>
                        <a:lnTo>
                          <a:pt x="500" y="1901"/>
                        </a:lnTo>
                        <a:lnTo>
                          <a:pt x="499" y="1903"/>
                        </a:lnTo>
                        <a:lnTo>
                          <a:pt x="502" y="1909"/>
                        </a:lnTo>
                        <a:lnTo>
                          <a:pt x="502" y="1911"/>
                        </a:lnTo>
                        <a:lnTo>
                          <a:pt x="499" y="1915"/>
                        </a:lnTo>
                        <a:lnTo>
                          <a:pt x="491" y="1913"/>
                        </a:lnTo>
                        <a:lnTo>
                          <a:pt x="487" y="1920"/>
                        </a:lnTo>
                        <a:lnTo>
                          <a:pt x="485" y="1922"/>
                        </a:lnTo>
                        <a:lnTo>
                          <a:pt x="481" y="1922"/>
                        </a:lnTo>
                        <a:lnTo>
                          <a:pt x="481" y="1920"/>
                        </a:lnTo>
                        <a:lnTo>
                          <a:pt x="483" y="1915"/>
                        </a:lnTo>
                        <a:lnTo>
                          <a:pt x="481" y="1913"/>
                        </a:lnTo>
                        <a:lnTo>
                          <a:pt x="477" y="1913"/>
                        </a:lnTo>
                        <a:lnTo>
                          <a:pt x="474" y="1918"/>
                        </a:lnTo>
                        <a:lnTo>
                          <a:pt x="470" y="1918"/>
                        </a:lnTo>
                        <a:lnTo>
                          <a:pt x="468" y="1915"/>
                        </a:lnTo>
                        <a:lnTo>
                          <a:pt x="466" y="1915"/>
                        </a:lnTo>
                        <a:lnTo>
                          <a:pt x="456" y="1917"/>
                        </a:lnTo>
                        <a:lnTo>
                          <a:pt x="458" y="1920"/>
                        </a:lnTo>
                        <a:lnTo>
                          <a:pt x="456" y="1922"/>
                        </a:lnTo>
                        <a:lnTo>
                          <a:pt x="445" y="1924"/>
                        </a:lnTo>
                        <a:lnTo>
                          <a:pt x="439" y="1932"/>
                        </a:lnTo>
                        <a:lnTo>
                          <a:pt x="433" y="1932"/>
                        </a:lnTo>
                        <a:lnTo>
                          <a:pt x="431" y="1928"/>
                        </a:lnTo>
                        <a:lnTo>
                          <a:pt x="435" y="1924"/>
                        </a:lnTo>
                        <a:lnTo>
                          <a:pt x="431" y="1922"/>
                        </a:lnTo>
                        <a:lnTo>
                          <a:pt x="422" y="1928"/>
                        </a:lnTo>
                        <a:lnTo>
                          <a:pt x="408" y="1926"/>
                        </a:lnTo>
                        <a:lnTo>
                          <a:pt x="383" y="1932"/>
                        </a:lnTo>
                        <a:lnTo>
                          <a:pt x="376" y="1936"/>
                        </a:lnTo>
                        <a:lnTo>
                          <a:pt x="370" y="1951"/>
                        </a:lnTo>
                        <a:lnTo>
                          <a:pt x="364" y="1953"/>
                        </a:lnTo>
                        <a:lnTo>
                          <a:pt x="358" y="1955"/>
                        </a:lnTo>
                        <a:lnTo>
                          <a:pt x="351" y="1961"/>
                        </a:lnTo>
                        <a:lnTo>
                          <a:pt x="345" y="1961"/>
                        </a:lnTo>
                        <a:lnTo>
                          <a:pt x="341" y="1966"/>
                        </a:lnTo>
                        <a:lnTo>
                          <a:pt x="341" y="1972"/>
                        </a:lnTo>
                        <a:lnTo>
                          <a:pt x="337" y="1982"/>
                        </a:lnTo>
                        <a:lnTo>
                          <a:pt x="332" y="1984"/>
                        </a:lnTo>
                        <a:lnTo>
                          <a:pt x="322" y="1984"/>
                        </a:lnTo>
                        <a:lnTo>
                          <a:pt x="314" y="1991"/>
                        </a:lnTo>
                        <a:lnTo>
                          <a:pt x="305" y="1991"/>
                        </a:lnTo>
                        <a:lnTo>
                          <a:pt x="299" y="1991"/>
                        </a:lnTo>
                        <a:lnTo>
                          <a:pt x="293" y="2005"/>
                        </a:lnTo>
                        <a:lnTo>
                          <a:pt x="282" y="2011"/>
                        </a:lnTo>
                        <a:lnTo>
                          <a:pt x="276" y="2020"/>
                        </a:lnTo>
                        <a:lnTo>
                          <a:pt x="266" y="2022"/>
                        </a:lnTo>
                        <a:lnTo>
                          <a:pt x="253" y="2032"/>
                        </a:lnTo>
                        <a:lnTo>
                          <a:pt x="249" y="2039"/>
                        </a:lnTo>
                        <a:lnTo>
                          <a:pt x="247" y="2041"/>
                        </a:lnTo>
                        <a:lnTo>
                          <a:pt x="241" y="2043"/>
                        </a:lnTo>
                        <a:lnTo>
                          <a:pt x="232" y="2045"/>
                        </a:lnTo>
                        <a:lnTo>
                          <a:pt x="222" y="2051"/>
                        </a:lnTo>
                        <a:lnTo>
                          <a:pt x="213" y="2055"/>
                        </a:lnTo>
                        <a:lnTo>
                          <a:pt x="209" y="2057"/>
                        </a:lnTo>
                        <a:lnTo>
                          <a:pt x="205" y="2062"/>
                        </a:lnTo>
                        <a:lnTo>
                          <a:pt x="201" y="2066"/>
                        </a:lnTo>
                        <a:lnTo>
                          <a:pt x="199" y="2072"/>
                        </a:lnTo>
                        <a:lnTo>
                          <a:pt x="197" y="2078"/>
                        </a:lnTo>
                        <a:lnTo>
                          <a:pt x="201" y="2087"/>
                        </a:lnTo>
                        <a:lnTo>
                          <a:pt x="201" y="2093"/>
                        </a:lnTo>
                        <a:lnTo>
                          <a:pt x="199" y="2095"/>
                        </a:lnTo>
                        <a:lnTo>
                          <a:pt x="191" y="2097"/>
                        </a:lnTo>
                        <a:lnTo>
                          <a:pt x="190" y="2101"/>
                        </a:lnTo>
                        <a:lnTo>
                          <a:pt x="191" y="2110"/>
                        </a:lnTo>
                        <a:lnTo>
                          <a:pt x="186" y="2126"/>
                        </a:lnTo>
                        <a:lnTo>
                          <a:pt x="184" y="2135"/>
                        </a:lnTo>
                        <a:lnTo>
                          <a:pt x="184" y="2162"/>
                        </a:lnTo>
                        <a:lnTo>
                          <a:pt x="182" y="2170"/>
                        </a:lnTo>
                        <a:lnTo>
                          <a:pt x="176" y="2183"/>
                        </a:lnTo>
                        <a:lnTo>
                          <a:pt x="149" y="2212"/>
                        </a:lnTo>
                        <a:lnTo>
                          <a:pt x="147" y="2235"/>
                        </a:lnTo>
                        <a:lnTo>
                          <a:pt x="142" y="2241"/>
                        </a:lnTo>
                        <a:lnTo>
                          <a:pt x="138" y="2245"/>
                        </a:lnTo>
                        <a:lnTo>
                          <a:pt x="134" y="2264"/>
                        </a:lnTo>
                        <a:lnTo>
                          <a:pt x="134" y="2268"/>
                        </a:lnTo>
                        <a:lnTo>
                          <a:pt x="149" y="2297"/>
                        </a:lnTo>
                        <a:lnTo>
                          <a:pt x="153" y="2304"/>
                        </a:lnTo>
                        <a:lnTo>
                          <a:pt x="161" y="2316"/>
                        </a:lnTo>
                        <a:lnTo>
                          <a:pt x="161" y="2321"/>
                        </a:lnTo>
                        <a:lnTo>
                          <a:pt x="161" y="2327"/>
                        </a:lnTo>
                        <a:lnTo>
                          <a:pt x="149" y="2348"/>
                        </a:lnTo>
                        <a:lnTo>
                          <a:pt x="145" y="2354"/>
                        </a:lnTo>
                        <a:lnTo>
                          <a:pt x="142" y="2356"/>
                        </a:lnTo>
                        <a:lnTo>
                          <a:pt x="130" y="2358"/>
                        </a:lnTo>
                        <a:lnTo>
                          <a:pt x="111" y="2368"/>
                        </a:lnTo>
                        <a:lnTo>
                          <a:pt x="103" y="2371"/>
                        </a:lnTo>
                        <a:lnTo>
                          <a:pt x="86" y="2379"/>
                        </a:lnTo>
                        <a:lnTo>
                          <a:pt x="78" y="2385"/>
                        </a:lnTo>
                        <a:lnTo>
                          <a:pt x="71" y="2391"/>
                        </a:lnTo>
                        <a:lnTo>
                          <a:pt x="65" y="2396"/>
                        </a:lnTo>
                        <a:lnTo>
                          <a:pt x="59" y="2408"/>
                        </a:lnTo>
                        <a:lnTo>
                          <a:pt x="51" y="2414"/>
                        </a:lnTo>
                        <a:lnTo>
                          <a:pt x="49" y="2419"/>
                        </a:lnTo>
                        <a:lnTo>
                          <a:pt x="46" y="2425"/>
                        </a:lnTo>
                        <a:lnTo>
                          <a:pt x="44" y="2429"/>
                        </a:lnTo>
                        <a:lnTo>
                          <a:pt x="42" y="2433"/>
                        </a:lnTo>
                        <a:lnTo>
                          <a:pt x="46" y="2446"/>
                        </a:lnTo>
                        <a:lnTo>
                          <a:pt x="44" y="2454"/>
                        </a:lnTo>
                        <a:lnTo>
                          <a:pt x="40" y="2458"/>
                        </a:lnTo>
                        <a:lnTo>
                          <a:pt x="38" y="2465"/>
                        </a:lnTo>
                        <a:lnTo>
                          <a:pt x="32" y="2467"/>
                        </a:lnTo>
                        <a:lnTo>
                          <a:pt x="32" y="2471"/>
                        </a:lnTo>
                        <a:lnTo>
                          <a:pt x="32" y="2471"/>
                        </a:lnTo>
                        <a:lnTo>
                          <a:pt x="32" y="2477"/>
                        </a:lnTo>
                        <a:lnTo>
                          <a:pt x="46" y="2510"/>
                        </a:lnTo>
                        <a:lnTo>
                          <a:pt x="44" y="2519"/>
                        </a:lnTo>
                        <a:lnTo>
                          <a:pt x="40" y="2521"/>
                        </a:lnTo>
                        <a:lnTo>
                          <a:pt x="32" y="2521"/>
                        </a:lnTo>
                        <a:lnTo>
                          <a:pt x="26" y="2521"/>
                        </a:lnTo>
                        <a:lnTo>
                          <a:pt x="17" y="2527"/>
                        </a:lnTo>
                        <a:lnTo>
                          <a:pt x="3" y="2525"/>
                        </a:lnTo>
                        <a:lnTo>
                          <a:pt x="2" y="2533"/>
                        </a:lnTo>
                        <a:lnTo>
                          <a:pt x="7" y="2548"/>
                        </a:lnTo>
                        <a:lnTo>
                          <a:pt x="5" y="2548"/>
                        </a:lnTo>
                        <a:lnTo>
                          <a:pt x="5" y="2554"/>
                        </a:lnTo>
                        <a:lnTo>
                          <a:pt x="0" y="2561"/>
                        </a:lnTo>
                        <a:lnTo>
                          <a:pt x="0" y="2565"/>
                        </a:lnTo>
                        <a:lnTo>
                          <a:pt x="9" y="2577"/>
                        </a:lnTo>
                        <a:lnTo>
                          <a:pt x="19" y="2582"/>
                        </a:lnTo>
                        <a:lnTo>
                          <a:pt x="21" y="2588"/>
                        </a:lnTo>
                        <a:lnTo>
                          <a:pt x="25" y="2592"/>
                        </a:lnTo>
                        <a:lnTo>
                          <a:pt x="30" y="2598"/>
                        </a:lnTo>
                        <a:lnTo>
                          <a:pt x="34" y="2602"/>
                        </a:lnTo>
                        <a:lnTo>
                          <a:pt x="40" y="2602"/>
                        </a:lnTo>
                        <a:lnTo>
                          <a:pt x="49" y="2602"/>
                        </a:lnTo>
                        <a:lnTo>
                          <a:pt x="55" y="2607"/>
                        </a:lnTo>
                        <a:lnTo>
                          <a:pt x="57" y="2613"/>
                        </a:lnTo>
                        <a:lnTo>
                          <a:pt x="57" y="2619"/>
                        </a:lnTo>
                        <a:lnTo>
                          <a:pt x="51" y="2625"/>
                        </a:lnTo>
                        <a:lnTo>
                          <a:pt x="46" y="2634"/>
                        </a:lnTo>
                        <a:lnTo>
                          <a:pt x="48" y="2640"/>
                        </a:lnTo>
                        <a:lnTo>
                          <a:pt x="49" y="2646"/>
                        </a:lnTo>
                        <a:lnTo>
                          <a:pt x="57" y="2648"/>
                        </a:lnTo>
                        <a:lnTo>
                          <a:pt x="71" y="2661"/>
                        </a:lnTo>
                        <a:lnTo>
                          <a:pt x="78" y="2678"/>
                        </a:lnTo>
                        <a:lnTo>
                          <a:pt x="80" y="2690"/>
                        </a:lnTo>
                        <a:lnTo>
                          <a:pt x="84" y="2699"/>
                        </a:lnTo>
                        <a:lnTo>
                          <a:pt x="90" y="2705"/>
                        </a:lnTo>
                        <a:lnTo>
                          <a:pt x="92" y="2717"/>
                        </a:lnTo>
                        <a:lnTo>
                          <a:pt x="96" y="2723"/>
                        </a:lnTo>
                        <a:lnTo>
                          <a:pt x="111" y="2732"/>
                        </a:lnTo>
                        <a:lnTo>
                          <a:pt x="120" y="2744"/>
                        </a:lnTo>
                        <a:lnTo>
                          <a:pt x="128" y="2746"/>
                        </a:lnTo>
                        <a:lnTo>
                          <a:pt x="132" y="2747"/>
                        </a:lnTo>
                        <a:lnTo>
                          <a:pt x="132" y="2749"/>
                        </a:lnTo>
                        <a:lnTo>
                          <a:pt x="134" y="2772"/>
                        </a:lnTo>
                        <a:lnTo>
                          <a:pt x="136" y="2774"/>
                        </a:lnTo>
                        <a:lnTo>
                          <a:pt x="144" y="2782"/>
                        </a:lnTo>
                        <a:lnTo>
                          <a:pt x="167" y="2792"/>
                        </a:lnTo>
                        <a:lnTo>
                          <a:pt x="176" y="2805"/>
                        </a:lnTo>
                        <a:lnTo>
                          <a:pt x="188" y="2820"/>
                        </a:lnTo>
                        <a:lnTo>
                          <a:pt x="207" y="2841"/>
                        </a:lnTo>
                        <a:lnTo>
                          <a:pt x="211" y="2851"/>
                        </a:lnTo>
                        <a:lnTo>
                          <a:pt x="211" y="2864"/>
                        </a:lnTo>
                        <a:lnTo>
                          <a:pt x="207" y="2882"/>
                        </a:lnTo>
                        <a:lnTo>
                          <a:pt x="203" y="2888"/>
                        </a:lnTo>
                        <a:lnTo>
                          <a:pt x="190" y="2901"/>
                        </a:lnTo>
                        <a:lnTo>
                          <a:pt x="174" y="2924"/>
                        </a:lnTo>
                        <a:lnTo>
                          <a:pt x="168" y="2932"/>
                        </a:lnTo>
                        <a:lnTo>
                          <a:pt x="168" y="2934"/>
                        </a:lnTo>
                        <a:lnTo>
                          <a:pt x="262" y="2930"/>
                        </a:lnTo>
                        <a:lnTo>
                          <a:pt x="264" y="2922"/>
                        </a:lnTo>
                        <a:lnTo>
                          <a:pt x="282" y="2935"/>
                        </a:lnTo>
                        <a:lnTo>
                          <a:pt x="295" y="2937"/>
                        </a:lnTo>
                        <a:lnTo>
                          <a:pt x="303" y="2941"/>
                        </a:lnTo>
                        <a:lnTo>
                          <a:pt x="312" y="2939"/>
                        </a:lnTo>
                        <a:lnTo>
                          <a:pt x="316" y="2937"/>
                        </a:lnTo>
                        <a:lnTo>
                          <a:pt x="322" y="2937"/>
                        </a:lnTo>
                        <a:lnTo>
                          <a:pt x="337" y="2939"/>
                        </a:lnTo>
                        <a:lnTo>
                          <a:pt x="341" y="2947"/>
                        </a:lnTo>
                        <a:lnTo>
                          <a:pt x="347" y="2941"/>
                        </a:lnTo>
                        <a:lnTo>
                          <a:pt x="351" y="2941"/>
                        </a:lnTo>
                        <a:lnTo>
                          <a:pt x="353" y="2943"/>
                        </a:lnTo>
                        <a:lnTo>
                          <a:pt x="353" y="2947"/>
                        </a:lnTo>
                        <a:lnTo>
                          <a:pt x="351" y="2955"/>
                        </a:lnTo>
                        <a:lnTo>
                          <a:pt x="353" y="2959"/>
                        </a:lnTo>
                        <a:lnTo>
                          <a:pt x="357" y="2962"/>
                        </a:lnTo>
                        <a:lnTo>
                          <a:pt x="357" y="2972"/>
                        </a:lnTo>
                        <a:lnTo>
                          <a:pt x="353" y="2978"/>
                        </a:lnTo>
                        <a:lnTo>
                          <a:pt x="355" y="2991"/>
                        </a:lnTo>
                        <a:lnTo>
                          <a:pt x="360" y="2999"/>
                        </a:lnTo>
                        <a:lnTo>
                          <a:pt x="368" y="3003"/>
                        </a:lnTo>
                        <a:lnTo>
                          <a:pt x="372" y="3012"/>
                        </a:lnTo>
                        <a:lnTo>
                          <a:pt x="372" y="3018"/>
                        </a:lnTo>
                        <a:lnTo>
                          <a:pt x="368" y="3033"/>
                        </a:lnTo>
                        <a:lnTo>
                          <a:pt x="370" y="3039"/>
                        </a:lnTo>
                        <a:lnTo>
                          <a:pt x="431" y="3037"/>
                        </a:lnTo>
                        <a:lnTo>
                          <a:pt x="433" y="3035"/>
                        </a:lnTo>
                        <a:lnTo>
                          <a:pt x="451" y="3037"/>
                        </a:lnTo>
                        <a:lnTo>
                          <a:pt x="485" y="3033"/>
                        </a:lnTo>
                        <a:lnTo>
                          <a:pt x="504" y="3033"/>
                        </a:lnTo>
                        <a:lnTo>
                          <a:pt x="518" y="3033"/>
                        </a:lnTo>
                        <a:lnTo>
                          <a:pt x="531" y="3030"/>
                        </a:lnTo>
                        <a:lnTo>
                          <a:pt x="548" y="3020"/>
                        </a:lnTo>
                        <a:lnTo>
                          <a:pt x="556" y="3012"/>
                        </a:lnTo>
                        <a:lnTo>
                          <a:pt x="564" y="2997"/>
                        </a:lnTo>
                        <a:lnTo>
                          <a:pt x="568" y="2997"/>
                        </a:lnTo>
                        <a:lnTo>
                          <a:pt x="575" y="2993"/>
                        </a:lnTo>
                        <a:lnTo>
                          <a:pt x="589" y="2991"/>
                        </a:lnTo>
                        <a:lnTo>
                          <a:pt x="594" y="2987"/>
                        </a:lnTo>
                        <a:lnTo>
                          <a:pt x="604" y="2972"/>
                        </a:lnTo>
                        <a:lnTo>
                          <a:pt x="617" y="2962"/>
                        </a:lnTo>
                        <a:lnTo>
                          <a:pt x="627" y="2951"/>
                        </a:lnTo>
                        <a:lnTo>
                          <a:pt x="637" y="2947"/>
                        </a:lnTo>
                        <a:lnTo>
                          <a:pt x="642" y="2939"/>
                        </a:lnTo>
                        <a:lnTo>
                          <a:pt x="646" y="2932"/>
                        </a:lnTo>
                        <a:lnTo>
                          <a:pt x="656" y="2926"/>
                        </a:lnTo>
                        <a:lnTo>
                          <a:pt x="662" y="2916"/>
                        </a:lnTo>
                        <a:lnTo>
                          <a:pt x="673" y="2909"/>
                        </a:lnTo>
                        <a:lnTo>
                          <a:pt x="688" y="2905"/>
                        </a:lnTo>
                        <a:lnTo>
                          <a:pt x="690" y="2903"/>
                        </a:lnTo>
                        <a:lnTo>
                          <a:pt x="690" y="2907"/>
                        </a:lnTo>
                        <a:lnTo>
                          <a:pt x="685" y="2912"/>
                        </a:lnTo>
                        <a:lnTo>
                          <a:pt x="687" y="2918"/>
                        </a:lnTo>
                        <a:lnTo>
                          <a:pt x="683" y="2924"/>
                        </a:lnTo>
                        <a:lnTo>
                          <a:pt x="681" y="2932"/>
                        </a:lnTo>
                        <a:lnTo>
                          <a:pt x="679" y="2934"/>
                        </a:lnTo>
                        <a:lnTo>
                          <a:pt x="675" y="2935"/>
                        </a:lnTo>
                        <a:lnTo>
                          <a:pt x="673" y="2939"/>
                        </a:lnTo>
                        <a:lnTo>
                          <a:pt x="673" y="2947"/>
                        </a:lnTo>
                        <a:lnTo>
                          <a:pt x="675" y="2953"/>
                        </a:lnTo>
                        <a:lnTo>
                          <a:pt x="679" y="2953"/>
                        </a:lnTo>
                        <a:lnTo>
                          <a:pt x="683" y="2959"/>
                        </a:lnTo>
                        <a:lnTo>
                          <a:pt x="685" y="2966"/>
                        </a:lnTo>
                        <a:lnTo>
                          <a:pt x="683" y="2978"/>
                        </a:lnTo>
                        <a:lnTo>
                          <a:pt x="673" y="2983"/>
                        </a:lnTo>
                        <a:lnTo>
                          <a:pt x="667" y="2987"/>
                        </a:lnTo>
                        <a:lnTo>
                          <a:pt x="669" y="3014"/>
                        </a:lnTo>
                        <a:lnTo>
                          <a:pt x="667" y="3018"/>
                        </a:lnTo>
                        <a:lnTo>
                          <a:pt x="671" y="3026"/>
                        </a:lnTo>
                        <a:lnTo>
                          <a:pt x="671" y="3028"/>
                        </a:lnTo>
                        <a:lnTo>
                          <a:pt x="681" y="3214"/>
                        </a:lnTo>
                        <a:lnTo>
                          <a:pt x="690" y="3212"/>
                        </a:lnTo>
                        <a:lnTo>
                          <a:pt x="698" y="3212"/>
                        </a:lnTo>
                        <a:lnTo>
                          <a:pt x="725" y="3233"/>
                        </a:lnTo>
                        <a:lnTo>
                          <a:pt x="733" y="3235"/>
                        </a:lnTo>
                        <a:lnTo>
                          <a:pt x="756" y="3233"/>
                        </a:lnTo>
                        <a:lnTo>
                          <a:pt x="771" y="3227"/>
                        </a:lnTo>
                        <a:lnTo>
                          <a:pt x="784" y="3219"/>
                        </a:lnTo>
                        <a:lnTo>
                          <a:pt x="788" y="3214"/>
                        </a:lnTo>
                        <a:lnTo>
                          <a:pt x="794" y="3210"/>
                        </a:lnTo>
                        <a:lnTo>
                          <a:pt x="819" y="3202"/>
                        </a:lnTo>
                        <a:lnTo>
                          <a:pt x="840" y="3202"/>
                        </a:lnTo>
                        <a:lnTo>
                          <a:pt x="854" y="3206"/>
                        </a:lnTo>
                        <a:lnTo>
                          <a:pt x="871" y="3206"/>
                        </a:lnTo>
                        <a:lnTo>
                          <a:pt x="886" y="3200"/>
                        </a:lnTo>
                        <a:lnTo>
                          <a:pt x="907" y="3198"/>
                        </a:lnTo>
                        <a:lnTo>
                          <a:pt x="928" y="3198"/>
                        </a:lnTo>
                        <a:lnTo>
                          <a:pt x="940" y="3200"/>
                        </a:lnTo>
                        <a:lnTo>
                          <a:pt x="972" y="3202"/>
                        </a:lnTo>
                        <a:lnTo>
                          <a:pt x="980" y="3198"/>
                        </a:lnTo>
                        <a:lnTo>
                          <a:pt x="984" y="3198"/>
                        </a:lnTo>
                        <a:lnTo>
                          <a:pt x="1017" y="3206"/>
                        </a:lnTo>
                        <a:lnTo>
                          <a:pt x="1026" y="3202"/>
                        </a:lnTo>
                        <a:lnTo>
                          <a:pt x="1040" y="3214"/>
                        </a:lnTo>
                        <a:lnTo>
                          <a:pt x="1042" y="3223"/>
                        </a:lnTo>
                        <a:lnTo>
                          <a:pt x="1045" y="3227"/>
                        </a:lnTo>
                        <a:lnTo>
                          <a:pt x="1053" y="3229"/>
                        </a:lnTo>
                        <a:lnTo>
                          <a:pt x="1070" y="3225"/>
                        </a:lnTo>
                        <a:lnTo>
                          <a:pt x="1080" y="3219"/>
                        </a:lnTo>
                        <a:lnTo>
                          <a:pt x="1084" y="3219"/>
                        </a:lnTo>
                        <a:lnTo>
                          <a:pt x="1090" y="3214"/>
                        </a:lnTo>
                        <a:lnTo>
                          <a:pt x="1095" y="3212"/>
                        </a:lnTo>
                        <a:lnTo>
                          <a:pt x="1113" y="3208"/>
                        </a:lnTo>
                        <a:lnTo>
                          <a:pt x="1118" y="3202"/>
                        </a:lnTo>
                        <a:lnTo>
                          <a:pt x="1132" y="3196"/>
                        </a:lnTo>
                        <a:lnTo>
                          <a:pt x="1136" y="3191"/>
                        </a:lnTo>
                        <a:lnTo>
                          <a:pt x="1143" y="3175"/>
                        </a:lnTo>
                        <a:lnTo>
                          <a:pt x="1151" y="3166"/>
                        </a:lnTo>
                        <a:lnTo>
                          <a:pt x="1155" y="3154"/>
                        </a:lnTo>
                        <a:lnTo>
                          <a:pt x="1162" y="3148"/>
                        </a:lnTo>
                        <a:lnTo>
                          <a:pt x="1166" y="3139"/>
                        </a:lnTo>
                        <a:lnTo>
                          <a:pt x="1185" y="3129"/>
                        </a:lnTo>
                        <a:lnTo>
                          <a:pt x="1191" y="3129"/>
                        </a:lnTo>
                        <a:lnTo>
                          <a:pt x="1205" y="3127"/>
                        </a:lnTo>
                        <a:lnTo>
                          <a:pt x="1220" y="3129"/>
                        </a:lnTo>
                        <a:lnTo>
                          <a:pt x="1228" y="3131"/>
                        </a:lnTo>
                        <a:lnTo>
                          <a:pt x="1233" y="3131"/>
                        </a:lnTo>
                        <a:lnTo>
                          <a:pt x="1239" y="3127"/>
                        </a:lnTo>
                        <a:lnTo>
                          <a:pt x="1243" y="3124"/>
                        </a:lnTo>
                        <a:lnTo>
                          <a:pt x="1256" y="3112"/>
                        </a:lnTo>
                        <a:lnTo>
                          <a:pt x="1266" y="3095"/>
                        </a:lnTo>
                        <a:lnTo>
                          <a:pt x="1280" y="3083"/>
                        </a:lnTo>
                        <a:lnTo>
                          <a:pt x="1285" y="3072"/>
                        </a:lnTo>
                        <a:lnTo>
                          <a:pt x="1291" y="3070"/>
                        </a:lnTo>
                        <a:lnTo>
                          <a:pt x="1301" y="3070"/>
                        </a:lnTo>
                        <a:lnTo>
                          <a:pt x="1308" y="3062"/>
                        </a:lnTo>
                        <a:lnTo>
                          <a:pt x="1316" y="3058"/>
                        </a:lnTo>
                        <a:lnTo>
                          <a:pt x="1322" y="3056"/>
                        </a:lnTo>
                        <a:lnTo>
                          <a:pt x="1327" y="3060"/>
                        </a:lnTo>
                        <a:lnTo>
                          <a:pt x="1364" y="3043"/>
                        </a:lnTo>
                        <a:lnTo>
                          <a:pt x="1379" y="3018"/>
                        </a:lnTo>
                        <a:lnTo>
                          <a:pt x="1400" y="3001"/>
                        </a:lnTo>
                        <a:lnTo>
                          <a:pt x="1431" y="2978"/>
                        </a:lnTo>
                        <a:lnTo>
                          <a:pt x="1433" y="2976"/>
                        </a:lnTo>
                        <a:lnTo>
                          <a:pt x="1433" y="2976"/>
                        </a:lnTo>
                        <a:lnTo>
                          <a:pt x="1433" y="2976"/>
                        </a:lnTo>
                        <a:lnTo>
                          <a:pt x="1445" y="2966"/>
                        </a:lnTo>
                        <a:lnTo>
                          <a:pt x="1454" y="2962"/>
                        </a:lnTo>
                        <a:lnTo>
                          <a:pt x="1466" y="2964"/>
                        </a:lnTo>
                        <a:lnTo>
                          <a:pt x="1479" y="2960"/>
                        </a:lnTo>
                        <a:lnTo>
                          <a:pt x="1489" y="2955"/>
                        </a:lnTo>
                        <a:lnTo>
                          <a:pt x="1502" y="2953"/>
                        </a:lnTo>
                        <a:lnTo>
                          <a:pt x="1510" y="2949"/>
                        </a:lnTo>
                        <a:lnTo>
                          <a:pt x="1531" y="2943"/>
                        </a:lnTo>
                        <a:lnTo>
                          <a:pt x="1539" y="2941"/>
                        </a:lnTo>
                        <a:lnTo>
                          <a:pt x="1540" y="2943"/>
                        </a:lnTo>
                        <a:lnTo>
                          <a:pt x="1552" y="2945"/>
                        </a:lnTo>
                        <a:lnTo>
                          <a:pt x="1554" y="2943"/>
                        </a:lnTo>
                        <a:lnTo>
                          <a:pt x="1554" y="2939"/>
                        </a:lnTo>
                        <a:lnTo>
                          <a:pt x="1558" y="2937"/>
                        </a:lnTo>
                        <a:lnTo>
                          <a:pt x="1573" y="2935"/>
                        </a:lnTo>
                        <a:lnTo>
                          <a:pt x="1575" y="2939"/>
                        </a:lnTo>
                        <a:lnTo>
                          <a:pt x="1581" y="2937"/>
                        </a:lnTo>
                        <a:lnTo>
                          <a:pt x="1583" y="2935"/>
                        </a:lnTo>
                        <a:lnTo>
                          <a:pt x="1588" y="2935"/>
                        </a:lnTo>
                        <a:lnTo>
                          <a:pt x="1590" y="2932"/>
                        </a:lnTo>
                        <a:lnTo>
                          <a:pt x="1594" y="2932"/>
                        </a:lnTo>
                        <a:lnTo>
                          <a:pt x="1598" y="2935"/>
                        </a:lnTo>
                        <a:lnTo>
                          <a:pt x="1606" y="2935"/>
                        </a:lnTo>
                        <a:lnTo>
                          <a:pt x="1606" y="2939"/>
                        </a:lnTo>
                        <a:lnTo>
                          <a:pt x="1608" y="2943"/>
                        </a:lnTo>
                        <a:lnTo>
                          <a:pt x="1610" y="2941"/>
                        </a:lnTo>
                        <a:lnTo>
                          <a:pt x="1611" y="2939"/>
                        </a:lnTo>
                        <a:lnTo>
                          <a:pt x="1613" y="2937"/>
                        </a:lnTo>
                        <a:lnTo>
                          <a:pt x="1617" y="2939"/>
                        </a:lnTo>
                        <a:lnTo>
                          <a:pt x="1621" y="2945"/>
                        </a:lnTo>
                        <a:lnTo>
                          <a:pt x="1635" y="2939"/>
                        </a:lnTo>
                        <a:lnTo>
                          <a:pt x="1640" y="2930"/>
                        </a:lnTo>
                        <a:lnTo>
                          <a:pt x="1652" y="2916"/>
                        </a:lnTo>
                        <a:lnTo>
                          <a:pt x="1658" y="2916"/>
                        </a:lnTo>
                        <a:lnTo>
                          <a:pt x="1667" y="2924"/>
                        </a:lnTo>
                        <a:lnTo>
                          <a:pt x="1677" y="2935"/>
                        </a:lnTo>
                        <a:lnTo>
                          <a:pt x="1681" y="2943"/>
                        </a:lnTo>
                        <a:lnTo>
                          <a:pt x="1677" y="2974"/>
                        </a:lnTo>
                        <a:lnTo>
                          <a:pt x="1677" y="2978"/>
                        </a:lnTo>
                        <a:lnTo>
                          <a:pt x="1686" y="3014"/>
                        </a:lnTo>
                        <a:lnTo>
                          <a:pt x="1686" y="3024"/>
                        </a:lnTo>
                        <a:lnTo>
                          <a:pt x="1679" y="3043"/>
                        </a:lnTo>
                        <a:lnTo>
                          <a:pt x="1669" y="3054"/>
                        </a:lnTo>
                        <a:lnTo>
                          <a:pt x="1667" y="3066"/>
                        </a:lnTo>
                        <a:lnTo>
                          <a:pt x="1659" y="3077"/>
                        </a:lnTo>
                        <a:lnTo>
                          <a:pt x="1659" y="3083"/>
                        </a:lnTo>
                        <a:lnTo>
                          <a:pt x="1663" y="3104"/>
                        </a:lnTo>
                        <a:lnTo>
                          <a:pt x="1671" y="3114"/>
                        </a:lnTo>
                        <a:lnTo>
                          <a:pt x="1673" y="3120"/>
                        </a:lnTo>
                        <a:lnTo>
                          <a:pt x="1671" y="3135"/>
                        </a:lnTo>
                        <a:lnTo>
                          <a:pt x="1675" y="3141"/>
                        </a:lnTo>
                        <a:lnTo>
                          <a:pt x="1686" y="3152"/>
                        </a:lnTo>
                        <a:lnTo>
                          <a:pt x="1690" y="3172"/>
                        </a:lnTo>
                        <a:lnTo>
                          <a:pt x="1690" y="3175"/>
                        </a:lnTo>
                        <a:lnTo>
                          <a:pt x="1682" y="3191"/>
                        </a:lnTo>
                        <a:lnTo>
                          <a:pt x="1681" y="3196"/>
                        </a:lnTo>
                        <a:lnTo>
                          <a:pt x="1675" y="3204"/>
                        </a:lnTo>
                        <a:lnTo>
                          <a:pt x="1675" y="3216"/>
                        </a:lnTo>
                        <a:lnTo>
                          <a:pt x="1677" y="3221"/>
                        </a:lnTo>
                        <a:lnTo>
                          <a:pt x="1675" y="3229"/>
                        </a:lnTo>
                        <a:lnTo>
                          <a:pt x="1679" y="3235"/>
                        </a:lnTo>
                        <a:lnTo>
                          <a:pt x="1690" y="3243"/>
                        </a:lnTo>
                        <a:lnTo>
                          <a:pt x="1686" y="3252"/>
                        </a:lnTo>
                        <a:lnTo>
                          <a:pt x="1686" y="3264"/>
                        </a:lnTo>
                        <a:lnTo>
                          <a:pt x="1694" y="3273"/>
                        </a:lnTo>
                        <a:lnTo>
                          <a:pt x="1709" y="3281"/>
                        </a:lnTo>
                        <a:lnTo>
                          <a:pt x="1717" y="3302"/>
                        </a:lnTo>
                        <a:lnTo>
                          <a:pt x="1715" y="3319"/>
                        </a:lnTo>
                        <a:lnTo>
                          <a:pt x="1717" y="3321"/>
                        </a:lnTo>
                        <a:lnTo>
                          <a:pt x="1721" y="3323"/>
                        </a:lnTo>
                        <a:lnTo>
                          <a:pt x="1725" y="3325"/>
                        </a:lnTo>
                        <a:lnTo>
                          <a:pt x="1725" y="3319"/>
                        </a:lnTo>
                        <a:lnTo>
                          <a:pt x="1730" y="3314"/>
                        </a:lnTo>
                        <a:lnTo>
                          <a:pt x="1742" y="3327"/>
                        </a:lnTo>
                        <a:lnTo>
                          <a:pt x="1748" y="3346"/>
                        </a:lnTo>
                        <a:lnTo>
                          <a:pt x="1750" y="3354"/>
                        </a:lnTo>
                        <a:lnTo>
                          <a:pt x="1755" y="3361"/>
                        </a:lnTo>
                        <a:lnTo>
                          <a:pt x="1757" y="3369"/>
                        </a:lnTo>
                        <a:lnTo>
                          <a:pt x="1759" y="3371"/>
                        </a:lnTo>
                        <a:lnTo>
                          <a:pt x="1763" y="3373"/>
                        </a:lnTo>
                        <a:lnTo>
                          <a:pt x="1788" y="3379"/>
                        </a:lnTo>
                        <a:lnTo>
                          <a:pt x="1796" y="3385"/>
                        </a:lnTo>
                        <a:lnTo>
                          <a:pt x="1801" y="3392"/>
                        </a:lnTo>
                        <a:lnTo>
                          <a:pt x="1807" y="3396"/>
                        </a:lnTo>
                        <a:lnTo>
                          <a:pt x="1809" y="3402"/>
                        </a:lnTo>
                        <a:lnTo>
                          <a:pt x="1811" y="3392"/>
                        </a:lnTo>
                        <a:lnTo>
                          <a:pt x="1815" y="3394"/>
                        </a:lnTo>
                        <a:lnTo>
                          <a:pt x="1823" y="3406"/>
                        </a:lnTo>
                        <a:lnTo>
                          <a:pt x="1830" y="3409"/>
                        </a:lnTo>
                        <a:lnTo>
                          <a:pt x="1849" y="3413"/>
                        </a:lnTo>
                        <a:lnTo>
                          <a:pt x="1855" y="3419"/>
                        </a:lnTo>
                        <a:lnTo>
                          <a:pt x="1857" y="3423"/>
                        </a:lnTo>
                        <a:lnTo>
                          <a:pt x="1859" y="3440"/>
                        </a:lnTo>
                        <a:lnTo>
                          <a:pt x="1867" y="3448"/>
                        </a:lnTo>
                        <a:lnTo>
                          <a:pt x="1878" y="3463"/>
                        </a:lnTo>
                        <a:lnTo>
                          <a:pt x="1895" y="3467"/>
                        </a:lnTo>
                        <a:lnTo>
                          <a:pt x="1903" y="3465"/>
                        </a:lnTo>
                        <a:lnTo>
                          <a:pt x="1909" y="3465"/>
                        </a:lnTo>
                        <a:lnTo>
                          <a:pt x="1920" y="3473"/>
                        </a:lnTo>
                        <a:lnTo>
                          <a:pt x="1928" y="3469"/>
                        </a:lnTo>
                        <a:lnTo>
                          <a:pt x="1932" y="3469"/>
                        </a:lnTo>
                        <a:lnTo>
                          <a:pt x="1947" y="3473"/>
                        </a:lnTo>
                        <a:lnTo>
                          <a:pt x="1959" y="3473"/>
                        </a:lnTo>
                        <a:lnTo>
                          <a:pt x="1966" y="3471"/>
                        </a:lnTo>
                        <a:lnTo>
                          <a:pt x="1976" y="3459"/>
                        </a:lnTo>
                        <a:lnTo>
                          <a:pt x="1988" y="3456"/>
                        </a:lnTo>
                        <a:lnTo>
                          <a:pt x="2014" y="3457"/>
                        </a:lnTo>
                        <a:lnTo>
                          <a:pt x="2020" y="3461"/>
                        </a:lnTo>
                        <a:lnTo>
                          <a:pt x="2026" y="3465"/>
                        </a:lnTo>
                        <a:lnTo>
                          <a:pt x="2030" y="3471"/>
                        </a:lnTo>
                        <a:lnTo>
                          <a:pt x="2037" y="3473"/>
                        </a:lnTo>
                        <a:lnTo>
                          <a:pt x="2049" y="3477"/>
                        </a:lnTo>
                        <a:lnTo>
                          <a:pt x="2059" y="3492"/>
                        </a:lnTo>
                        <a:lnTo>
                          <a:pt x="2068" y="3498"/>
                        </a:lnTo>
                        <a:lnTo>
                          <a:pt x="2074" y="3502"/>
                        </a:lnTo>
                        <a:lnTo>
                          <a:pt x="2082" y="3505"/>
                        </a:lnTo>
                        <a:lnTo>
                          <a:pt x="2087" y="3505"/>
                        </a:lnTo>
                        <a:lnTo>
                          <a:pt x="2110" y="3492"/>
                        </a:lnTo>
                        <a:lnTo>
                          <a:pt x="2116" y="3492"/>
                        </a:lnTo>
                        <a:lnTo>
                          <a:pt x="2126" y="3494"/>
                        </a:lnTo>
                        <a:lnTo>
                          <a:pt x="2130" y="3500"/>
                        </a:lnTo>
                        <a:lnTo>
                          <a:pt x="2135" y="3511"/>
                        </a:lnTo>
                        <a:lnTo>
                          <a:pt x="2143" y="3523"/>
                        </a:lnTo>
                        <a:lnTo>
                          <a:pt x="2151" y="3528"/>
                        </a:lnTo>
                        <a:lnTo>
                          <a:pt x="2156" y="3530"/>
                        </a:lnTo>
                        <a:lnTo>
                          <a:pt x="2166" y="3542"/>
                        </a:lnTo>
                        <a:lnTo>
                          <a:pt x="2176" y="3550"/>
                        </a:lnTo>
                        <a:lnTo>
                          <a:pt x="2183" y="3557"/>
                        </a:lnTo>
                        <a:lnTo>
                          <a:pt x="2201" y="3553"/>
                        </a:lnTo>
                        <a:lnTo>
                          <a:pt x="2206" y="3555"/>
                        </a:lnTo>
                        <a:lnTo>
                          <a:pt x="2208" y="3557"/>
                        </a:lnTo>
                        <a:lnTo>
                          <a:pt x="2220" y="3567"/>
                        </a:lnTo>
                        <a:lnTo>
                          <a:pt x="2233" y="3567"/>
                        </a:lnTo>
                        <a:lnTo>
                          <a:pt x="2254" y="3576"/>
                        </a:lnTo>
                        <a:lnTo>
                          <a:pt x="2268" y="3574"/>
                        </a:lnTo>
                        <a:lnTo>
                          <a:pt x="2275" y="3576"/>
                        </a:lnTo>
                        <a:lnTo>
                          <a:pt x="2283" y="3580"/>
                        </a:lnTo>
                        <a:lnTo>
                          <a:pt x="2295" y="3582"/>
                        </a:lnTo>
                        <a:lnTo>
                          <a:pt x="2308" y="3580"/>
                        </a:lnTo>
                        <a:lnTo>
                          <a:pt x="2314" y="3582"/>
                        </a:lnTo>
                        <a:lnTo>
                          <a:pt x="2325" y="3603"/>
                        </a:lnTo>
                        <a:lnTo>
                          <a:pt x="2341" y="3624"/>
                        </a:lnTo>
                        <a:lnTo>
                          <a:pt x="2360" y="3638"/>
                        </a:lnTo>
                        <a:lnTo>
                          <a:pt x="2366" y="3649"/>
                        </a:lnTo>
                        <a:lnTo>
                          <a:pt x="2371" y="3653"/>
                        </a:lnTo>
                        <a:lnTo>
                          <a:pt x="2377" y="3655"/>
                        </a:lnTo>
                        <a:lnTo>
                          <a:pt x="2389" y="3655"/>
                        </a:lnTo>
                        <a:lnTo>
                          <a:pt x="2414" y="3651"/>
                        </a:lnTo>
                        <a:lnTo>
                          <a:pt x="2425" y="3651"/>
                        </a:lnTo>
                        <a:lnTo>
                          <a:pt x="2431" y="3655"/>
                        </a:lnTo>
                        <a:lnTo>
                          <a:pt x="2440" y="3655"/>
                        </a:lnTo>
                        <a:lnTo>
                          <a:pt x="2460" y="3645"/>
                        </a:lnTo>
                        <a:lnTo>
                          <a:pt x="2469" y="3644"/>
                        </a:lnTo>
                        <a:lnTo>
                          <a:pt x="2479" y="3647"/>
                        </a:lnTo>
                        <a:lnTo>
                          <a:pt x="2485" y="3647"/>
                        </a:lnTo>
                        <a:lnTo>
                          <a:pt x="2513" y="3640"/>
                        </a:lnTo>
                        <a:lnTo>
                          <a:pt x="2519" y="3640"/>
                        </a:lnTo>
                        <a:lnTo>
                          <a:pt x="2527" y="3651"/>
                        </a:lnTo>
                        <a:lnTo>
                          <a:pt x="2561" y="3674"/>
                        </a:lnTo>
                        <a:lnTo>
                          <a:pt x="2571" y="3680"/>
                        </a:lnTo>
                        <a:lnTo>
                          <a:pt x="2575" y="3674"/>
                        </a:lnTo>
                        <a:lnTo>
                          <a:pt x="2594" y="3655"/>
                        </a:lnTo>
                        <a:lnTo>
                          <a:pt x="2625" y="3636"/>
                        </a:lnTo>
                        <a:lnTo>
                          <a:pt x="2634" y="3630"/>
                        </a:lnTo>
                        <a:lnTo>
                          <a:pt x="2640" y="3622"/>
                        </a:lnTo>
                        <a:lnTo>
                          <a:pt x="2650" y="3605"/>
                        </a:lnTo>
                        <a:lnTo>
                          <a:pt x="2655" y="3586"/>
                        </a:lnTo>
                        <a:lnTo>
                          <a:pt x="2661" y="3567"/>
                        </a:lnTo>
                        <a:lnTo>
                          <a:pt x="2667" y="3555"/>
                        </a:lnTo>
                        <a:lnTo>
                          <a:pt x="2678" y="3544"/>
                        </a:lnTo>
                        <a:lnTo>
                          <a:pt x="2686" y="3538"/>
                        </a:lnTo>
                        <a:lnTo>
                          <a:pt x="2690" y="3532"/>
                        </a:lnTo>
                        <a:lnTo>
                          <a:pt x="2690" y="3507"/>
                        </a:lnTo>
                        <a:lnTo>
                          <a:pt x="2701" y="3471"/>
                        </a:lnTo>
                        <a:lnTo>
                          <a:pt x="2713" y="3454"/>
                        </a:lnTo>
                        <a:lnTo>
                          <a:pt x="2721" y="3446"/>
                        </a:lnTo>
                        <a:lnTo>
                          <a:pt x="2724" y="3446"/>
                        </a:lnTo>
                        <a:lnTo>
                          <a:pt x="2732" y="3431"/>
                        </a:lnTo>
                        <a:lnTo>
                          <a:pt x="2734" y="3417"/>
                        </a:lnTo>
                        <a:lnTo>
                          <a:pt x="2732" y="3408"/>
                        </a:lnTo>
                        <a:lnTo>
                          <a:pt x="2728" y="3400"/>
                        </a:lnTo>
                        <a:lnTo>
                          <a:pt x="2723" y="3394"/>
                        </a:lnTo>
                        <a:lnTo>
                          <a:pt x="2723" y="3392"/>
                        </a:lnTo>
                        <a:lnTo>
                          <a:pt x="2726" y="3383"/>
                        </a:lnTo>
                        <a:lnTo>
                          <a:pt x="2724" y="3371"/>
                        </a:lnTo>
                        <a:lnTo>
                          <a:pt x="2723" y="3360"/>
                        </a:lnTo>
                        <a:lnTo>
                          <a:pt x="2721" y="3356"/>
                        </a:lnTo>
                        <a:lnTo>
                          <a:pt x="2717" y="3354"/>
                        </a:lnTo>
                        <a:lnTo>
                          <a:pt x="2713" y="3352"/>
                        </a:lnTo>
                        <a:lnTo>
                          <a:pt x="2707" y="3333"/>
                        </a:lnTo>
                        <a:lnTo>
                          <a:pt x="2705" y="3327"/>
                        </a:lnTo>
                        <a:lnTo>
                          <a:pt x="2694" y="3321"/>
                        </a:lnTo>
                        <a:lnTo>
                          <a:pt x="2690" y="3319"/>
                        </a:lnTo>
                        <a:lnTo>
                          <a:pt x="2684" y="3304"/>
                        </a:lnTo>
                        <a:lnTo>
                          <a:pt x="2678" y="3287"/>
                        </a:lnTo>
                        <a:lnTo>
                          <a:pt x="2680" y="3262"/>
                        </a:lnTo>
                        <a:lnTo>
                          <a:pt x="2682" y="3260"/>
                        </a:lnTo>
                        <a:lnTo>
                          <a:pt x="2690" y="3256"/>
                        </a:lnTo>
                        <a:lnTo>
                          <a:pt x="2692" y="3248"/>
                        </a:lnTo>
                        <a:lnTo>
                          <a:pt x="2701" y="3241"/>
                        </a:lnTo>
                        <a:lnTo>
                          <a:pt x="2709" y="3237"/>
                        </a:lnTo>
                        <a:lnTo>
                          <a:pt x="2713" y="3233"/>
                        </a:lnTo>
                        <a:lnTo>
                          <a:pt x="2715" y="3227"/>
                        </a:lnTo>
                        <a:lnTo>
                          <a:pt x="2713" y="3214"/>
                        </a:lnTo>
                        <a:lnTo>
                          <a:pt x="2707" y="3198"/>
                        </a:lnTo>
                        <a:lnTo>
                          <a:pt x="2707" y="3191"/>
                        </a:lnTo>
                        <a:lnTo>
                          <a:pt x="2707" y="3183"/>
                        </a:lnTo>
                        <a:lnTo>
                          <a:pt x="2703" y="3177"/>
                        </a:lnTo>
                        <a:lnTo>
                          <a:pt x="2701" y="3172"/>
                        </a:lnTo>
                        <a:lnTo>
                          <a:pt x="2694" y="3170"/>
                        </a:lnTo>
                        <a:lnTo>
                          <a:pt x="2692" y="3168"/>
                        </a:lnTo>
                        <a:lnTo>
                          <a:pt x="2686" y="3168"/>
                        </a:lnTo>
                        <a:lnTo>
                          <a:pt x="2655" y="3172"/>
                        </a:lnTo>
                        <a:lnTo>
                          <a:pt x="2652" y="3170"/>
                        </a:lnTo>
                        <a:lnTo>
                          <a:pt x="2646" y="3162"/>
                        </a:lnTo>
                        <a:lnTo>
                          <a:pt x="2644" y="3162"/>
                        </a:lnTo>
                        <a:lnTo>
                          <a:pt x="2634" y="3170"/>
                        </a:lnTo>
                        <a:lnTo>
                          <a:pt x="2629" y="3170"/>
                        </a:lnTo>
                        <a:lnTo>
                          <a:pt x="2621" y="3164"/>
                        </a:lnTo>
                        <a:lnTo>
                          <a:pt x="2613" y="3152"/>
                        </a:lnTo>
                        <a:lnTo>
                          <a:pt x="2559" y="3154"/>
                        </a:lnTo>
                        <a:lnTo>
                          <a:pt x="2544" y="3152"/>
                        </a:lnTo>
                        <a:lnTo>
                          <a:pt x="2546" y="3154"/>
                        </a:lnTo>
                        <a:lnTo>
                          <a:pt x="2534" y="3154"/>
                        </a:lnTo>
                        <a:lnTo>
                          <a:pt x="2527" y="3152"/>
                        </a:lnTo>
                        <a:lnTo>
                          <a:pt x="2527" y="3154"/>
                        </a:lnTo>
                        <a:lnTo>
                          <a:pt x="2469" y="3154"/>
                        </a:lnTo>
                        <a:lnTo>
                          <a:pt x="2463" y="3156"/>
                        </a:lnTo>
                        <a:lnTo>
                          <a:pt x="2446" y="3154"/>
                        </a:lnTo>
                        <a:lnTo>
                          <a:pt x="2429" y="3156"/>
                        </a:lnTo>
                        <a:lnTo>
                          <a:pt x="2417" y="3154"/>
                        </a:lnTo>
                        <a:lnTo>
                          <a:pt x="2416" y="3156"/>
                        </a:lnTo>
                        <a:lnTo>
                          <a:pt x="2408" y="3154"/>
                        </a:lnTo>
                        <a:lnTo>
                          <a:pt x="2408" y="3152"/>
                        </a:lnTo>
                        <a:lnTo>
                          <a:pt x="2406" y="3148"/>
                        </a:lnTo>
                        <a:lnTo>
                          <a:pt x="2410" y="3133"/>
                        </a:lnTo>
                        <a:lnTo>
                          <a:pt x="2419" y="3104"/>
                        </a:lnTo>
                        <a:lnTo>
                          <a:pt x="2416" y="3087"/>
                        </a:lnTo>
                        <a:lnTo>
                          <a:pt x="2417" y="3056"/>
                        </a:lnTo>
                        <a:lnTo>
                          <a:pt x="2416" y="3047"/>
                        </a:lnTo>
                        <a:lnTo>
                          <a:pt x="2412" y="3039"/>
                        </a:lnTo>
                        <a:lnTo>
                          <a:pt x="2396" y="3022"/>
                        </a:lnTo>
                        <a:lnTo>
                          <a:pt x="2396" y="3018"/>
                        </a:lnTo>
                        <a:lnTo>
                          <a:pt x="2398" y="3003"/>
                        </a:lnTo>
                        <a:lnTo>
                          <a:pt x="2394" y="2991"/>
                        </a:lnTo>
                        <a:lnTo>
                          <a:pt x="2396" y="2983"/>
                        </a:lnTo>
                        <a:lnTo>
                          <a:pt x="2404" y="2972"/>
                        </a:lnTo>
                        <a:lnTo>
                          <a:pt x="2408" y="2957"/>
                        </a:lnTo>
                        <a:lnTo>
                          <a:pt x="2408" y="2937"/>
                        </a:lnTo>
                        <a:lnTo>
                          <a:pt x="2406" y="2926"/>
                        </a:lnTo>
                        <a:lnTo>
                          <a:pt x="2404" y="2918"/>
                        </a:lnTo>
                        <a:lnTo>
                          <a:pt x="2402" y="2914"/>
                        </a:lnTo>
                        <a:lnTo>
                          <a:pt x="2404" y="2911"/>
                        </a:lnTo>
                        <a:lnTo>
                          <a:pt x="2410" y="2907"/>
                        </a:lnTo>
                        <a:lnTo>
                          <a:pt x="2412" y="2897"/>
                        </a:lnTo>
                        <a:lnTo>
                          <a:pt x="2410" y="2891"/>
                        </a:lnTo>
                        <a:lnTo>
                          <a:pt x="2396" y="2868"/>
                        </a:lnTo>
                        <a:lnTo>
                          <a:pt x="2396" y="2864"/>
                        </a:lnTo>
                        <a:lnTo>
                          <a:pt x="2400" y="2857"/>
                        </a:lnTo>
                        <a:lnTo>
                          <a:pt x="2398" y="2853"/>
                        </a:lnTo>
                        <a:lnTo>
                          <a:pt x="2396" y="2851"/>
                        </a:lnTo>
                        <a:lnTo>
                          <a:pt x="2392" y="2849"/>
                        </a:lnTo>
                        <a:lnTo>
                          <a:pt x="2387" y="2847"/>
                        </a:lnTo>
                        <a:lnTo>
                          <a:pt x="2387" y="2840"/>
                        </a:lnTo>
                        <a:lnTo>
                          <a:pt x="2389" y="2830"/>
                        </a:lnTo>
                        <a:lnTo>
                          <a:pt x="2391" y="2824"/>
                        </a:lnTo>
                        <a:lnTo>
                          <a:pt x="2404" y="2822"/>
                        </a:lnTo>
                        <a:lnTo>
                          <a:pt x="2406" y="2817"/>
                        </a:lnTo>
                        <a:lnTo>
                          <a:pt x="2400" y="2811"/>
                        </a:lnTo>
                        <a:lnTo>
                          <a:pt x="2400" y="2809"/>
                        </a:lnTo>
                        <a:lnTo>
                          <a:pt x="2398" y="2803"/>
                        </a:lnTo>
                        <a:lnTo>
                          <a:pt x="2396" y="2792"/>
                        </a:lnTo>
                        <a:lnTo>
                          <a:pt x="2400" y="2780"/>
                        </a:lnTo>
                        <a:lnTo>
                          <a:pt x="2404" y="2770"/>
                        </a:lnTo>
                        <a:lnTo>
                          <a:pt x="2412" y="2763"/>
                        </a:lnTo>
                        <a:lnTo>
                          <a:pt x="2412" y="2753"/>
                        </a:lnTo>
                        <a:lnTo>
                          <a:pt x="2406" y="2749"/>
                        </a:lnTo>
                        <a:lnTo>
                          <a:pt x="2402" y="2742"/>
                        </a:lnTo>
                        <a:lnTo>
                          <a:pt x="2394" y="2734"/>
                        </a:lnTo>
                        <a:lnTo>
                          <a:pt x="2392" y="2732"/>
                        </a:lnTo>
                        <a:lnTo>
                          <a:pt x="2392" y="2732"/>
                        </a:lnTo>
                        <a:lnTo>
                          <a:pt x="2398" y="2730"/>
                        </a:lnTo>
                        <a:lnTo>
                          <a:pt x="2419" y="2730"/>
                        </a:lnTo>
                        <a:lnTo>
                          <a:pt x="2419" y="2728"/>
                        </a:lnTo>
                        <a:lnTo>
                          <a:pt x="2427" y="2728"/>
                        </a:lnTo>
                        <a:lnTo>
                          <a:pt x="2473" y="2728"/>
                        </a:lnTo>
                        <a:lnTo>
                          <a:pt x="2477" y="2728"/>
                        </a:lnTo>
                        <a:lnTo>
                          <a:pt x="2477" y="2726"/>
                        </a:lnTo>
                        <a:lnTo>
                          <a:pt x="2498" y="2728"/>
                        </a:lnTo>
                        <a:lnTo>
                          <a:pt x="2529" y="2728"/>
                        </a:lnTo>
                        <a:lnTo>
                          <a:pt x="2565" y="2726"/>
                        </a:lnTo>
                        <a:lnTo>
                          <a:pt x="2565" y="2724"/>
                        </a:lnTo>
                        <a:lnTo>
                          <a:pt x="2577" y="2726"/>
                        </a:lnTo>
                        <a:lnTo>
                          <a:pt x="2634" y="2724"/>
                        </a:lnTo>
                        <a:lnTo>
                          <a:pt x="2644" y="2726"/>
                        </a:lnTo>
                        <a:lnTo>
                          <a:pt x="2644" y="2724"/>
                        </a:lnTo>
                        <a:lnTo>
                          <a:pt x="2686" y="2724"/>
                        </a:lnTo>
                        <a:lnTo>
                          <a:pt x="2688" y="2724"/>
                        </a:lnTo>
                        <a:lnTo>
                          <a:pt x="2696" y="2726"/>
                        </a:lnTo>
                        <a:lnTo>
                          <a:pt x="2696" y="2724"/>
                        </a:lnTo>
                        <a:lnTo>
                          <a:pt x="2703" y="2723"/>
                        </a:lnTo>
                        <a:lnTo>
                          <a:pt x="2711" y="2724"/>
                        </a:lnTo>
                        <a:lnTo>
                          <a:pt x="2757" y="2723"/>
                        </a:lnTo>
                        <a:lnTo>
                          <a:pt x="2757" y="2723"/>
                        </a:lnTo>
                        <a:lnTo>
                          <a:pt x="2771" y="2723"/>
                        </a:lnTo>
                        <a:lnTo>
                          <a:pt x="2824" y="2723"/>
                        </a:lnTo>
                        <a:lnTo>
                          <a:pt x="2830" y="2721"/>
                        </a:lnTo>
                        <a:lnTo>
                          <a:pt x="2834" y="2723"/>
                        </a:lnTo>
                        <a:lnTo>
                          <a:pt x="2957" y="2719"/>
                        </a:lnTo>
                        <a:lnTo>
                          <a:pt x="2991" y="2721"/>
                        </a:lnTo>
                        <a:lnTo>
                          <a:pt x="3001" y="2711"/>
                        </a:lnTo>
                        <a:lnTo>
                          <a:pt x="2993" y="2707"/>
                        </a:lnTo>
                        <a:lnTo>
                          <a:pt x="2993" y="2701"/>
                        </a:lnTo>
                        <a:lnTo>
                          <a:pt x="2997" y="2690"/>
                        </a:lnTo>
                        <a:lnTo>
                          <a:pt x="2993" y="2671"/>
                        </a:lnTo>
                        <a:lnTo>
                          <a:pt x="2995" y="2663"/>
                        </a:lnTo>
                        <a:lnTo>
                          <a:pt x="3003" y="2650"/>
                        </a:lnTo>
                        <a:lnTo>
                          <a:pt x="3005" y="2638"/>
                        </a:lnTo>
                        <a:lnTo>
                          <a:pt x="3014" y="2628"/>
                        </a:lnTo>
                        <a:lnTo>
                          <a:pt x="3012" y="2619"/>
                        </a:lnTo>
                        <a:lnTo>
                          <a:pt x="3012" y="2600"/>
                        </a:lnTo>
                        <a:lnTo>
                          <a:pt x="3016" y="2592"/>
                        </a:lnTo>
                        <a:lnTo>
                          <a:pt x="3018" y="2584"/>
                        </a:lnTo>
                        <a:lnTo>
                          <a:pt x="3008" y="2559"/>
                        </a:lnTo>
                        <a:lnTo>
                          <a:pt x="3001" y="2550"/>
                        </a:lnTo>
                        <a:lnTo>
                          <a:pt x="3001" y="2542"/>
                        </a:lnTo>
                        <a:lnTo>
                          <a:pt x="3005" y="2534"/>
                        </a:lnTo>
                        <a:lnTo>
                          <a:pt x="3012" y="2529"/>
                        </a:lnTo>
                        <a:lnTo>
                          <a:pt x="3016" y="2521"/>
                        </a:lnTo>
                        <a:lnTo>
                          <a:pt x="3018" y="2511"/>
                        </a:lnTo>
                        <a:lnTo>
                          <a:pt x="3022" y="2506"/>
                        </a:lnTo>
                        <a:lnTo>
                          <a:pt x="3031" y="2498"/>
                        </a:lnTo>
                        <a:lnTo>
                          <a:pt x="3033" y="2490"/>
                        </a:lnTo>
                        <a:lnTo>
                          <a:pt x="3030" y="2473"/>
                        </a:lnTo>
                        <a:lnTo>
                          <a:pt x="3033" y="2460"/>
                        </a:lnTo>
                        <a:lnTo>
                          <a:pt x="3043" y="2448"/>
                        </a:lnTo>
                        <a:lnTo>
                          <a:pt x="3047" y="2444"/>
                        </a:lnTo>
                        <a:lnTo>
                          <a:pt x="3047" y="2444"/>
                        </a:lnTo>
                        <a:lnTo>
                          <a:pt x="3053" y="2448"/>
                        </a:lnTo>
                        <a:lnTo>
                          <a:pt x="3056" y="2450"/>
                        </a:lnTo>
                        <a:lnTo>
                          <a:pt x="3066" y="2473"/>
                        </a:lnTo>
                        <a:lnTo>
                          <a:pt x="3078" y="2483"/>
                        </a:lnTo>
                        <a:lnTo>
                          <a:pt x="3083" y="2500"/>
                        </a:lnTo>
                        <a:lnTo>
                          <a:pt x="3085" y="2504"/>
                        </a:lnTo>
                        <a:lnTo>
                          <a:pt x="3099" y="2531"/>
                        </a:lnTo>
                        <a:lnTo>
                          <a:pt x="3104" y="2546"/>
                        </a:lnTo>
                        <a:lnTo>
                          <a:pt x="3106" y="2556"/>
                        </a:lnTo>
                        <a:lnTo>
                          <a:pt x="3129" y="2590"/>
                        </a:lnTo>
                        <a:lnTo>
                          <a:pt x="3131" y="2598"/>
                        </a:lnTo>
                        <a:lnTo>
                          <a:pt x="3141" y="2609"/>
                        </a:lnTo>
                        <a:lnTo>
                          <a:pt x="3141" y="2617"/>
                        </a:lnTo>
                        <a:lnTo>
                          <a:pt x="3137" y="2632"/>
                        </a:lnTo>
                        <a:lnTo>
                          <a:pt x="3137" y="2640"/>
                        </a:lnTo>
                        <a:lnTo>
                          <a:pt x="3135" y="2648"/>
                        </a:lnTo>
                        <a:lnTo>
                          <a:pt x="3141" y="2659"/>
                        </a:lnTo>
                        <a:lnTo>
                          <a:pt x="3143" y="2671"/>
                        </a:lnTo>
                        <a:lnTo>
                          <a:pt x="3145" y="2680"/>
                        </a:lnTo>
                        <a:lnTo>
                          <a:pt x="3145" y="2686"/>
                        </a:lnTo>
                        <a:lnTo>
                          <a:pt x="3147" y="2692"/>
                        </a:lnTo>
                        <a:lnTo>
                          <a:pt x="3149" y="2705"/>
                        </a:lnTo>
                        <a:lnTo>
                          <a:pt x="3152" y="2709"/>
                        </a:lnTo>
                        <a:lnTo>
                          <a:pt x="3158" y="2711"/>
                        </a:lnTo>
                        <a:lnTo>
                          <a:pt x="3166" y="2709"/>
                        </a:lnTo>
                        <a:lnTo>
                          <a:pt x="3172" y="2713"/>
                        </a:lnTo>
                        <a:lnTo>
                          <a:pt x="3183" y="2713"/>
                        </a:lnTo>
                        <a:lnTo>
                          <a:pt x="3185" y="2719"/>
                        </a:lnTo>
                        <a:lnTo>
                          <a:pt x="3185" y="2726"/>
                        </a:lnTo>
                        <a:lnTo>
                          <a:pt x="3193" y="2734"/>
                        </a:lnTo>
                        <a:lnTo>
                          <a:pt x="3225" y="2744"/>
                        </a:lnTo>
                        <a:lnTo>
                          <a:pt x="3231" y="2747"/>
                        </a:lnTo>
                        <a:lnTo>
                          <a:pt x="3235" y="2753"/>
                        </a:lnTo>
                        <a:lnTo>
                          <a:pt x="3244" y="2761"/>
                        </a:lnTo>
                        <a:lnTo>
                          <a:pt x="3252" y="2765"/>
                        </a:lnTo>
                        <a:lnTo>
                          <a:pt x="3258" y="2772"/>
                        </a:lnTo>
                        <a:lnTo>
                          <a:pt x="3262" y="2780"/>
                        </a:lnTo>
                        <a:lnTo>
                          <a:pt x="3258" y="2790"/>
                        </a:lnTo>
                        <a:lnTo>
                          <a:pt x="3262" y="2799"/>
                        </a:lnTo>
                        <a:lnTo>
                          <a:pt x="3268" y="2801"/>
                        </a:lnTo>
                        <a:lnTo>
                          <a:pt x="3275" y="2803"/>
                        </a:lnTo>
                        <a:lnTo>
                          <a:pt x="3289" y="2803"/>
                        </a:lnTo>
                        <a:lnTo>
                          <a:pt x="3298" y="2807"/>
                        </a:lnTo>
                        <a:lnTo>
                          <a:pt x="3304" y="2815"/>
                        </a:lnTo>
                        <a:lnTo>
                          <a:pt x="3310" y="2834"/>
                        </a:lnTo>
                        <a:lnTo>
                          <a:pt x="3314" y="2838"/>
                        </a:lnTo>
                        <a:lnTo>
                          <a:pt x="3317" y="2836"/>
                        </a:lnTo>
                        <a:lnTo>
                          <a:pt x="3319" y="2834"/>
                        </a:lnTo>
                        <a:lnTo>
                          <a:pt x="3333" y="2826"/>
                        </a:lnTo>
                        <a:lnTo>
                          <a:pt x="3505" y="2840"/>
                        </a:lnTo>
                        <a:lnTo>
                          <a:pt x="3651" y="2849"/>
                        </a:lnTo>
                        <a:lnTo>
                          <a:pt x="3786" y="2859"/>
                        </a:lnTo>
                        <a:lnTo>
                          <a:pt x="3859" y="2864"/>
                        </a:lnTo>
                        <a:lnTo>
                          <a:pt x="3872" y="2864"/>
                        </a:lnTo>
                        <a:lnTo>
                          <a:pt x="3897" y="2866"/>
                        </a:lnTo>
                        <a:lnTo>
                          <a:pt x="4014" y="2876"/>
                        </a:lnTo>
                        <a:lnTo>
                          <a:pt x="4104" y="2884"/>
                        </a:lnTo>
                        <a:lnTo>
                          <a:pt x="4223" y="2893"/>
                        </a:lnTo>
                        <a:lnTo>
                          <a:pt x="4405" y="2911"/>
                        </a:lnTo>
                        <a:lnTo>
                          <a:pt x="4555" y="2924"/>
                        </a:lnTo>
                        <a:lnTo>
                          <a:pt x="4557" y="2924"/>
                        </a:lnTo>
                        <a:lnTo>
                          <a:pt x="4555" y="2926"/>
                        </a:lnTo>
                        <a:lnTo>
                          <a:pt x="4549" y="2934"/>
                        </a:lnTo>
                        <a:lnTo>
                          <a:pt x="4542" y="2957"/>
                        </a:lnTo>
                        <a:lnTo>
                          <a:pt x="4538" y="2964"/>
                        </a:lnTo>
                        <a:lnTo>
                          <a:pt x="4528" y="2974"/>
                        </a:lnTo>
                        <a:lnTo>
                          <a:pt x="4524" y="2982"/>
                        </a:lnTo>
                        <a:lnTo>
                          <a:pt x="4522" y="3006"/>
                        </a:lnTo>
                        <a:lnTo>
                          <a:pt x="4521" y="3016"/>
                        </a:lnTo>
                        <a:lnTo>
                          <a:pt x="4517" y="3022"/>
                        </a:lnTo>
                        <a:lnTo>
                          <a:pt x="4515" y="3026"/>
                        </a:lnTo>
                        <a:lnTo>
                          <a:pt x="4507" y="3031"/>
                        </a:lnTo>
                        <a:lnTo>
                          <a:pt x="4505" y="3037"/>
                        </a:lnTo>
                        <a:lnTo>
                          <a:pt x="4501" y="3049"/>
                        </a:lnTo>
                        <a:lnTo>
                          <a:pt x="4490" y="3064"/>
                        </a:lnTo>
                        <a:lnTo>
                          <a:pt x="4484" y="3070"/>
                        </a:lnTo>
                        <a:lnTo>
                          <a:pt x="4484" y="3079"/>
                        </a:lnTo>
                        <a:lnTo>
                          <a:pt x="4486" y="3093"/>
                        </a:lnTo>
                        <a:lnTo>
                          <a:pt x="4480" y="3101"/>
                        </a:lnTo>
                        <a:lnTo>
                          <a:pt x="4480" y="3116"/>
                        </a:lnTo>
                        <a:lnTo>
                          <a:pt x="4476" y="3127"/>
                        </a:lnTo>
                        <a:lnTo>
                          <a:pt x="4476" y="3137"/>
                        </a:lnTo>
                        <a:lnTo>
                          <a:pt x="4478" y="3150"/>
                        </a:lnTo>
                        <a:lnTo>
                          <a:pt x="4471" y="3164"/>
                        </a:lnTo>
                        <a:lnTo>
                          <a:pt x="4467" y="3183"/>
                        </a:lnTo>
                        <a:lnTo>
                          <a:pt x="4461" y="3198"/>
                        </a:lnTo>
                        <a:lnTo>
                          <a:pt x="4455" y="3221"/>
                        </a:lnTo>
                        <a:lnTo>
                          <a:pt x="4455" y="3227"/>
                        </a:lnTo>
                        <a:lnTo>
                          <a:pt x="4461" y="3243"/>
                        </a:lnTo>
                        <a:lnTo>
                          <a:pt x="4471" y="3258"/>
                        </a:lnTo>
                        <a:lnTo>
                          <a:pt x="4471" y="3266"/>
                        </a:lnTo>
                        <a:lnTo>
                          <a:pt x="4469" y="3267"/>
                        </a:lnTo>
                        <a:lnTo>
                          <a:pt x="4459" y="3292"/>
                        </a:lnTo>
                        <a:lnTo>
                          <a:pt x="4465" y="3300"/>
                        </a:lnTo>
                        <a:lnTo>
                          <a:pt x="4473" y="3310"/>
                        </a:lnTo>
                        <a:lnTo>
                          <a:pt x="4474" y="3314"/>
                        </a:lnTo>
                        <a:lnTo>
                          <a:pt x="4473" y="3321"/>
                        </a:lnTo>
                        <a:lnTo>
                          <a:pt x="4473" y="3325"/>
                        </a:lnTo>
                        <a:lnTo>
                          <a:pt x="4467" y="3335"/>
                        </a:lnTo>
                        <a:lnTo>
                          <a:pt x="4467" y="3340"/>
                        </a:lnTo>
                        <a:lnTo>
                          <a:pt x="4467" y="3348"/>
                        </a:lnTo>
                        <a:lnTo>
                          <a:pt x="4465" y="3371"/>
                        </a:lnTo>
                        <a:lnTo>
                          <a:pt x="4465" y="3375"/>
                        </a:lnTo>
                        <a:lnTo>
                          <a:pt x="4469" y="3377"/>
                        </a:lnTo>
                        <a:lnTo>
                          <a:pt x="4473" y="3383"/>
                        </a:lnTo>
                        <a:lnTo>
                          <a:pt x="4473" y="3392"/>
                        </a:lnTo>
                        <a:lnTo>
                          <a:pt x="4471" y="3404"/>
                        </a:lnTo>
                        <a:lnTo>
                          <a:pt x="4474" y="3413"/>
                        </a:lnTo>
                        <a:lnTo>
                          <a:pt x="4474" y="3415"/>
                        </a:lnTo>
                        <a:lnTo>
                          <a:pt x="4469" y="3423"/>
                        </a:lnTo>
                        <a:lnTo>
                          <a:pt x="4467" y="3432"/>
                        </a:lnTo>
                        <a:lnTo>
                          <a:pt x="4463" y="3436"/>
                        </a:lnTo>
                        <a:lnTo>
                          <a:pt x="4463" y="3444"/>
                        </a:lnTo>
                        <a:lnTo>
                          <a:pt x="4463" y="3450"/>
                        </a:lnTo>
                        <a:lnTo>
                          <a:pt x="4457" y="3452"/>
                        </a:lnTo>
                        <a:lnTo>
                          <a:pt x="4457" y="3454"/>
                        </a:lnTo>
                        <a:lnTo>
                          <a:pt x="4457" y="3457"/>
                        </a:lnTo>
                        <a:lnTo>
                          <a:pt x="4461" y="3461"/>
                        </a:lnTo>
                        <a:lnTo>
                          <a:pt x="4467" y="3471"/>
                        </a:lnTo>
                        <a:lnTo>
                          <a:pt x="4471" y="3479"/>
                        </a:lnTo>
                        <a:lnTo>
                          <a:pt x="4469" y="3484"/>
                        </a:lnTo>
                        <a:lnTo>
                          <a:pt x="4471" y="3488"/>
                        </a:lnTo>
                        <a:lnTo>
                          <a:pt x="4473" y="3490"/>
                        </a:lnTo>
                        <a:lnTo>
                          <a:pt x="4478" y="3490"/>
                        </a:lnTo>
                        <a:lnTo>
                          <a:pt x="4482" y="3500"/>
                        </a:lnTo>
                        <a:lnTo>
                          <a:pt x="4490" y="3500"/>
                        </a:lnTo>
                        <a:lnTo>
                          <a:pt x="4492" y="3503"/>
                        </a:lnTo>
                        <a:lnTo>
                          <a:pt x="4492" y="3503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7" name="Freeform 36"/>
                  <p:cNvSpPr>
                    <a:spLocks/>
                  </p:cNvSpPr>
                  <p:nvPr/>
                </p:nvSpPr>
                <p:spPr bwMode="auto">
                  <a:xfrm>
                    <a:off x="6361113" y="-955675"/>
                    <a:ext cx="139700" cy="69850"/>
                  </a:xfrm>
                  <a:custGeom>
                    <a:avLst/>
                    <a:gdLst/>
                    <a:ahLst/>
                    <a:cxnLst>
                      <a:cxn ang="0">
                        <a:pos x="77" y="37"/>
                      </a:cxn>
                      <a:cxn ang="0">
                        <a:pos x="81" y="31"/>
                      </a:cxn>
                      <a:cxn ang="0">
                        <a:pos x="86" y="25"/>
                      </a:cxn>
                      <a:cxn ang="0">
                        <a:pos x="88" y="19"/>
                      </a:cxn>
                      <a:cxn ang="0">
                        <a:pos x="84" y="12"/>
                      </a:cxn>
                      <a:cxn ang="0">
                        <a:pos x="77" y="6"/>
                      </a:cxn>
                      <a:cxn ang="0">
                        <a:pos x="65" y="2"/>
                      </a:cxn>
                      <a:cxn ang="0">
                        <a:pos x="52" y="0"/>
                      </a:cxn>
                      <a:cxn ang="0">
                        <a:pos x="44" y="2"/>
                      </a:cxn>
                      <a:cxn ang="0">
                        <a:pos x="36" y="4"/>
                      </a:cxn>
                      <a:cxn ang="0">
                        <a:pos x="29" y="10"/>
                      </a:cxn>
                      <a:cxn ang="0">
                        <a:pos x="19" y="16"/>
                      </a:cxn>
                      <a:cxn ang="0">
                        <a:pos x="4" y="25"/>
                      </a:cxn>
                      <a:cxn ang="0">
                        <a:pos x="0" y="31"/>
                      </a:cxn>
                      <a:cxn ang="0">
                        <a:pos x="0" y="35"/>
                      </a:cxn>
                      <a:cxn ang="0">
                        <a:pos x="6" y="41"/>
                      </a:cxn>
                      <a:cxn ang="0">
                        <a:pos x="12" y="44"/>
                      </a:cxn>
                      <a:cxn ang="0">
                        <a:pos x="25" y="44"/>
                      </a:cxn>
                      <a:cxn ang="0">
                        <a:pos x="50" y="44"/>
                      </a:cxn>
                      <a:cxn ang="0">
                        <a:pos x="77" y="37"/>
                      </a:cxn>
                    </a:cxnLst>
                    <a:rect l="0" t="0" r="r" b="b"/>
                    <a:pathLst>
                      <a:path w="88" h="44">
                        <a:moveTo>
                          <a:pt x="77" y="37"/>
                        </a:moveTo>
                        <a:lnTo>
                          <a:pt x="81" y="31"/>
                        </a:lnTo>
                        <a:lnTo>
                          <a:pt x="86" y="25"/>
                        </a:lnTo>
                        <a:lnTo>
                          <a:pt x="88" y="19"/>
                        </a:lnTo>
                        <a:lnTo>
                          <a:pt x="84" y="12"/>
                        </a:lnTo>
                        <a:lnTo>
                          <a:pt x="77" y="6"/>
                        </a:lnTo>
                        <a:lnTo>
                          <a:pt x="65" y="2"/>
                        </a:lnTo>
                        <a:lnTo>
                          <a:pt x="52" y="0"/>
                        </a:lnTo>
                        <a:lnTo>
                          <a:pt x="44" y="2"/>
                        </a:lnTo>
                        <a:lnTo>
                          <a:pt x="36" y="4"/>
                        </a:lnTo>
                        <a:lnTo>
                          <a:pt x="29" y="10"/>
                        </a:lnTo>
                        <a:lnTo>
                          <a:pt x="19" y="16"/>
                        </a:lnTo>
                        <a:lnTo>
                          <a:pt x="4" y="25"/>
                        </a:lnTo>
                        <a:lnTo>
                          <a:pt x="0" y="31"/>
                        </a:lnTo>
                        <a:lnTo>
                          <a:pt x="0" y="35"/>
                        </a:lnTo>
                        <a:lnTo>
                          <a:pt x="6" y="41"/>
                        </a:lnTo>
                        <a:lnTo>
                          <a:pt x="12" y="44"/>
                        </a:lnTo>
                        <a:lnTo>
                          <a:pt x="25" y="44"/>
                        </a:lnTo>
                        <a:lnTo>
                          <a:pt x="50" y="44"/>
                        </a:lnTo>
                        <a:lnTo>
                          <a:pt x="77" y="37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8" name="Freeform 37"/>
                  <p:cNvSpPr>
                    <a:spLocks/>
                  </p:cNvSpPr>
                  <p:nvPr/>
                </p:nvSpPr>
                <p:spPr bwMode="auto">
                  <a:xfrm>
                    <a:off x="6410325" y="-989013"/>
                    <a:ext cx="14288" cy="12700"/>
                  </a:xfrm>
                  <a:custGeom>
                    <a:avLst/>
                    <a:gdLst/>
                    <a:ahLst/>
                    <a:cxnLst>
                      <a:cxn ang="0">
                        <a:pos x="0" y="6"/>
                      </a:cxn>
                      <a:cxn ang="0">
                        <a:pos x="4" y="8"/>
                      </a:cxn>
                      <a:cxn ang="0">
                        <a:pos x="9" y="6"/>
                      </a:cxn>
                      <a:cxn ang="0">
                        <a:pos x="9" y="4"/>
                      </a:cxn>
                      <a:cxn ang="0">
                        <a:pos x="9" y="0"/>
                      </a:cxn>
                      <a:cxn ang="0">
                        <a:pos x="2" y="0"/>
                      </a:cxn>
                      <a:cxn ang="0">
                        <a:pos x="0" y="2"/>
                      </a:cxn>
                      <a:cxn ang="0">
                        <a:pos x="0" y="6"/>
                      </a:cxn>
                    </a:cxnLst>
                    <a:rect l="0" t="0" r="r" b="b"/>
                    <a:pathLst>
                      <a:path w="9" h="8">
                        <a:moveTo>
                          <a:pt x="0" y="6"/>
                        </a:moveTo>
                        <a:lnTo>
                          <a:pt x="4" y="8"/>
                        </a:lnTo>
                        <a:lnTo>
                          <a:pt x="9" y="6"/>
                        </a:lnTo>
                        <a:lnTo>
                          <a:pt x="9" y="4"/>
                        </a:lnTo>
                        <a:lnTo>
                          <a:pt x="9" y="0"/>
                        </a:lnTo>
                        <a:lnTo>
                          <a:pt x="2" y="0"/>
                        </a:lnTo>
                        <a:lnTo>
                          <a:pt x="0" y="2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0" name="Freeform 38"/>
                  <p:cNvSpPr>
                    <a:spLocks/>
                  </p:cNvSpPr>
                  <p:nvPr/>
                </p:nvSpPr>
                <p:spPr bwMode="auto">
                  <a:xfrm>
                    <a:off x="6635750" y="-885825"/>
                    <a:ext cx="17463" cy="1905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11" y="4"/>
                      </a:cxn>
                      <a:cxn ang="0">
                        <a:pos x="11" y="6"/>
                      </a:cxn>
                      <a:cxn ang="0">
                        <a:pos x="7" y="10"/>
                      </a:cxn>
                      <a:cxn ang="0">
                        <a:pos x="2" y="12"/>
                      </a:cxn>
                      <a:cxn ang="0">
                        <a:pos x="0" y="8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11" h="12">
                        <a:moveTo>
                          <a:pt x="5" y="0"/>
                        </a:moveTo>
                        <a:lnTo>
                          <a:pt x="11" y="4"/>
                        </a:lnTo>
                        <a:lnTo>
                          <a:pt x="11" y="6"/>
                        </a:lnTo>
                        <a:lnTo>
                          <a:pt x="7" y="10"/>
                        </a:lnTo>
                        <a:lnTo>
                          <a:pt x="2" y="12"/>
                        </a:lnTo>
                        <a:lnTo>
                          <a:pt x="0" y="8"/>
                        </a:lnTo>
                        <a:lnTo>
                          <a:pt x="0" y="4"/>
                        </a:lnTo>
                        <a:lnTo>
                          <a:pt x="2" y="0"/>
                        </a:lnTo>
                        <a:lnTo>
                          <a:pt x="5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1" name="Freeform 39"/>
                  <p:cNvSpPr>
                    <a:spLocks/>
                  </p:cNvSpPr>
                  <p:nvPr/>
                </p:nvSpPr>
                <p:spPr bwMode="auto">
                  <a:xfrm>
                    <a:off x="6184900" y="-1039813"/>
                    <a:ext cx="242888" cy="123825"/>
                  </a:xfrm>
                  <a:custGeom>
                    <a:avLst/>
                    <a:gdLst/>
                    <a:ahLst/>
                    <a:cxnLst>
                      <a:cxn ang="0">
                        <a:pos x="134" y="0"/>
                      </a:cxn>
                      <a:cxn ang="0">
                        <a:pos x="128" y="3"/>
                      </a:cxn>
                      <a:cxn ang="0">
                        <a:pos x="111" y="3"/>
                      </a:cxn>
                      <a:cxn ang="0">
                        <a:pos x="101" y="7"/>
                      </a:cxn>
                      <a:cxn ang="0">
                        <a:pos x="96" y="7"/>
                      </a:cxn>
                      <a:cxn ang="0">
                        <a:pos x="92" y="7"/>
                      </a:cxn>
                      <a:cxn ang="0">
                        <a:pos x="84" y="5"/>
                      </a:cxn>
                      <a:cxn ang="0">
                        <a:pos x="82" y="5"/>
                      </a:cxn>
                      <a:cxn ang="0">
                        <a:pos x="78" y="13"/>
                      </a:cxn>
                      <a:cxn ang="0">
                        <a:pos x="67" y="13"/>
                      </a:cxn>
                      <a:cxn ang="0">
                        <a:pos x="61" y="23"/>
                      </a:cxn>
                      <a:cxn ang="0">
                        <a:pos x="53" y="24"/>
                      </a:cxn>
                      <a:cxn ang="0">
                        <a:pos x="42" y="24"/>
                      </a:cxn>
                      <a:cxn ang="0">
                        <a:pos x="36" y="23"/>
                      </a:cxn>
                      <a:cxn ang="0">
                        <a:pos x="23" y="26"/>
                      </a:cxn>
                      <a:cxn ang="0">
                        <a:pos x="15" y="30"/>
                      </a:cxn>
                      <a:cxn ang="0">
                        <a:pos x="5" y="26"/>
                      </a:cxn>
                      <a:cxn ang="0">
                        <a:pos x="2" y="28"/>
                      </a:cxn>
                      <a:cxn ang="0">
                        <a:pos x="0" y="32"/>
                      </a:cxn>
                      <a:cxn ang="0">
                        <a:pos x="4" y="47"/>
                      </a:cxn>
                      <a:cxn ang="0">
                        <a:pos x="5" y="47"/>
                      </a:cxn>
                      <a:cxn ang="0">
                        <a:pos x="7" y="46"/>
                      </a:cxn>
                      <a:cxn ang="0">
                        <a:pos x="9" y="46"/>
                      </a:cxn>
                      <a:cxn ang="0">
                        <a:pos x="9" y="59"/>
                      </a:cxn>
                      <a:cxn ang="0">
                        <a:pos x="11" y="61"/>
                      </a:cxn>
                      <a:cxn ang="0">
                        <a:pos x="17" y="63"/>
                      </a:cxn>
                      <a:cxn ang="0">
                        <a:pos x="34" y="63"/>
                      </a:cxn>
                      <a:cxn ang="0">
                        <a:pos x="59" y="63"/>
                      </a:cxn>
                      <a:cxn ang="0">
                        <a:pos x="67" y="67"/>
                      </a:cxn>
                      <a:cxn ang="0">
                        <a:pos x="69" y="67"/>
                      </a:cxn>
                      <a:cxn ang="0">
                        <a:pos x="76" y="76"/>
                      </a:cxn>
                      <a:cxn ang="0">
                        <a:pos x="78" y="78"/>
                      </a:cxn>
                      <a:cxn ang="0">
                        <a:pos x="82" y="78"/>
                      </a:cxn>
                      <a:cxn ang="0">
                        <a:pos x="90" y="72"/>
                      </a:cxn>
                      <a:cxn ang="0">
                        <a:pos x="100" y="72"/>
                      </a:cxn>
                      <a:cxn ang="0">
                        <a:pos x="105" y="67"/>
                      </a:cxn>
                      <a:cxn ang="0">
                        <a:pos x="111" y="61"/>
                      </a:cxn>
                      <a:cxn ang="0">
                        <a:pos x="117" y="51"/>
                      </a:cxn>
                      <a:cxn ang="0">
                        <a:pos x="124" y="36"/>
                      </a:cxn>
                      <a:cxn ang="0">
                        <a:pos x="136" y="30"/>
                      </a:cxn>
                      <a:cxn ang="0">
                        <a:pos x="147" y="26"/>
                      </a:cxn>
                      <a:cxn ang="0">
                        <a:pos x="153" y="23"/>
                      </a:cxn>
                      <a:cxn ang="0">
                        <a:pos x="153" y="17"/>
                      </a:cxn>
                      <a:cxn ang="0">
                        <a:pos x="153" y="9"/>
                      </a:cxn>
                      <a:cxn ang="0">
                        <a:pos x="144" y="0"/>
                      </a:cxn>
                      <a:cxn ang="0">
                        <a:pos x="134" y="0"/>
                      </a:cxn>
                    </a:cxnLst>
                    <a:rect l="0" t="0" r="r" b="b"/>
                    <a:pathLst>
                      <a:path w="153" h="78">
                        <a:moveTo>
                          <a:pt x="134" y="0"/>
                        </a:moveTo>
                        <a:lnTo>
                          <a:pt x="128" y="3"/>
                        </a:lnTo>
                        <a:lnTo>
                          <a:pt x="111" y="3"/>
                        </a:lnTo>
                        <a:lnTo>
                          <a:pt x="101" y="7"/>
                        </a:lnTo>
                        <a:lnTo>
                          <a:pt x="96" y="7"/>
                        </a:lnTo>
                        <a:lnTo>
                          <a:pt x="92" y="7"/>
                        </a:lnTo>
                        <a:lnTo>
                          <a:pt x="84" y="5"/>
                        </a:lnTo>
                        <a:lnTo>
                          <a:pt x="82" y="5"/>
                        </a:lnTo>
                        <a:lnTo>
                          <a:pt x="78" y="13"/>
                        </a:lnTo>
                        <a:lnTo>
                          <a:pt x="67" y="13"/>
                        </a:lnTo>
                        <a:lnTo>
                          <a:pt x="61" y="23"/>
                        </a:lnTo>
                        <a:lnTo>
                          <a:pt x="53" y="24"/>
                        </a:lnTo>
                        <a:lnTo>
                          <a:pt x="42" y="24"/>
                        </a:lnTo>
                        <a:lnTo>
                          <a:pt x="36" y="23"/>
                        </a:lnTo>
                        <a:lnTo>
                          <a:pt x="23" y="26"/>
                        </a:lnTo>
                        <a:lnTo>
                          <a:pt x="15" y="30"/>
                        </a:lnTo>
                        <a:lnTo>
                          <a:pt x="5" y="26"/>
                        </a:lnTo>
                        <a:lnTo>
                          <a:pt x="2" y="28"/>
                        </a:lnTo>
                        <a:lnTo>
                          <a:pt x="0" y="32"/>
                        </a:lnTo>
                        <a:lnTo>
                          <a:pt x="4" y="47"/>
                        </a:lnTo>
                        <a:lnTo>
                          <a:pt x="5" y="47"/>
                        </a:lnTo>
                        <a:lnTo>
                          <a:pt x="7" y="46"/>
                        </a:lnTo>
                        <a:lnTo>
                          <a:pt x="9" y="46"/>
                        </a:lnTo>
                        <a:lnTo>
                          <a:pt x="9" y="59"/>
                        </a:lnTo>
                        <a:lnTo>
                          <a:pt x="11" y="61"/>
                        </a:lnTo>
                        <a:lnTo>
                          <a:pt x="17" y="63"/>
                        </a:lnTo>
                        <a:lnTo>
                          <a:pt x="34" y="63"/>
                        </a:lnTo>
                        <a:lnTo>
                          <a:pt x="59" y="63"/>
                        </a:lnTo>
                        <a:lnTo>
                          <a:pt x="67" y="67"/>
                        </a:lnTo>
                        <a:lnTo>
                          <a:pt x="69" y="67"/>
                        </a:lnTo>
                        <a:lnTo>
                          <a:pt x="76" y="76"/>
                        </a:lnTo>
                        <a:lnTo>
                          <a:pt x="78" y="78"/>
                        </a:lnTo>
                        <a:lnTo>
                          <a:pt x="82" y="78"/>
                        </a:lnTo>
                        <a:lnTo>
                          <a:pt x="90" y="72"/>
                        </a:lnTo>
                        <a:lnTo>
                          <a:pt x="100" y="72"/>
                        </a:lnTo>
                        <a:lnTo>
                          <a:pt x="105" y="67"/>
                        </a:lnTo>
                        <a:lnTo>
                          <a:pt x="111" y="61"/>
                        </a:lnTo>
                        <a:lnTo>
                          <a:pt x="117" y="51"/>
                        </a:lnTo>
                        <a:lnTo>
                          <a:pt x="124" y="36"/>
                        </a:lnTo>
                        <a:lnTo>
                          <a:pt x="136" y="30"/>
                        </a:lnTo>
                        <a:lnTo>
                          <a:pt x="147" y="26"/>
                        </a:lnTo>
                        <a:lnTo>
                          <a:pt x="153" y="23"/>
                        </a:lnTo>
                        <a:lnTo>
                          <a:pt x="153" y="17"/>
                        </a:lnTo>
                        <a:lnTo>
                          <a:pt x="153" y="9"/>
                        </a:lnTo>
                        <a:lnTo>
                          <a:pt x="144" y="0"/>
                        </a:lnTo>
                        <a:lnTo>
                          <a:pt x="134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3" name="Freeform 40"/>
                  <p:cNvSpPr>
                    <a:spLocks/>
                  </p:cNvSpPr>
                  <p:nvPr/>
                </p:nvSpPr>
                <p:spPr bwMode="auto">
                  <a:xfrm>
                    <a:off x="6235700" y="-1038225"/>
                    <a:ext cx="49213" cy="31750"/>
                  </a:xfrm>
                  <a:custGeom>
                    <a:avLst/>
                    <a:gdLst/>
                    <a:ahLst/>
                    <a:cxnLst>
                      <a:cxn ang="0">
                        <a:pos x="0" y="16"/>
                      </a:cxn>
                      <a:cxn ang="0">
                        <a:pos x="14" y="4"/>
                      </a:cxn>
                      <a:cxn ang="0">
                        <a:pos x="27" y="0"/>
                      </a:cxn>
                      <a:cxn ang="0">
                        <a:pos x="29" y="0"/>
                      </a:cxn>
                      <a:cxn ang="0">
                        <a:pos x="31" y="0"/>
                      </a:cxn>
                      <a:cxn ang="0">
                        <a:pos x="31" y="4"/>
                      </a:cxn>
                      <a:cxn ang="0">
                        <a:pos x="29" y="8"/>
                      </a:cxn>
                      <a:cxn ang="0">
                        <a:pos x="16" y="14"/>
                      </a:cxn>
                      <a:cxn ang="0">
                        <a:pos x="10" y="18"/>
                      </a:cxn>
                      <a:cxn ang="0">
                        <a:pos x="0" y="20"/>
                      </a:cxn>
                      <a:cxn ang="0">
                        <a:pos x="0" y="16"/>
                      </a:cxn>
                    </a:cxnLst>
                    <a:rect l="0" t="0" r="r" b="b"/>
                    <a:pathLst>
                      <a:path w="31" h="20">
                        <a:moveTo>
                          <a:pt x="0" y="16"/>
                        </a:moveTo>
                        <a:lnTo>
                          <a:pt x="14" y="4"/>
                        </a:lnTo>
                        <a:lnTo>
                          <a:pt x="27" y="0"/>
                        </a:lnTo>
                        <a:lnTo>
                          <a:pt x="29" y="0"/>
                        </a:lnTo>
                        <a:lnTo>
                          <a:pt x="31" y="0"/>
                        </a:lnTo>
                        <a:lnTo>
                          <a:pt x="31" y="4"/>
                        </a:lnTo>
                        <a:lnTo>
                          <a:pt x="29" y="8"/>
                        </a:lnTo>
                        <a:lnTo>
                          <a:pt x="16" y="14"/>
                        </a:lnTo>
                        <a:lnTo>
                          <a:pt x="10" y="18"/>
                        </a:lnTo>
                        <a:lnTo>
                          <a:pt x="0" y="20"/>
                        </a:lnTo>
                        <a:lnTo>
                          <a:pt x="0" y="16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4" name="Freeform 41"/>
                  <p:cNvSpPr>
                    <a:spLocks/>
                  </p:cNvSpPr>
                  <p:nvPr/>
                </p:nvSpPr>
                <p:spPr bwMode="auto">
                  <a:xfrm>
                    <a:off x="6215063" y="-1128713"/>
                    <a:ext cx="82550" cy="90488"/>
                  </a:xfrm>
                  <a:custGeom>
                    <a:avLst/>
                    <a:gdLst/>
                    <a:ahLst/>
                    <a:cxnLst>
                      <a:cxn ang="0">
                        <a:pos x="40" y="0"/>
                      </a:cxn>
                      <a:cxn ang="0">
                        <a:pos x="44" y="0"/>
                      </a:cxn>
                      <a:cxn ang="0">
                        <a:pos x="46" y="4"/>
                      </a:cxn>
                      <a:cxn ang="0">
                        <a:pos x="50" y="15"/>
                      </a:cxn>
                      <a:cxn ang="0">
                        <a:pos x="52" y="21"/>
                      </a:cxn>
                      <a:cxn ang="0">
                        <a:pos x="48" y="27"/>
                      </a:cxn>
                      <a:cxn ang="0">
                        <a:pos x="44" y="34"/>
                      </a:cxn>
                      <a:cxn ang="0">
                        <a:pos x="34" y="42"/>
                      </a:cxn>
                      <a:cxn ang="0">
                        <a:pos x="27" y="50"/>
                      </a:cxn>
                      <a:cxn ang="0">
                        <a:pos x="17" y="54"/>
                      </a:cxn>
                      <a:cxn ang="0">
                        <a:pos x="8" y="57"/>
                      </a:cxn>
                      <a:cxn ang="0">
                        <a:pos x="4" y="57"/>
                      </a:cxn>
                      <a:cxn ang="0">
                        <a:pos x="0" y="54"/>
                      </a:cxn>
                      <a:cxn ang="0">
                        <a:pos x="2" y="40"/>
                      </a:cxn>
                      <a:cxn ang="0">
                        <a:pos x="2" y="29"/>
                      </a:cxn>
                      <a:cxn ang="0">
                        <a:pos x="2" y="21"/>
                      </a:cxn>
                      <a:cxn ang="0">
                        <a:pos x="6" y="13"/>
                      </a:cxn>
                      <a:cxn ang="0">
                        <a:pos x="10" y="9"/>
                      </a:cxn>
                      <a:cxn ang="0">
                        <a:pos x="17" y="9"/>
                      </a:cxn>
                      <a:cxn ang="0">
                        <a:pos x="25" y="8"/>
                      </a:cxn>
                      <a:cxn ang="0">
                        <a:pos x="29" y="9"/>
                      </a:cxn>
                      <a:cxn ang="0">
                        <a:pos x="34" y="9"/>
                      </a:cxn>
                      <a:cxn ang="0">
                        <a:pos x="38" y="2"/>
                      </a:cxn>
                      <a:cxn ang="0">
                        <a:pos x="40" y="0"/>
                      </a:cxn>
                    </a:cxnLst>
                    <a:rect l="0" t="0" r="r" b="b"/>
                    <a:pathLst>
                      <a:path w="52" h="57">
                        <a:moveTo>
                          <a:pt x="40" y="0"/>
                        </a:moveTo>
                        <a:lnTo>
                          <a:pt x="44" y="0"/>
                        </a:lnTo>
                        <a:lnTo>
                          <a:pt x="46" y="4"/>
                        </a:lnTo>
                        <a:lnTo>
                          <a:pt x="50" y="15"/>
                        </a:lnTo>
                        <a:lnTo>
                          <a:pt x="52" y="21"/>
                        </a:lnTo>
                        <a:lnTo>
                          <a:pt x="48" y="27"/>
                        </a:lnTo>
                        <a:lnTo>
                          <a:pt x="44" y="34"/>
                        </a:lnTo>
                        <a:lnTo>
                          <a:pt x="34" y="42"/>
                        </a:lnTo>
                        <a:lnTo>
                          <a:pt x="27" y="50"/>
                        </a:lnTo>
                        <a:lnTo>
                          <a:pt x="17" y="54"/>
                        </a:lnTo>
                        <a:lnTo>
                          <a:pt x="8" y="57"/>
                        </a:lnTo>
                        <a:lnTo>
                          <a:pt x="4" y="57"/>
                        </a:lnTo>
                        <a:lnTo>
                          <a:pt x="0" y="54"/>
                        </a:lnTo>
                        <a:lnTo>
                          <a:pt x="2" y="40"/>
                        </a:lnTo>
                        <a:lnTo>
                          <a:pt x="2" y="29"/>
                        </a:lnTo>
                        <a:lnTo>
                          <a:pt x="2" y="21"/>
                        </a:lnTo>
                        <a:lnTo>
                          <a:pt x="6" y="13"/>
                        </a:lnTo>
                        <a:lnTo>
                          <a:pt x="10" y="9"/>
                        </a:lnTo>
                        <a:lnTo>
                          <a:pt x="17" y="9"/>
                        </a:lnTo>
                        <a:lnTo>
                          <a:pt x="25" y="8"/>
                        </a:lnTo>
                        <a:lnTo>
                          <a:pt x="29" y="9"/>
                        </a:lnTo>
                        <a:lnTo>
                          <a:pt x="34" y="9"/>
                        </a:lnTo>
                        <a:lnTo>
                          <a:pt x="38" y="2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6" name="Freeform 42"/>
                  <p:cNvSpPr>
                    <a:spLocks/>
                  </p:cNvSpPr>
                  <p:nvPr/>
                </p:nvSpPr>
                <p:spPr bwMode="auto">
                  <a:xfrm>
                    <a:off x="6145213" y="-1116013"/>
                    <a:ext cx="69850" cy="136525"/>
                  </a:xfrm>
                  <a:custGeom>
                    <a:avLst/>
                    <a:gdLst/>
                    <a:ahLst/>
                    <a:cxnLst>
                      <a:cxn ang="0">
                        <a:pos x="30" y="0"/>
                      </a:cxn>
                      <a:cxn ang="0">
                        <a:pos x="32" y="0"/>
                      </a:cxn>
                      <a:cxn ang="0">
                        <a:pos x="36" y="9"/>
                      </a:cxn>
                      <a:cxn ang="0">
                        <a:pos x="38" y="13"/>
                      </a:cxn>
                      <a:cxn ang="0">
                        <a:pos x="38" y="19"/>
                      </a:cxn>
                      <a:cxn ang="0">
                        <a:pos x="38" y="30"/>
                      </a:cxn>
                      <a:cxn ang="0">
                        <a:pos x="38" y="40"/>
                      </a:cxn>
                      <a:cxn ang="0">
                        <a:pos x="38" y="42"/>
                      </a:cxn>
                      <a:cxn ang="0">
                        <a:pos x="44" y="59"/>
                      </a:cxn>
                      <a:cxn ang="0">
                        <a:pos x="44" y="63"/>
                      </a:cxn>
                      <a:cxn ang="0">
                        <a:pos x="36" y="69"/>
                      </a:cxn>
                      <a:cxn ang="0">
                        <a:pos x="27" y="69"/>
                      </a:cxn>
                      <a:cxn ang="0">
                        <a:pos x="23" y="69"/>
                      </a:cxn>
                      <a:cxn ang="0">
                        <a:pos x="21" y="74"/>
                      </a:cxn>
                      <a:cxn ang="0">
                        <a:pos x="19" y="84"/>
                      </a:cxn>
                      <a:cxn ang="0">
                        <a:pos x="17" y="86"/>
                      </a:cxn>
                      <a:cxn ang="0">
                        <a:pos x="13" y="82"/>
                      </a:cxn>
                      <a:cxn ang="0">
                        <a:pos x="4" y="76"/>
                      </a:cxn>
                      <a:cxn ang="0">
                        <a:pos x="0" y="71"/>
                      </a:cxn>
                      <a:cxn ang="0">
                        <a:pos x="2" y="65"/>
                      </a:cxn>
                      <a:cxn ang="0">
                        <a:pos x="9" y="57"/>
                      </a:cxn>
                      <a:cxn ang="0">
                        <a:pos x="15" y="49"/>
                      </a:cxn>
                      <a:cxn ang="0">
                        <a:pos x="17" y="46"/>
                      </a:cxn>
                      <a:cxn ang="0">
                        <a:pos x="17" y="44"/>
                      </a:cxn>
                      <a:cxn ang="0">
                        <a:pos x="21" y="19"/>
                      </a:cxn>
                      <a:cxn ang="0">
                        <a:pos x="25" y="9"/>
                      </a:cxn>
                      <a:cxn ang="0">
                        <a:pos x="29" y="1"/>
                      </a:cxn>
                      <a:cxn ang="0">
                        <a:pos x="30" y="0"/>
                      </a:cxn>
                    </a:cxnLst>
                    <a:rect l="0" t="0" r="r" b="b"/>
                    <a:pathLst>
                      <a:path w="44" h="86">
                        <a:moveTo>
                          <a:pt x="30" y="0"/>
                        </a:moveTo>
                        <a:lnTo>
                          <a:pt x="32" y="0"/>
                        </a:lnTo>
                        <a:lnTo>
                          <a:pt x="36" y="9"/>
                        </a:lnTo>
                        <a:lnTo>
                          <a:pt x="38" y="13"/>
                        </a:lnTo>
                        <a:lnTo>
                          <a:pt x="38" y="19"/>
                        </a:lnTo>
                        <a:lnTo>
                          <a:pt x="38" y="30"/>
                        </a:lnTo>
                        <a:lnTo>
                          <a:pt x="38" y="40"/>
                        </a:lnTo>
                        <a:lnTo>
                          <a:pt x="38" y="42"/>
                        </a:lnTo>
                        <a:lnTo>
                          <a:pt x="44" y="59"/>
                        </a:lnTo>
                        <a:lnTo>
                          <a:pt x="44" y="63"/>
                        </a:lnTo>
                        <a:lnTo>
                          <a:pt x="36" y="69"/>
                        </a:lnTo>
                        <a:lnTo>
                          <a:pt x="27" y="69"/>
                        </a:lnTo>
                        <a:lnTo>
                          <a:pt x="23" y="69"/>
                        </a:lnTo>
                        <a:lnTo>
                          <a:pt x="21" y="74"/>
                        </a:lnTo>
                        <a:lnTo>
                          <a:pt x="19" y="84"/>
                        </a:lnTo>
                        <a:lnTo>
                          <a:pt x="17" y="86"/>
                        </a:lnTo>
                        <a:lnTo>
                          <a:pt x="13" y="82"/>
                        </a:lnTo>
                        <a:lnTo>
                          <a:pt x="4" y="76"/>
                        </a:lnTo>
                        <a:lnTo>
                          <a:pt x="0" y="71"/>
                        </a:lnTo>
                        <a:lnTo>
                          <a:pt x="2" y="65"/>
                        </a:lnTo>
                        <a:lnTo>
                          <a:pt x="9" y="57"/>
                        </a:lnTo>
                        <a:lnTo>
                          <a:pt x="15" y="49"/>
                        </a:lnTo>
                        <a:lnTo>
                          <a:pt x="17" y="46"/>
                        </a:lnTo>
                        <a:lnTo>
                          <a:pt x="17" y="44"/>
                        </a:lnTo>
                        <a:lnTo>
                          <a:pt x="21" y="19"/>
                        </a:lnTo>
                        <a:lnTo>
                          <a:pt x="25" y="9"/>
                        </a:lnTo>
                        <a:lnTo>
                          <a:pt x="29" y="1"/>
                        </a:lnTo>
                        <a:lnTo>
                          <a:pt x="30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7" name="Freeform 43"/>
                  <p:cNvSpPr>
                    <a:spLocks/>
                  </p:cNvSpPr>
                  <p:nvPr/>
                </p:nvSpPr>
                <p:spPr bwMode="auto">
                  <a:xfrm>
                    <a:off x="6108700" y="-989013"/>
                    <a:ext cx="66675" cy="66675"/>
                  </a:xfrm>
                  <a:custGeom>
                    <a:avLst/>
                    <a:gdLst/>
                    <a:ahLst/>
                    <a:cxnLst>
                      <a:cxn ang="0">
                        <a:pos x="11" y="0"/>
                      </a:cxn>
                      <a:cxn ang="0">
                        <a:pos x="21" y="2"/>
                      </a:cxn>
                      <a:cxn ang="0">
                        <a:pos x="36" y="10"/>
                      </a:cxn>
                      <a:cxn ang="0">
                        <a:pos x="40" y="15"/>
                      </a:cxn>
                      <a:cxn ang="0">
                        <a:pos x="42" y="37"/>
                      </a:cxn>
                      <a:cxn ang="0">
                        <a:pos x="36" y="42"/>
                      </a:cxn>
                      <a:cxn ang="0">
                        <a:pos x="30" y="42"/>
                      </a:cxn>
                      <a:cxn ang="0">
                        <a:pos x="19" y="37"/>
                      </a:cxn>
                      <a:cxn ang="0">
                        <a:pos x="15" y="35"/>
                      </a:cxn>
                      <a:cxn ang="0">
                        <a:pos x="13" y="33"/>
                      </a:cxn>
                      <a:cxn ang="0">
                        <a:pos x="15" y="29"/>
                      </a:cxn>
                      <a:cxn ang="0">
                        <a:pos x="19" y="27"/>
                      </a:cxn>
                      <a:cxn ang="0">
                        <a:pos x="25" y="27"/>
                      </a:cxn>
                      <a:cxn ang="0">
                        <a:pos x="32" y="29"/>
                      </a:cxn>
                      <a:cxn ang="0">
                        <a:pos x="32" y="27"/>
                      </a:cxn>
                      <a:cxn ang="0">
                        <a:pos x="32" y="25"/>
                      </a:cxn>
                      <a:cxn ang="0">
                        <a:pos x="19" y="21"/>
                      </a:cxn>
                      <a:cxn ang="0">
                        <a:pos x="11" y="27"/>
                      </a:cxn>
                      <a:cxn ang="0">
                        <a:pos x="6" y="27"/>
                      </a:cxn>
                      <a:cxn ang="0">
                        <a:pos x="4" y="23"/>
                      </a:cxn>
                      <a:cxn ang="0">
                        <a:pos x="0" y="12"/>
                      </a:cxn>
                      <a:cxn ang="0">
                        <a:pos x="2" y="8"/>
                      </a:cxn>
                      <a:cxn ang="0">
                        <a:pos x="11" y="0"/>
                      </a:cxn>
                    </a:cxnLst>
                    <a:rect l="0" t="0" r="r" b="b"/>
                    <a:pathLst>
                      <a:path w="42" h="42">
                        <a:moveTo>
                          <a:pt x="11" y="0"/>
                        </a:moveTo>
                        <a:lnTo>
                          <a:pt x="21" y="2"/>
                        </a:lnTo>
                        <a:lnTo>
                          <a:pt x="36" y="10"/>
                        </a:lnTo>
                        <a:lnTo>
                          <a:pt x="40" y="15"/>
                        </a:lnTo>
                        <a:lnTo>
                          <a:pt x="42" y="37"/>
                        </a:lnTo>
                        <a:lnTo>
                          <a:pt x="36" y="42"/>
                        </a:lnTo>
                        <a:lnTo>
                          <a:pt x="30" y="42"/>
                        </a:lnTo>
                        <a:lnTo>
                          <a:pt x="19" y="37"/>
                        </a:lnTo>
                        <a:lnTo>
                          <a:pt x="15" y="35"/>
                        </a:lnTo>
                        <a:lnTo>
                          <a:pt x="13" y="33"/>
                        </a:lnTo>
                        <a:lnTo>
                          <a:pt x="15" y="29"/>
                        </a:lnTo>
                        <a:lnTo>
                          <a:pt x="19" y="27"/>
                        </a:lnTo>
                        <a:lnTo>
                          <a:pt x="25" y="27"/>
                        </a:lnTo>
                        <a:lnTo>
                          <a:pt x="32" y="29"/>
                        </a:lnTo>
                        <a:lnTo>
                          <a:pt x="32" y="27"/>
                        </a:lnTo>
                        <a:lnTo>
                          <a:pt x="32" y="25"/>
                        </a:lnTo>
                        <a:lnTo>
                          <a:pt x="19" y="21"/>
                        </a:lnTo>
                        <a:lnTo>
                          <a:pt x="11" y="27"/>
                        </a:lnTo>
                        <a:lnTo>
                          <a:pt x="6" y="27"/>
                        </a:lnTo>
                        <a:lnTo>
                          <a:pt x="4" y="23"/>
                        </a:lnTo>
                        <a:lnTo>
                          <a:pt x="0" y="12"/>
                        </a:lnTo>
                        <a:lnTo>
                          <a:pt x="2" y="8"/>
                        </a:lnTo>
                        <a:lnTo>
                          <a:pt x="11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8" name="Freeform 44"/>
                  <p:cNvSpPr>
                    <a:spLocks/>
                  </p:cNvSpPr>
                  <p:nvPr/>
                </p:nvSpPr>
                <p:spPr bwMode="auto">
                  <a:xfrm>
                    <a:off x="6175375" y="-925513"/>
                    <a:ext cx="23813" cy="19050"/>
                  </a:xfrm>
                  <a:custGeom>
                    <a:avLst/>
                    <a:gdLst/>
                    <a:ahLst/>
                    <a:cxnLst>
                      <a:cxn ang="0">
                        <a:pos x="6" y="12"/>
                      </a:cxn>
                      <a:cxn ang="0">
                        <a:pos x="0" y="10"/>
                      </a:cxn>
                      <a:cxn ang="0">
                        <a:pos x="0" y="8"/>
                      </a:cxn>
                      <a:cxn ang="0">
                        <a:pos x="2" y="6"/>
                      </a:cxn>
                      <a:cxn ang="0">
                        <a:pos x="8" y="4"/>
                      </a:cxn>
                      <a:cxn ang="0">
                        <a:pos x="10" y="0"/>
                      </a:cxn>
                      <a:cxn ang="0">
                        <a:pos x="13" y="0"/>
                      </a:cxn>
                      <a:cxn ang="0">
                        <a:pos x="15" y="4"/>
                      </a:cxn>
                      <a:cxn ang="0">
                        <a:pos x="13" y="8"/>
                      </a:cxn>
                      <a:cxn ang="0">
                        <a:pos x="6" y="12"/>
                      </a:cxn>
                    </a:cxnLst>
                    <a:rect l="0" t="0" r="r" b="b"/>
                    <a:pathLst>
                      <a:path w="15" h="12">
                        <a:moveTo>
                          <a:pt x="6" y="12"/>
                        </a:moveTo>
                        <a:lnTo>
                          <a:pt x="0" y="10"/>
                        </a:lnTo>
                        <a:lnTo>
                          <a:pt x="0" y="8"/>
                        </a:lnTo>
                        <a:lnTo>
                          <a:pt x="2" y="6"/>
                        </a:lnTo>
                        <a:lnTo>
                          <a:pt x="8" y="4"/>
                        </a:lnTo>
                        <a:lnTo>
                          <a:pt x="10" y="0"/>
                        </a:lnTo>
                        <a:lnTo>
                          <a:pt x="13" y="0"/>
                        </a:lnTo>
                        <a:lnTo>
                          <a:pt x="15" y="4"/>
                        </a:lnTo>
                        <a:lnTo>
                          <a:pt x="13" y="8"/>
                        </a:lnTo>
                        <a:lnTo>
                          <a:pt x="6" y="1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9" name="Freeform 45"/>
                  <p:cNvSpPr>
                    <a:spLocks/>
                  </p:cNvSpPr>
                  <p:nvPr/>
                </p:nvSpPr>
                <p:spPr bwMode="auto">
                  <a:xfrm>
                    <a:off x="6165850" y="-896938"/>
                    <a:ext cx="22225" cy="11113"/>
                  </a:xfrm>
                  <a:custGeom>
                    <a:avLst/>
                    <a:gdLst/>
                    <a:ahLst/>
                    <a:cxnLst>
                      <a:cxn ang="0">
                        <a:pos x="14" y="0"/>
                      </a:cxn>
                      <a:cxn ang="0">
                        <a:pos x="14" y="2"/>
                      </a:cxn>
                      <a:cxn ang="0">
                        <a:pos x="10" y="7"/>
                      </a:cxn>
                      <a:cxn ang="0">
                        <a:pos x="0" y="4"/>
                      </a:cxn>
                      <a:cxn ang="0">
                        <a:pos x="0" y="2"/>
                      </a:cxn>
                      <a:cxn ang="0">
                        <a:pos x="14" y="0"/>
                      </a:cxn>
                    </a:cxnLst>
                    <a:rect l="0" t="0" r="r" b="b"/>
                    <a:pathLst>
                      <a:path w="14" h="7">
                        <a:moveTo>
                          <a:pt x="14" y="0"/>
                        </a:moveTo>
                        <a:lnTo>
                          <a:pt x="14" y="2"/>
                        </a:lnTo>
                        <a:lnTo>
                          <a:pt x="10" y="7"/>
                        </a:lnTo>
                        <a:lnTo>
                          <a:pt x="0" y="4"/>
                        </a:lnTo>
                        <a:lnTo>
                          <a:pt x="0" y="2"/>
                        </a:lnTo>
                        <a:lnTo>
                          <a:pt x="14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0" name="Freeform 46"/>
                  <p:cNvSpPr>
                    <a:spLocks/>
                  </p:cNvSpPr>
                  <p:nvPr/>
                </p:nvSpPr>
                <p:spPr bwMode="auto">
                  <a:xfrm>
                    <a:off x="6148388" y="-882650"/>
                    <a:ext cx="30163" cy="19050"/>
                  </a:xfrm>
                  <a:custGeom>
                    <a:avLst/>
                    <a:gdLst/>
                    <a:ahLst/>
                    <a:cxnLst>
                      <a:cxn ang="0">
                        <a:pos x="17" y="2"/>
                      </a:cxn>
                      <a:cxn ang="0">
                        <a:pos x="19" y="4"/>
                      </a:cxn>
                      <a:cxn ang="0">
                        <a:pos x="19" y="6"/>
                      </a:cxn>
                      <a:cxn ang="0">
                        <a:pos x="13" y="12"/>
                      </a:cxn>
                      <a:cxn ang="0">
                        <a:pos x="9" y="12"/>
                      </a:cxn>
                      <a:cxn ang="0">
                        <a:pos x="0" y="6"/>
                      </a:cxn>
                      <a:cxn ang="0">
                        <a:pos x="0" y="4"/>
                      </a:cxn>
                      <a:cxn ang="0">
                        <a:pos x="2" y="2"/>
                      </a:cxn>
                      <a:cxn ang="0">
                        <a:pos x="5" y="0"/>
                      </a:cxn>
                      <a:cxn ang="0">
                        <a:pos x="17" y="2"/>
                      </a:cxn>
                    </a:cxnLst>
                    <a:rect l="0" t="0" r="r" b="b"/>
                    <a:pathLst>
                      <a:path w="19" h="12">
                        <a:moveTo>
                          <a:pt x="17" y="2"/>
                        </a:moveTo>
                        <a:lnTo>
                          <a:pt x="19" y="4"/>
                        </a:lnTo>
                        <a:lnTo>
                          <a:pt x="19" y="6"/>
                        </a:lnTo>
                        <a:lnTo>
                          <a:pt x="13" y="12"/>
                        </a:lnTo>
                        <a:lnTo>
                          <a:pt x="9" y="12"/>
                        </a:lnTo>
                        <a:lnTo>
                          <a:pt x="0" y="6"/>
                        </a:lnTo>
                        <a:lnTo>
                          <a:pt x="0" y="4"/>
                        </a:lnTo>
                        <a:lnTo>
                          <a:pt x="2" y="2"/>
                        </a:lnTo>
                        <a:lnTo>
                          <a:pt x="5" y="0"/>
                        </a:lnTo>
                        <a:lnTo>
                          <a:pt x="17" y="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1" name="Freeform 47"/>
                  <p:cNvSpPr>
                    <a:spLocks/>
                  </p:cNvSpPr>
                  <p:nvPr/>
                </p:nvSpPr>
                <p:spPr bwMode="auto">
                  <a:xfrm>
                    <a:off x="6089650" y="-869950"/>
                    <a:ext cx="112713" cy="112713"/>
                  </a:xfrm>
                  <a:custGeom>
                    <a:avLst/>
                    <a:gdLst/>
                    <a:ahLst/>
                    <a:cxnLst>
                      <a:cxn ang="0">
                        <a:pos x="50" y="11"/>
                      </a:cxn>
                      <a:cxn ang="0">
                        <a:pos x="58" y="4"/>
                      </a:cxn>
                      <a:cxn ang="0">
                        <a:pos x="60" y="6"/>
                      </a:cxn>
                      <a:cxn ang="0">
                        <a:pos x="62" y="11"/>
                      </a:cxn>
                      <a:cxn ang="0">
                        <a:pos x="60" y="15"/>
                      </a:cxn>
                      <a:cxn ang="0">
                        <a:pos x="60" y="19"/>
                      </a:cxn>
                      <a:cxn ang="0">
                        <a:pos x="69" y="35"/>
                      </a:cxn>
                      <a:cxn ang="0">
                        <a:pos x="71" y="44"/>
                      </a:cxn>
                      <a:cxn ang="0">
                        <a:pos x="67" y="56"/>
                      </a:cxn>
                      <a:cxn ang="0">
                        <a:pos x="62" y="59"/>
                      </a:cxn>
                      <a:cxn ang="0">
                        <a:pos x="52" y="61"/>
                      </a:cxn>
                      <a:cxn ang="0">
                        <a:pos x="48" y="65"/>
                      </a:cxn>
                      <a:cxn ang="0">
                        <a:pos x="41" y="65"/>
                      </a:cxn>
                      <a:cxn ang="0">
                        <a:pos x="35" y="71"/>
                      </a:cxn>
                      <a:cxn ang="0">
                        <a:pos x="31" y="71"/>
                      </a:cxn>
                      <a:cxn ang="0">
                        <a:pos x="27" y="67"/>
                      </a:cxn>
                      <a:cxn ang="0">
                        <a:pos x="19" y="65"/>
                      </a:cxn>
                      <a:cxn ang="0">
                        <a:pos x="12" y="54"/>
                      </a:cxn>
                      <a:cxn ang="0">
                        <a:pos x="4" y="48"/>
                      </a:cxn>
                      <a:cxn ang="0">
                        <a:pos x="0" y="40"/>
                      </a:cxn>
                      <a:cxn ang="0">
                        <a:pos x="2" y="35"/>
                      </a:cxn>
                      <a:cxn ang="0">
                        <a:pos x="10" y="25"/>
                      </a:cxn>
                      <a:cxn ang="0">
                        <a:pos x="18" y="10"/>
                      </a:cxn>
                      <a:cxn ang="0">
                        <a:pos x="21" y="2"/>
                      </a:cxn>
                      <a:cxn ang="0">
                        <a:pos x="27" y="0"/>
                      </a:cxn>
                      <a:cxn ang="0">
                        <a:pos x="31" y="2"/>
                      </a:cxn>
                      <a:cxn ang="0">
                        <a:pos x="35" y="6"/>
                      </a:cxn>
                      <a:cxn ang="0">
                        <a:pos x="41" y="8"/>
                      </a:cxn>
                      <a:cxn ang="0">
                        <a:pos x="42" y="11"/>
                      </a:cxn>
                      <a:cxn ang="0">
                        <a:pos x="46" y="13"/>
                      </a:cxn>
                      <a:cxn ang="0">
                        <a:pos x="50" y="11"/>
                      </a:cxn>
                    </a:cxnLst>
                    <a:rect l="0" t="0" r="r" b="b"/>
                    <a:pathLst>
                      <a:path w="71" h="71">
                        <a:moveTo>
                          <a:pt x="50" y="11"/>
                        </a:moveTo>
                        <a:lnTo>
                          <a:pt x="58" y="4"/>
                        </a:lnTo>
                        <a:lnTo>
                          <a:pt x="60" y="6"/>
                        </a:lnTo>
                        <a:lnTo>
                          <a:pt x="62" y="11"/>
                        </a:lnTo>
                        <a:lnTo>
                          <a:pt x="60" y="15"/>
                        </a:lnTo>
                        <a:lnTo>
                          <a:pt x="60" y="19"/>
                        </a:lnTo>
                        <a:lnTo>
                          <a:pt x="69" y="35"/>
                        </a:lnTo>
                        <a:lnTo>
                          <a:pt x="71" y="44"/>
                        </a:lnTo>
                        <a:lnTo>
                          <a:pt x="67" y="56"/>
                        </a:lnTo>
                        <a:lnTo>
                          <a:pt x="62" y="59"/>
                        </a:lnTo>
                        <a:lnTo>
                          <a:pt x="52" y="61"/>
                        </a:lnTo>
                        <a:lnTo>
                          <a:pt x="48" y="65"/>
                        </a:lnTo>
                        <a:lnTo>
                          <a:pt x="41" y="65"/>
                        </a:lnTo>
                        <a:lnTo>
                          <a:pt x="35" y="71"/>
                        </a:lnTo>
                        <a:lnTo>
                          <a:pt x="31" y="71"/>
                        </a:lnTo>
                        <a:lnTo>
                          <a:pt x="27" y="67"/>
                        </a:lnTo>
                        <a:lnTo>
                          <a:pt x="19" y="65"/>
                        </a:lnTo>
                        <a:lnTo>
                          <a:pt x="12" y="54"/>
                        </a:lnTo>
                        <a:lnTo>
                          <a:pt x="4" y="48"/>
                        </a:lnTo>
                        <a:lnTo>
                          <a:pt x="0" y="40"/>
                        </a:lnTo>
                        <a:lnTo>
                          <a:pt x="2" y="35"/>
                        </a:lnTo>
                        <a:lnTo>
                          <a:pt x="10" y="25"/>
                        </a:lnTo>
                        <a:lnTo>
                          <a:pt x="18" y="10"/>
                        </a:lnTo>
                        <a:lnTo>
                          <a:pt x="21" y="2"/>
                        </a:lnTo>
                        <a:lnTo>
                          <a:pt x="27" y="0"/>
                        </a:lnTo>
                        <a:lnTo>
                          <a:pt x="31" y="2"/>
                        </a:lnTo>
                        <a:lnTo>
                          <a:pt x="35" y="6"/>
                        </a:lnTo>
                        <a:lnTo>
                          <a:pt x="41" y="8"/>
                        </a:lnTo>
                        <a:lnTo>
                          <a:pt x="42" y="11"/>
                        </a:lnTo>
                        <a:lnTo>
                          <a:pt x="46" y="13"/>
                        </a:lnTo>
                        <a:lnTo>
                          <a:pt x="50" y="11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2" name="Freeform 48"/>
                  <p:cNvSpPr>
                    <a:spLocks/>
                  </p:cNvSpPr>
                  <p:nvPr/>
                </p:nvSpPr>
                <p:spPr bwMode="auto">
                  <a:xfrm>
                    <a:off x="6010275" y="-946150"/>
                    <a:ext cx="69850" cy="26988"/>
                  </a:xfrm>
                  <a:custGeom>
                    <a:avLst/>
                    <a:gdLst/>
                    <a:ahLst/>
                    <a:cxnLst>
                      <a:cxn ang="0">
                        <a:pos x="33" y="0"/>
                      </a:cxn>
                      <a:cxn ang="0">
                        <a:pos x="41" y="2"/>
                      </a:cxn>
                      <a:cxn ang="0">
                        <a:pos x="44" y="6"/>
                      </a:cxn>
                      <a:cxn ang="0">
                        <a:pos x="43" y="10"/>
                      </a:cxn>
                      <a:cxn ang="0">
                        <a:pos x="37" y="10"/>
                      </a:cxn>
                      <a:cxn ang="0">
                        <a:pos x="27" y="13"/>
                      </a:cxn>
                      <a:cxn ang="0">
                        <a:pos x="18" y="12"/>
                      </a:cxn>
                      <a:cxn ang="0">
                        <a:pos x="8" y="17"/>
                      </a:cxn>
                      <a:cxn ang="0">
                        <a:pos x="4" y="17"/>
                      </a:cxn>
                      <a:cxn ang="0">
                        <a:pos x="0" y="15"/>
                      </a:cxn>
                      <a:cxn ang="0">
                        <a:pos x="2" y="12"/>
                      </a:cxn>
                      <a:cxn ang="0">
                        <a:pos x="20" y="6"/>
                      </a:cxn>
                      <a:cxn ang="0">
                        <a:pos x="33" y="0"/>
                      </a:cxn>
                    </a:cxnLst>
                    <a:rect l="0" t="0" r="r" b="b"/>
                    <a:pathLst>
                      <a:path w="44" h="17">
                        <a:moveTo>
                          <a:pt x="33" y="0"/>
                        </a:moveTo>
                        <a:lnTo>
                          <a:pt x="41" y="2"/>
                        </a:lnTo>
                        <a:lnTo>
                          <a:pt x="44" y="6"/>
                        </a:lnTo>
                        <a:lnTo>
                          <a:pt x="43" y="10"/>
                        </a:lnTo>
                        <a:lnTo>
                          <a:pt x="37" y="10"/>
                        </a:lnTo>
                        <a:lnTo>
                          <a:pt x="27" y="13"/>
                        </a:lnTo>
                        <a:lnTo>
                          <a:pt x="18" y="12"/>
                        </a:lnTo>
                        <a:lnTo>
                          <a:pt x="8" y="17"/>
                        </a:lnTo>
                        <a:lnTo>
                          <a:pt x="4" y="17"/>
                        </a:lnTo>
                        <a:lnTo>
                          <a:pt x="0" y="15"/>
                        </a:lnTo>
                        <a:lnTo>
                          <a:pt x="2" y="12"/>
                        </a:lnTo>
                        <a:lnTo>
                          <a:pt x="20" y="6"/>
                        </a:lnTo>
                        <a:lnTo>
                          <a:pt x="33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3" name="Freeform 49"/>
                  <p:cNvSpPr>
                    <a:spLocks/>
                  </p:cNvSpPr>
                  <p:nvPr/>
                </p:nvSpPr>
                <p:spPr bwMode="auto">
                  <a:xfrm>
                    <a:off x="5992813" y="-933450"/>
                    <a:ext cx="119063" cy="79375"/>
                  </a:xfrm>
                  <a:custGeom>
                    <a:avLst/>
                    <a:gdLst/>
                    <a:ahLst/>
                    <a:cxnLst>
                      <a:cxn ang="0">
                        <a:pos x="63" y="0"/>
                      </a:cxn>
                      <a:cxn ang="0">
                        <a:pos x="71" y="0"/>
                      </a:cxn>
                      <a:cxn ang="0">
                        <a:pos x="73" y="5"/>
                      </a:cxn>
                      <a:cxn ang="0">
                        <a:pos x="75" y="19"/>
                      </a:cxn>
                      <a:cxn ang="0">
                        <a:pos x="71" y="27"/>
                      </a:cxn>
                      <a:cxn ang="0">
                        <a:pos x="69" y="32"/>
                      </a:cxn>
                      <a:cxn ang="0">
                        <a:pos x="65" y="34"/>
                      </a:cxn>
                      <a:cxn ang="0">
                        <a:pos x="61" y="36"/>
                      </a:cxn>
                      <a:cxn ang="0">
                        <a:pos x="59" y="34"/>
                      </a:cxn>
                      <a:cxn ang="0">
                        <a:pos x="57" y="34"/>
                      </a:cxn>
                      <a:cxn ang="0">
                        <a:pos x="42" y="42"/>
                      </a:cxn>
                      <a:cxn ang="0">
                        <a:pos x="31" y="44"/>
                      </a:cxn>
                      <a:cxn ang="0">
                        <a:pos x="21" y="50"/>
                      </a:cxn>
                      <a:cxn ang="0">
                        <a:pos x="17" y="50"/>
                      </a:cxn>
                      <a:cxn ang="0">
                        <a:pos x="11" y="46"/>
                      </a:cxn>
                      <a:cxn ang="0">
                        <a:pos x="4" y="46"/>
                      </a:cxn>
                      <a:cxn ang="0">
                        <a:pos x="0" y="46"/>
                      </a:cxn>
                      <a:cxn ang="0">
                        <a:pos x="0" y="40"/>
                      </a:cxn>
                      <a:cxn ang="0">
                        <a:pos x="2" y="38"/>
                      </a:cxn>
                      <a:cxn ang="0">
                        <a:pos x="2" y="30"/>
                      </a:cxn>
                      <a:cxn ang="0">
                        <a:pos x="9" y="15"/>
                      </a:cxn>
                      <a:cxn ang="0">
                        <a:pos x="38" y="9"/>
                      </a:cxn>
                      <a:cxn ang="0">
                        <a:pos x="52" y="5"/>
                      </a:cxn>
                      <a:cxn ang="0">
                        <a:pos x="63" y="0"/>
                      </a:cxn>
                    </a:cxnLst>
                    <a:rect l="0" t="0" r="r" b="b"/>
                    <a:pathLst>
                      <a:path w="75" h="50">
                        <a:moveTo>
                          <a:pt x="63" y="0"/>
                        </a:moveTo>
                        <a:lnTo>
                          <a:pt x="71" y="0"/>
                        </a:lnTo>
                        <a:lnTo>
                          <a:pt x="73" y="5"/>
                        </a:lnTo>
                        <a:lnTo>
                          <a:pt x="75" y="19"/>
                        </a:lnTo>
                        <a:lnTo>
                          <a:pt x="71" y="27"/>
                        </a:lnTo>
                        <a:lnTo>
                          <a:pt x="69" y="32"/>
                        </a:lnTo>
                        <a:lnTo>
                          <a:pt x="65" y="34"/>
                        </a:lnTo>
                        <a:lnTo>
                          <a:pt x="61" y="36"/>
                        </a:lnTo>
                        <a:lnTo>
                          <a:pt x="59" y="34"/>
                        </a:lnTo>
                        <a:lnTo>
                          <a:pt x="57" y="34"/>
                        </a:lnTo>
                        <a:lnTo>
                          <a:pt x="42" y="42"/>
                        </a:lnTo>
                        <a:lnTo>
                          <a:pt x="31" y="44"/>
                        </a:lnTo>
                        <a:lnTo>
                          <a:pt x="21" y="50"/>
                        </a:lnTo>
                        <a:lnTo>
                          <a:pt x="17" y="50"/>
                        </a:lnTo>
                        <a:lnTo>
                          <a:pt x="11" y="46"/>
                        </a:lnTo>
                        <a:lnTo>
                          <a:pt x="4" y="46"/>
                        </a:lnTo>
                        <a:lnTo>
                          <a:pt x="0" y="46"/>
                        </a:lnTo>
                        <a:lnTo>
                          <a:pt x="0" y="40"/>
                        </a:lnTo>
                        <a:lnTo>
                          <a:pt x="2" y="38"/>
                        </a:lnTo>
                        <a:lnTo>
                          <a:pt x="2" y="30"/>
                        </a:lnTo>
                        <a:lnTo>
                          <a:pt x="9" y="15"/>
                        </a:lnTo>
                        <a:lnTo>
                          <a:pt x="38" y="9"/>
                        </a:lnTo>
                        <a:lnTo>
                          <a:pt x="52" y="5"/>
                        </a:lnTo>
                        <a:lnTo>
                          <a:pt x="63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4" name="Freeform 50"/>
                  <p:cNvSpPr>
                    <a:spLocks/>
                  </p:cNvSpPr>
                  <p:nvPr/>
                </p:nvSpPr>
                <p:spPr bwMode="auto">
                  <a:xfrm>
                    <a:off x="6035675" y="-860425"/>
                    <a:ext cx="42863" cy="36513"/>
                  </a:xfrm>
                  <a:custGeom>
                    <a:avLst/>
                    <a:gdLst/>
                    <a:ahLst/>
                    <a:cxnLst>
                      <a:cxn ang="0">
                        <a:pos x="23" y="0"/>
                      </a:cxn>
                      <a:cxn ang="0">
                        <a:pos x="27" y="0"/>
                      </a:cxn>
                      <a:cxn ang="0">
                        <a:pos x="27" y="13"/>
                      </a:cxn>
                      <a:cxn ang="0">
                        <a:pos x="23" y="19"/>
                      </a:cxn>
                      <a:cxn ang="0">
                        <a:pos x="21" y="21"/>
                      </a:cxn>
                      <a:cxn ang="0">
                        <a:pos x="11" y="23"/>
                      </a:cxn>
                      <a:cxn ang="0">
                        <a:pos x="2" y="23"/>
                      </a:cxn>
                      <a:cxn ang="0">
                        <a:pos x="0" y="21"/>
                      </a:cxn>
                      <a:cxn ang="0">
                        <a:pos x="0" y="19"/>
                      </a:cxn>
                      <a:cxn ang="0">
                        <a:pos x="2" y="13"/>
                      </a:cxn>
                      <a:cxn ang="0">
                        <a:pos x="13" y="9"/>
                      </a:cxn>
                      <a:cxn ang="0">
                        <a:pos x="23" y="0"/>
                      </a:cxn>
                    </a:cxnLst>
                    <a:rect l="0" t="0" r="r" b="b"/>
                    <a:pathLst>
                      <a:path w="27" h="23">
                        <a:moveTo>
                          <a:pt x="23" y="0"/>
                        </a:moveTo>
                        <a:lnTo>
                          <a:pt x="27" y="0"/>
                        </a:lnTo>
                        <a:lnTo>
                          <a:pt x="27" y="13"/>
                        </a:lnTo>
                        <a:lnTo>
                          <a:pt x="23" y="19"/>
                        </a:lnTo>
                        <a:lnTo>
                          <a:pt x="21" y="21"/>
                        </a:lnTo>
                        <a:lnTo>
                          <a:pt x="11" y="23"/>
                        </a:lnTo>
                        <a:lnTo>
                          <a:pt x="2" y="23"/>
                        </a:lnTo>
                        <a:lnTo>
                          <a:pt x="0" y="21"/>
                        </a:lnTo>
                        <a:lnTo>
                          <a:pt x="0" y="19"/>
                        </a:lnTo>
                        <a:lnTo>
                          <a:pt x="2" y="13"/>
                        </a:lnTo>
                        <a:lnTo>
                          <a:pt x="13" y="9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5" name="Freeform 51"/>
                  <p:cNvSpPr>
                    <a:spLocks/>
                  </p:cNvSpPr>
                  <p:nvPr/>
                </p:nvSpPr>
                <p:spPr bwMode="auto">
                  <a:xfrm>
                    <a:off x="5995988" y="-857250"/>
                    <a:ext cx="39688" cy="23813"/>
                  </a:xfrm>
                  <a:custGeom>
                    <a:avLst/>
                    <a:gdLst/>
                    <a:ahLst/>
                    <a:cxnLst>
                      <a:cxn ang="0">
                        <a:pos x="7" y="0"/>
                      </a:cxn>
                      <a:cxn ang="0">
                        <a:pos x="13" y="2"/>
                      </a:cxn>
                      <a:cxn ang="0">
                        <a:pos x="17" y="5"/>
                      </a:cxn>
                      <a:cxn ang="0">
                        <a:pos x="25" y="5"/>
                      </a:cxn>
                      <a:cxn ang="0">
                        <a:pos x="25" y="9"/>
                      </a:cxn>
                      <a:cxn ang="0">
                        <a:pos x="21" y="15"/>
                      </a:cxn>
                      <a:cxn ang="0">
                        <a:pos x="15" y="15"/>
                      </a:cxn>
                      <a:cxn ang="0">
                        <a:pos x="13" y="11"/>
                      </a:cxn>
                      <a:cxn ang="0">
                        <a:pos x="6" y="7"/>
                      </a:cxn>
                      <a:cxn ang="0">
                        <a:pos x="0" y="5"/>
                      </a:cxn>
                      <a:cxn ang="0">
                        <a:pos x="0" y="3"/>
                      </a:cxn>
                      <a:cxn ang="0">
                        <a:pos x="0" y="2"/>
                      </a:cxn>
                      <a:cxn ang="0">
                        <a:pos x="7" y="0"/>
                      </a:cxn>
                    </a:cxnLst>
                    <a:rect l="0" t="0" r="r" b="b"/>
                    <a:pathLst>
                      <a:path w="25" h="15">
                        <a:moveTo>
                          <a:pt x="7" y="0"/>
                        </a:moveTo>
                        <a:lnTo>
                          <a:pt x="13" y="2"/>
                        </a:lnTo>
                        <a:lnTo>
                          <a:pt x="17" y="5"/>
                        </a:lnTo>
                        <a:lnTo>
                          <a:pt x="25" y="5"/>
                        </a:lnTo>
                        <a:lnTo>
                          <a:pt x="25" y="9"/>
                        </a:lnTo>
                        <a:lnTo>
                          <a:pt x="21" y="15"/>
                        </a:lnTo>
                        <a:lnTo>
                          <a:pt x="15" y="15"/>
                        </a:lnTo>
                        <a:lnTo>
                          <a:pt x="13" y="11"/>
                        </a:lnTo>
                        <a:lnTo>
                          <a:pt x="6" y="7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0" y="2"/>
                        </a:lnTo>
                        <a:lnTo>
                          <a:pt x="7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6" name="Freeform 52"/>
                  <p:cNvSpPr>
                    <a:spLocks/>
                  </p:cNvSpPr>
                  <p:nvPr/>
                </p:nvSpPr>
                <p:spPr bwMode="auto">
                  <a:xfrm>
                    <a:off x="6005513" y="-814388"/>
                    <a:ext cx="63500" cy="60325"/>
                  </a:xfrm>
                  <a:custGeom>
                    <a:avLst/>
                    <a:gdLst/>
                    <a:ahLst/>
                    <a:cxnLst>
                      <a:cxn ang="0">
                        <a:pos x="30" y="1"/>
                      </a:cxn>
                      <a:cxn ang="0">
                        <a:pos x="30" y="7"/>
                      </a:cxn>
                      <a:cxn ang="0">
                        <a:pos x="34" y="7"/>
                      </a:cxn>
                      <a:cxn ang="0">
                        <a:pos x="38" y="9"/>
                      </a:cxn>
                      <a:cxn ang="0">
                        <a:pos x="40" y="13"/>
                      </a:cxn>
                      <a:cxn ang="0">
                        <a:pos x="38" y="19"/>
                      </a:cxn>
                      <a:cxn ang="0">
                        <a:pos x="28" y="24"/>
                      </a:cxn>
                      <a:cxn ang="0">
                        <a:pos x="17" y="30"/>
                      </a:cxn>
                      <a:cxn ang="0">
                        <a:pos x="3" y="38"/>
                      </a:cxn>
                      <a:cxn ang="0">
                        <a:pos x="1" y="38"/>
                      </a:cxn>
                      <a:cxn ang="0">
                        <a:pos x="0" y="34"/>
                      </a:cxn>
                      <a:cxn ang="0">
                        <a:pos x="1" y="34"/>
                      </a:cxn>
                      <a:cxn ang="0">
                        <a:pos x="9" y="26"/>
                      </a:cxn>
                      <a:cxn ang="0">
                        <a:pos x="11" y="19"/>
                      </a:cxn>
                      <a:cxn ang="0">
                        <a:pos x="17" y="5"/>
                      </a:cxn>
                      <a:cxn ang="0">
                        <a:pos x="26" y="0"/>
                      </a:cxn>
                      <a:cxn ang="0">
                        <a:pos x="30" y="0"/>
                      </a:cxn>
                      <a:cxn ang="0">
                        <a:pos x="30" y="1"/>
                      </a:cxn>
                    </a:cxnLst>
                    <a:rect l="0" t="0" r="r" b="b"/>
                    <a:pathLst>
                      <a:path w="40" h="38">
                        <a:moveTo>
                          <a:pt x="30" y="1"/>
                        </a:moveTo>
                        <a:lnTo>
                          <a:pt x="30" y="7"/>
                        </a:lnTo>
                        <a:lnTo>
                          <a:pt x="34" y="7"/>
                        </a:lnTo>
                        <a:lnTo>
                          <a:pt x="38" y="9"/>
                        </a:lnTo>
                        <a:lnTo>
                          <a:pt x="40" y="13"/>
                        </a:lnTo>
                        <a:lnTo>
                          <a:pt x="38" y="19"/>
                        </a:lnTo>
                        <a:lnTo>
                          <a:pt x="28" y="24"/>
                        </a:lnTo>
                        <a:lnTo>
                          <a:pt x="17" y="30"/>
                        </a:lnTo>
                        <a:lnTo>
                          <a:pt x="3" y="38"/>
                        </a:lnTo>
                        <a:lnTo>
                          <a:pt x="1" y="38"/>
                        </a:lnTo>
                        <a:lnTo>
                          <a:pt x="0" y="34"/>
                        </a:lnTo>
                        <a:lnTo>
                          <a:pt x="1" y="34"/>
                        </a:lnTo>
                        <a:lnTo>
                          <a:pt x="9" y="26"/>
                        </a:lnTo>
                        <a:lnTo>
                          <a:pt x="11" y="19"/>
                        </a:lnTo>
                        <a:lnTo>
                          <a:pt x="17" y="5"/>
                        </a:lnTo>
                        <a:lnTo>
                          <a:pt x="26" y="0"/>
                        </a:lnTo>
                        <a:lnTo>
                          <a:pt x="30" y="0"/>
                        </a:lnTo>
                        <a:lnTo>
                          <a:pt x="30" y="1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7" name="Freeform 53"/>
                  <p:cNvSpPr>
                    <a:spLocks/>
                  </p:cNvSpPr>
                  <p:nvPr/>
                </p:nvSpPr>
                <p:spPr bwMode="auto">
                  <a:xfrm>
                    <a:off x="5976938" y="-812800"/>
                    <a:ext cx="46038" cy="46038"/>
                  </a:xfrm>
                  <a:custGeom>
                    <a:avLst/>
                    <a:gdLst/>
                    <a:ahLst/>
                    <a:cxnLst>
                      <a:cxn ang="0">
                        <a:pos x="29" y="0"/>
                      </a:cxn>
                      <a:cxn ang="0">
                        <a:pos x="29" y="4"/>
                      </a:cxn>
                      <a:cxn ang="0">
                        <a:pos x="25" y="14"/>
                      </a:cxn>
                      <a:cxn ang="0">
                        <a:pos x="14" y="16"/>
                      </a:cxn>
                      <a:cxn ang="0">
                        <a:pos x="4" y="29"/>
                      </a:cxn>
                      <a:cxn ang="0">
                        <a:pos x="0" y="29"/>
                      </a:cxn>
                      <a:cxn ang="0">
                        <a:pos x="0" y="25"/>
                      </a:cxn>
                      <a:cxn ang="0">
                        <a:pos x="6" y="18"/>
                      </a:cxn>
                      <a:cxn ang="0">
                        <a:pos x="8" y="14"/>
                      </a:cxn>
                      <a:cxn ang="0">
                        <a:pos x="19" y="2"/>
                      </a:cxn>
                      <a:cxn ang="0">
                        <a:pos x="25" y="0"/>
                      </a:cxn>
                      <a:cxn ang="0">
                        <a:pos x="29" y="0"/>
                      </a:cxn>
                    </a:cxnLst>
                    <a:rect l="0" t="0" r="r" b="b"/>
                    <a:pathLst>
                      <a:path w="29" h="29">
                        <a:moveTo>
                          <a:pt x="29" y="0"/>
                        </a:moveTo>
                        <a:lnTo>
                          <a:pt x="29" y="4"/>
                        </a:lnTo>
                        <a:lnTo>
                          <a:pt x="25" y="14"/>
                        </a:lnTo>
                        <a:lnTo>
                          <a:pt x="14" y="16"/>
                        </a:lnTo>
                        <a:lnTo>
                          <a:pt x="4" y="29"/>
                        </a:lnTo>
                        <a:lnTo>
                          <a:pt x="0" y="29"/>
                        </a:lnTo>
                        <a:lnTo>
                          <a:pt x="0" y="25"/>
                        </a:lnTo>
                        <a:lnTo>
                          <a:pt x="6" y="18"/>
                        </a:lnTo>
                        <a:lnTo>
                          <a:pt x="8" y="14"/>
                        </a:lnTo>
                        <a:lnTo>
                          <a:pt x="19" y="2"/>
                        </a:lnTo>
                        <a:lnTo>
                          <a:pt x="25" y="0"/>
                        </a:lnTo>
                        <a:lnTo>
                          <a:pt x="29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8" name="Freeform 54"/>
                  <p:cNvSpPr>
                    <a:spLocks/>
                  </p:cNvSpPr>
                  <p:nvPr/>
                </p:nvSpPr>
                <p:spPr bwMode="auto">
                  <a:xfrm>
                    <a:off x="5953125" y="-763588"/>
                    <a:ext cx="112713" cy="122238"/>
                  </a:xfrm>
                  <a:custGeom>
                    <a:avLst/>
                    <a:gdLst/>
                    <a:ahLst/>
                    <a:cxnLst>
                      <a:cxn ang="0">
                        <a:pos x="61" y="0"/>
                      </a:cxn>
                      <a:cxn ang="0">
                        <a:pos x="67" y="2"/>
                      </a:cxn>
                      <a:cxn ang="0">
                        <a:pos x="71" y="6"/>
                      </a:cxn>
                      <a:cxn ang="0">
                        <a:pos x="69" y="10"/>
                      </a:cxn>
                      <a:cxn ang="0">
                        <a:pos x="63" y="27"/>
                      </a:cxn>
                      <a:cxn ang="0">
                        <a:pos x="57" y="31"/>
                      </a:cxn>
                      <a:cxn ang="0">
                        <a:pos x="46" y="33"/>
                      </a:cxn>
                      <a:cxn ang="0">
                        <a:pos x="42" y="35"/>
                      </a:cxn>
                      <a:cxn ang="0">
                        <a:pos x="33" y="44"/>
                      </a:cxn>
                      <a:cxn ang="0">
                        <a:pos x="29" y="50"/>
                      </a:cxn>
                      <a:cxn ang="0">
                        <a:pos x="2" y="77"/>
                      </a:cxn>
                      <a:cxn ang="0">
                        <a:pos x="0" y="77"/>
                      </a:cxn>
                      <a:cxn ang="0">
                        <a:pos x="0" y="75"/>
                      </a:cxn>
                      <a:cxn ang="0">
                        <a:pos x="0" y="69"/>
                      </a:cxn>
                      <a:cxn ang="0">
                        <a:pos x="8" y="60"/>
                      </a:cxn>
                      <a:cxn ang="0">
                        <a:pos x="11" y="52"/>
                      </a:cxn>
                      <a:cxn ang="0">
                        <a:pos x="8" y="50"/>
                      </a:cxn>
                      <a:cxn ang="0">
                        <a:pos x="8" y="48"/>
                      </a:cxn>
                      <a:cxn ang="0">
                        <a:pos x="8" y="44"/>
                      </a:cxn>
                      <a:cxn ang="0">
                        <a:pos x="9" y="39"/>
                      </a:cxn>
                      <a:cxn ang="0">
                        <a:pos x="15" y="25"/>
                      </a:cxn>
                      <a:cxn ang="0">
                        <a:pos x="17" y="23"/>
                      </a:cxn>
                      <a:cxn ang="0">
                        <a:pos x="27" y="23"/>
                      </a:cxn>
                      <a:cxn ang="0">
                        <a:pos x="38" y="8"/>
                      </a:cxn>
                      <a:cxn ang="0">
                        <a:pos x="61" y="0"/>
                      </a:cxn>
                    </a:cxnLst>
                    <a:rect l="0" t="0" r="r" b="b"/>
                    <a:pathLst>
                      <a:path w="71" h="77">
                        <a:moveTo>
                          <a:pt x="61" y="0"/>
                        </a:moveTo>
                        <a:lnTo>
                          <a:pt x="67" y="2"/>
                        </a:lnTo>
                        <a:lnTo>
                          <a:pt x="71" y="6"/>
                        </a:lnTo>
                        <a:lnTo>
                          <a:pt x="69" y="10"/>
                        </a:lnTo>
                        <a:lnTo>
                          <a:pt x="63" y="27"/>
                        </a:lnTo>
                        <a:lnTo>
                          <a:pt x="57" y="31"/>
                        </a:lnTo>
                        <a:lnTo>
                          <a:pt x="46" y="33"/>
                        </a:lnTo>
                        <a:lnTo>
                          <a:pt x="42" y="35"/>
                        </a:lnTo>
                        <a:lnTo>
                          <a:pt x="33" y="44"/>
                        </a:lnTo>
                        <a:lnTo>
                          <a:pt x="29" y="50"/>
                        </a:lnTo>
                        <a:lnTo>
                          <a:pt x="2" y="77"/>
                        </a:lnTo>
                        <a:lnTo>
                          <a:pt x="0" y="77"/>
                        </a:lnTo>
                        <a:lnTo>
                          <a:pt x="0" y="75"/>
                        </a:lnTo>
                        <a:lnTo>
                          <a:pt x="0" y="69"/>
                        </a:lnTo>
                        <a:lnTo>
                          <a:pt x="8" y="60"/>
                        </a:lnTo>
                        <a:lnTo>
                          <a:pt x="11" y="52"/>
                        </a:lnTo>
                        <a:lnTo>
                          <a:pt x="8" y="50"/>
                        </a:lnTo>
                        <a:lnTo>
                          <a:pt x="8" y="48"/>
                        </a:lnTo>
                        <a:lnTo>
                          <a:pt x="8" y="44"/>
                        </a:lnTo>
                        <a:lnTo>
                          <a:pt x="9" y="39"/>
                        </a:lnTo>
                        <a:lnTo>
                          <a:pt x="15" y="25"/>
                        </a:lnTo>
                        <a:lnTo>
                          <a:pt x="17" y="23"/>
                        </a:lnTo>
                        <a:lnTo>
                          <a:pt x="27" y="23"/>
                        </a:lnTo>
                        <a:lnTo>
                          <a:pt x="38" y="8"/>
                        </a:lnTo>
                        <a:lnTo>
                          <a:pt x="61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9" name="Freeform 55"/>
                  <p:cNvSpPr>
                    <a:spLocks/>
                  </p:cNvSpPr>
                  <p:nvPr/>
                </p:nvSpPr>
                <p:spPr bwMode="auto">
                  <a:xfrm>
                    <a:off x="5967413" y="-757238"/>
                    <a:ext cx="25400" cy="20638"/>
                  </a:xfrm>
                  <a:custGeom>
                    <a:avLst/>
                    <a:gdLst/>
                    <a:ahLst/>
                    <a:cxnLst>
                      <a:cxn ang="0">
                        <a:pos x="14" y="0"/>
                      </a:cxn>
                      <a:cxn ang="0">
                        <a:pos x="16" y="4"/>
                      </a:cxn>
                      <a:cxn ang="0">
                        <a:pos x="16" y="6"/>
                      </a:cxn>
                      <a:cxn ang="0">
                        <a:pos x="10" y="13"/>
                      </a:cxn>
                      <a:cxn ang="0">
                        <a:pos x="2" y="13"/>
                      </a:cxn>
                      <a:cxn ang="0">
                        <a:pos x="0" y="10"/>
                      </a:cxn>
                      <a:cxn ang="0">
                        <a:pos x="8" y="2"/>
                      </a:cxn>
                      <a:cxn ang="0">
                        <a:pos x="14" y="0"/>
                      </a:cxn>
                    </a:cxnLst>
                    <a:rect l="0" t="0" r="r" b="b"/>
                    <a:pathLst>
                      <a:path w="16" h="13">
                        <a:moveTo>
                          <a:pt x="14" y="0"/>
                        </a:moveTo>
                        <a:lnTo>
                          <a:pt x="16" y="4"/>
                        </a:lnTo>
                        <a:lnTo>
                          <a:pt x="16" y="6"/>
                        </a:lnTo>
                        <a:lnTo>
                          <a:pt x="10" y="13"/>
                        </a:lnTo>
                        <a:lnTo>
                          <a:pt x="2" y="13"/>
                        </a:lnTo>
                        <a:lnTo>
                          <a:pt x="0" y="10"/>
                        </a:lnTo>
                        <a:lnTo>
                          <a:pt x="8" y="2"/>
                        </a:lnTo>
                        <a:lnTo>
                          <a:pt x="14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0" name="Freeform 56"/>
                  <p:cNvSpPr>
                    <a:spLocks/>
                  </p:cNvSpPr>
                  <p:nvPr/>
                </p:nvSpPr>
                <p:spPr bwMode="auto">
                  <a:xfrm>
                    <a:off x="5949950" y="-839788"/>
                    <a:ext cx="63500" cy="73025"/>
                  </a:xfrm>
                  <a:custGeom>
                    <a:avLst/>
                    <a:gdLst/>
                    <a:ahLst/>
                    <a:cxnLst>
                      <a:cxn ang="0">
                        <a:pos x="29" y="0"/>
                      </a:cxn>
                      <a:cxn ang="0">
                        <a:pos x="33" y="2"/>
                      </a:cxn>
                      <a:cxn ang="0">
                        <a:pos x="38" y="8"/>
                      </a:cxn>
                      <a:cxn ang="0">
                        <a:pos x="40" y="12"/>
                      </a:cxn>
                      <a:cxn ang="0">
                        <a:pos x="36" y="14"/>
                      </a:cxn>
                      <a:cxn ang="0">
                        <a:pos x="27" y="16"/>
                      </a:cxn>
                      <a:cxn ang="0">
                        <a:pos x="19" y="19"/>
                      </a:cxn>
                      <a:cxn ang="0">
                        <a:pos x="15" y="27"/>
                      </a:cxn>
                      <a:cxn ang="0">
                        <a:pos x="13" y="42"/>
                      </a:cxn>
                      <a:cxn ang="0">
                        <a:pos x="10" y="46"/>
                      </a:cxn>
                      <a:cxn ang="0">
                        <a:pos x="8" y="46"/>
                      </a:cxn>
                      <a:cxn ang="0">
                        <a:pos x="2" y="42"/>
                      </a:cxn>
                      <a:cxn ang="0">
                        <a:pos x="0" y="40"/>
                      </a:cxn>
                      <a:cxn ang="0">
                        <a:pos x="8" y="33"/>
                      </a:cxn>
                      <a:cxn ang="0">
                        <a:pos x="6" y="23"/>
                      </a:cxn>
                      <a:cxn ang="0">
                        <a:pos x="8" y="16"/>
                      </a:cxn>
                      <a:cxn ang="0">
                        <a:pos x="10" y="12"/>
                      </a:cxn>
                      <a:cxn ang="0">
                        <a:pos x="15" y="10"/>
                      </a:cxn>
                      <a:cxn ang="0">
                        <a:pos x="23" y="10"/>
                      </a:cxn>
                      <a:cxn ang="0">
                        <a:pos x="29" y="0"/>
                      </a:cxn>
                    </a:cxnLst>
                    <a:rect l="0" t="0" r="r" b="b"/>
                    <a:pathLst>
                      <a:path w="40" h="46">
                        <a:moveTo>
                          <a:pt x="29" y="0"/>
                        </a:moveTo>
                        <a:lnTo>
                          <a:pt x="33" y="2"/>
                        </a:lnTo>
                        <a:lnTo>
                          <a:pt x="38" y="8"/>
                        </a:lnTo>
                        <a:lnTo>
                          <a:pt x="40" y="12"/>
                        </a:lnTo>
                        <a:lnTo>
                          <a:pt x="36" y="14"/>
                        </a:lnTo>
                        <a:lnTo>
                          <a:pt x="27" y="16"/>
                        </a:lnTo>
                        <a:lnTo>
                          <a:pt x="19" y="19"/>
                        </a:lnTo>
                        <a:lnTo>
                          <a:pt x="15" y="27"/>
                        </a:lnTo>
                        <a:lnTo>
                          <a:pt x="13" y="42"/>
                        </a:lnTo>
                        <a:lnTo>
                          <a:pt x="10" y="46"/>
                        </a:lnTo>
                        <a:lnTo>
                          <a:pt x="8" y="46"/>
                        </a:lnTo>
                        <a:lnTo>
                          <a:pt x="2" y="42"/>
                        </a:lnTo>
                        <a:lnTo>
                          <a:pt x="0" y="40"/>
                        </a:lnTo>
                        <a:lnTo>
                          <a:pt x="8" y="33"/>
                        </a:lnTo>
                        <a:lnTo>
                          <a:pt x="6" y="23"/>
                        </a:lnTo>
                        <a:lnTo>
                          <a:pt x="8" y="16"/>
                        </a:lnTo>
                        <a:lnTo>
                          <a:pt x="10" y="12"/>
                        </a:lnTo>
                        <a:lnTo>
                          <a:pt x="15" y="10"/>
                        </a:lnTo>
                        <a:lnTo>
                          <a:pt x="23" y="10"/>
                        </a:lnTo>
                        <a:lnTo>
                          <a:pt x="29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1" name="Freeform 57"/>
                  <p:cNvSpPr>
                    <a:spLocks/>
                  </p:cNvSpPr>
                  <p:nvPr/>
                </p:nvSpPr>
                <p:spPr bwMode="auto">
                  <a:xfrm>
                    <a:off x="5934075" y="-827088"/>
                    <a:ext cx="22225" cy="20638"/>
                  </a:xfrm>
                  <a:custGeom>
                    <a:avLst/>
                    <a:gdLst/>
                    <a:ahLst/>
                    <a:cxnLst>
                      <a:cxn ang="0">
                        <a:pos x="6" y="6"/>
                      </a:cxn>
                      <a:cxn ang="0">
                        <a:pos x="12" y="0"/>
                      </a:cxn>
                      <a:cxn ang="0">
                        <a:pos x="14" y="0"/>
                      </a:cxn>
                      <a:cxn ang="0">
                        <a:pos x="14" y="6"/>
                      </a:cxn>
                      <a:cxn ang="0">
                        <a:pos x="8" y="9"/>
                      </a:cxn>
                      <a:cxn ang="0">
                        <a:pos x="0" y="13"/>
                      </a:cxn>
                      <a:cxn ang="0">
                        <a:pos x="0" y="9"/>
                      </a:cxn>
                      <a:cxn ang="0">
                        <a:pos x="6" y="6"/>
                      </a:cxn>
                    </a:cxnLst>
                    <a:rect l="0" t="0" r="r" b="b"/>
                    <a:pathLst>
                      <a:path w="14" h="13">
                        <a:moveTo>
                          <a:pt x="6" y="6"/>
                        </a:moveTo>
                        <a:lnTo>
                          <a:pt x="12" y="0"/>
                        </a:lnTo>
                        <a:lnTo>
                          <a:pt x="14" y="0"/>
                        </a:lnTo>
                        <a:lnTo>
                          <a:pt x="14" y="6"/>
                        </a:lnTo>
                        <a:lnTo>
                          <a:pt x="8" y="9"/>
                        </a:lnTo>
                        <a:lnTo>
                          <a:pt x="0" y="13"/>
                        </a:lnTo>
                        <a:lnTo>
                          <a:pt x="0" y="9"/>
                        </a:lnTo>
                        <a:lnTo>
                          <a:pt x="6" y="6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2" name="Freeform 58"/>
                  <p:cNvSpPr>
                    <a:spLocks/>
                  </p:cNvSpPr>
                  <p:nvPr/>
                </p:nvSpPr>
                <p:spPr bwMode="auto">
                  <a:xfrm>
                    <a:off x="5922963" y="-800100"/>
                    <a:ext cx="30163" cy="22225"/>
                  </a:xfrm>
                  <a:custGeom>
                    <a:avLst/>
                    <a:gdLst/>
                    <a:ahLst/>
                    <a:cxnLst>
                      <a:cxn ang="0">
                        <a:pos x="19" y="0"/>
                      </a:cxn>
                      <a:cxn ang="0">
                        <a:pos x="19" y="2"/>
                      </a:cxn>
                      <a:cxn ang="0">
                        <a:pos x="19" y="6"/>
                      </a:cxn>
                      <a:cxn ang="0">
                        <a:pos x="15" y="12"/>
                      </a:cxn>
                      <a:cxn ang="0">
                        <a:pos x="11" y="12"/>
                      </a:cxn>
                      <a:cxn ang="0">
                        <a:pos x="5" y="14"/>
                      </a:cxn>
                      <a:cxn ang="0">
                        <a:pos x="2" y="14"/>
                      </a:cxn>
                      <a:cxn ang="0">
                        <a:pos x="0" y="12"/>
                      </a:cxn>
                      <a:cxn ang="0">
                        <a:pos x="2" y="10"/>
                      </a:cxn>
                      <a:cxn ang="0">
                        <a:pos x="9" y="6"/>
                      </a:cxn>
                      <a:cxn ang="0">
                        <a:pos x="15" y="0"/>
                      </a:cxn>
                      <a:cxn ang="0">
                        <a:pos x="19" y="0"/>
                      </a:cxn>
                    </a:cxnLst>
                    <a:rect l="0" t="0" r="r" b="b"/>
                    <a:pathLst>
                      <a:path w="19" h="14">
                        <a:moveTo>
                          <a:pt x="19" y="0"/>
                        </a:moveTo>
                        <a:lnTo>
                          <a:pt x="19" y="2"/>
                        </a:lnTo>
                        <a:lnTo>
                          <a:pt x="19" y="6"/>
                        </a:lnTo>
                        <a:lnTo>
                          <a:pt x="15" y="12"/>
                        </a:lnTo>
                        <a:lnTo>
                          <a:pt x="11" y="12"/>
                        </a:lnTo>
                        <a:lnTo>
                          <a:pt x="5" y="14"/>
                        </a:lnTo>
                        <a:lnTo>
                          <a:pt x="2" y="14"/>
                        </a:lnTo>
                        <a:lnTo>
                          <a:pt x="0" y="12"/>
                        </a:lnTo>
                        <a:lnTo>
                          <a:pt x="2" y="10"/>
                        </a:lnTo>
                        <a:lnTo>
                          <a:pt x="9" y="6"/>
                        </a:lnTo>
                        <a:lnTo>
                          <a:pt x="15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3" name="Freeform 59"/>
                  <p:cNvSpPr>
                    <a:spLocks/>
                  </p:cNvSpPr>
                  <p:nvPr/>
                </p:nvSpPr>
                <p:spPr bwMode="auto">
                  <a:xfrm>
                    <a:off x="5894388" y="-796925"/>
                    <a:ext cx="28575" cy="23813"/>
                  </a:xfrm>
                  <a:custGeom>
                    <a:avLst/>
                    <a:gdLst/>
                    <a:ahLst/>
                    <a:cxnLst>
                      <a:cxn ang="0">
                        <a:pos x="18" y="2"/>
                      </a:cxn>
                      <a:cxn ang="0">
                        <a:pos x="18" y="4"/>
                      </a:cxn>
                      <a:cxn ang="0">
                        <a:pos x="12" y="10"/>
                      </a:cxn>
                      <a:cxn ang="0">
                        <a:pos x="2" y="15"/>
                      </a:cxn>
                      <a:cxn ang="0">
                        <a:pos x="0" y="13"/>
                      </a:cxn>
                      <a:cxn ang="0">
                        <a:pos x="0" y="8"/>
                      </a:cxn>
                      <a:cxn ang="0">
                        <a:pos x="0" y="6"/>
                      </a:cxn>
                      <a:cxn ang="0">
                        <a:pos x="8" y="4"/>
                      </a:cxn>
                      <a:cxn ang="0">
                        <a:pos x="14" y="0"/>
                      </a:cxn>
                      <a:cxn ang="0">
                        <a:pos x="18" y="2"/>
                      </a:cxn>
                    </a:cxnLst>
                    <a:rect l="0" t="0" r="r" b="b"/>
                    <a:pathLst>
                      <a:path w="18" h="15">
                        <a:moveTo>
                          <a:pt x="18" y="2"/>
                        </a:moveTo>
                        <a:lnTo>
                          <a:pt x="18" y="4"/>
                        </a:lnTo>
                        <a:lnTo>
                          <a:pt x="12" y="10"/>
                        </a:lnTo>
                        <a:lnTo>
                          <a:pt x="2" y="15"/>
                        </a:lnTo>
                        <a:lnTo>
                          <a:pt x="0" y="13"/>
                        </a:lnTo>
                        <a:lnTo>
                          <a:pt x="0" y="8"/>
                        </a:lnTo>
                        <a:lnTo>
                          <a:pt x="0" y="6"/>
                        </a:lnTo>
                        <a:lnTo>
                          <a:pt x="8" y="4"/>
                        </a:lnTo>
                        <a:lnTo>
                          <a:pt x="14" y="0"/>
                        </a:lnTo>
                        <a:lnTo>
                          <a:pt x="18" y="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4" name="Freeform 60"/>
                  <p:cNvSpPr>
                    <a:spLocks/>
                  </p:cNvSpPr>
                  <p:nvPr/>
                </p:nvSpPr>
                <p:spPr bwMode="auto">
                  <a:xfrm>
                    <a:off x="5876925" y="-890588"/>
                    <a:ext cx="85725" cy="103188"/>
                  </a:xfrm>
                  <a:custGeom>
                    <a:avLst/>
                    <a:gdLst/>
                    <a:ahLst/>
                    <a:cxnLst>
                      <a:cxn ang="0">
                        <a:pos x="52" y="0"/>
                      </a:cxn>
                      <a:cxn ang="0">
                        <a:pos x="54" y="0"/>
                      </a:cxn>
                      <a:cxn ang="0">
                        <a:pos x="54" y="5"/>
                      </a:cxn>
                      <a:cxn ang="0">
                        <a:pos x="48" y="32"/>
                      </a:cxn>
                      <a:cxn ang="0">
                        <a:pos x="46" y="36"/>
                      </a:cxn>
                      <a:cxn ang="0">
                        <a:pos x="40" y="40"/>
                      </a:cxn>
                      <a:cxn ang="0">
                        <a:pos x="29" y="51"/>
                      </a:cxn>
                      <a:cxn ang="0">
                        <a:pos x="17" y="55"/>
                      </a:cxn>
                      <a:cxn ang="0">
                        <a:pos x="10" y="61"/>
                      </a:cxn>
                      <a:cxn ang="0">
                        <a:pos x="2" y="65"/>
                      </a:cxn>
                      <a:cxn ang="0">
                        <a:pos x="0" y="63"/>
                      </a:cxn>
                      <a:cxn ang="0">
                        <a:pos x="0" y="59"/>
                      </a:cxn>
                      <a:cxn ang="0">
                        <a:pos x="17" y="44"/>
                      </a:cxn>
                      <a:cxn ang="0">
                        <a:pos x="23" y="28"/>
                      </a:cxn>
                      <a:cxn ang="0">
                        <a:pos x="31" y="13"/>
                      </a:cxn>
                      <a:cxn ang="0">
                        <a:pos x="40" y="3"/>
                      </a:cxn>
                      <a:cxn ang="0">
                        <a:pos x="52" y="0"/>
                      </a:cxn>
                    </a:cxnLst>
                    <a:rect l="0" t="0" r="r" b="b"/>
                    <a:pathLst>
                      <a:path w="54" h="65">
                        <a:moveTo>
                          <a:pt x="52" y="0"/>
                        </a:moveTo>
                        <a:lnTo>
                          <a:pt x="54" y="0"/>
                        </a:lnTo>
                        <a:lnTo>
                          <a:pt x="54" y="5"/>
                        </a:lnTo>
                        <a:lnTo>
                          <a:pt x="48" y="32"/>
                        </a:lnTo>
                        <a:lnTo>
                          <a:pt x="46" y="36"/>
                        </a:lnTo>
                        <a:lnTo>
                          <a:pt x="40" y="40"/>
                        </a:lnTo>
                        <a:lnTo>
                          <a:pt x="29" y="51"/>
                        </a:lnTo>
                        <a:lnTo>
                          <a:pt x="17" y="55"/>
                        </a:lnTo>
                        <a:lnTo>
                          <a:pt x="10" y="61"/>
                        </a:lnTo>
                        <a:lnTo>
                          <a:pt x="2" y="65"/>
                        </a:lnTo>
                        <a:lnTo>
                          <a:pt x="0" y="63"/>
                        </a:lnTo>
                        <a:lnTo>
                          <a:pt x="0" y="59"/>
                        </a:lnTo>
                        <a:lnTo>
                          <a:pt x="17" y="44"/>
                        </a:lnTo>
                        <a:lnTo>
                          <a:pt x="23" y="28"/>
                        </a:lnTo>
                        <a:lnTo>
                          <a:pt x="31" y="13"/>
                        </a:lnTo>
                        <a:lnTo>
                          <a:pt x="40" y="3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5" name="Freeform 61"/>
                  <p:cNvSpPr>
                    <a:spLocks/>
                  </p:cNvSpPr>
                  <p:nvPr/>
                </p:nvSpPr>
                <p:spPr bwMode="auto">
                  <a:xfrm>
                    <a:off x="5894388" y="-852488"/>
                    <a:ext cx="12700" cy="28575"/>
                  </a:xfrm>
                  <a:custGeom>
                    <a:avLst/>
                    <a:gdLst/>
                    <a:ahLst/>
                    <a:cxnLst>
                      <a:cxn ang="0">
                        <a:pos x="6" y="0"/>
                      </a:cxn>
                      <a:cxn ang="0">
                        <a:pos x="8" y="4"/>
                      </a:cxn>
                      <a:cxn ang="0">
                        <a:pos x="6" y="14"/>
                      </a:cxn>
                      <a:cxn ang="0">
                        <a:pos x="2" y="18"/>
                      </a:cxn>
                      <a:cxn ang="0">
                        <a:pos x="0" y="14"/>
                      </a:cxn>
                      <a:cxn ang="0">
                        <a:pos x="0" y="8"/>
                      </a:cxn>
                      <a:cxn ang="0">
                        <a:pos x="4" y="0"/>
                      </a:cxn>
                      <a:cxn ang="0">
                        <a:pos x="6" y="0"/>
                      </a:cxn>
                    </a:cxnLst>
                    <a:rect l="0" t="0" r="r" b="b"/>
                    <a:pathLst>
                      <a:path w="8" h="18">
                        <a:moveTo>
                          <a:pt x="6" y="0"/>
                        </a:moveTo>
                        <a:lnTo>
                          <a:pt x="8" y="4"/>
                        </a:lnTo>
                        <a:lnTo>
                          <a:pt x="6" y="14"/>
                        </a:lnTo>
                        <a:lnTo>
                          <a:pt x="2" y="18"/>
                        </a:lnTo>
                        <a:lnTo>
                          <a:pt x="0" y="14"/>
                        </a:lnTo>
                        <a:lnTo>
                          <a:pt x="0" y="8"/>
                        </a:lnTo>
                        <a:lnTo>
                          <a:pt x="4" y="0"/>
                        </a:lnTo>
                        <a:lnTo>
                          <a:pt x="6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6" name="Freeform 62"/>
                  <p:cNvSpPr>
                    <a:spLocks/>
                  </p:cNvSpPr>
                  <p:nvPr/>
                </p:nvSpPr>
                <p:spPr bwMode="auto">
                  <a:xfrm>
                    <a:off x="6069013" y="-757238"/>
                    <a:ext cx="119063" cy="158750"/>
                  </a:xfrm>
                  <a:custGeom>
                    <a:avLst/>
                    <a:gdLst/>
                    <a:ahLst/>
                    <a:cxnLst>
                      <a:cxn ang="0">
                        <a:pos x="6" y="0"/>
                      </a:cxn>
                      <a:cxn ang="0">
                        <a:pos x="9" y="0"/>
                      </a:cxn>
                      <a:cxn ang="0">
                        <a:pos x="19" y="15"/>
                      </a:cxn>
                      <a:cxn ang="0">
                        <a:pos x="21" y="17"/>
                      </a:cxn>
                      <a:cxn ang="0">
                        <a:pos x="31" y="17"/>
                      </a:cxn>
                      <a:cxn ang="0">
                        <a:pos x="38" y="23"/>
                      </a:cxn>
                      <a:cxn ang="0">
                        <a:pos x="48" y="25"/>
                      </a:cxn>
                      <a:cxn ang="0">
                        <a:pos x="57" y="33"/>
                      </a:cxn>
                      <a:cxn ang="0">
                        <a:pos x="57" y="38"/>
                      </a:cxn>
                      <a:cxn ang="0">
                        <a:pos x="54" y="44"/>
                      </a:cxn>
                      <a:cxn ang="0">
                        <a:pos x="61" y="44"/>
                      </a:cxn>
                      <a:cxn ang="0">
                        <a:pos x="67" y="42"/>
                      </a:cxn>
                      <a:cxn ang="0">
                        <a:pos x="71" y="44"/>
                      </a:cxn>
                      <a:cxn ang="0">
                        <a:pos x="73" y="54"/>
                      </a:cxn>
                      <a:cxn ang="0">
                        <a:pos x="75" y="73"/>
                      </a:cxn>
                      <a:cxn ang="0">
                        <a:pos x="63" y="84"/>
                      </a:cxn>
                      <a:cxn ang="0">
                        <a:pos x="57" y="86"/>
                      </a:cxn>
                      <a:cxn ang="0">
                        <a:pos x="50" y="86"/>
                      </a:cxn>
                      <a:cxn ang="0">
                        <a:pos x="36" y="94"/>
                      </a:cxn>
                      <a:cxn ang="0">
                        <a:pos x="29" y="94"/>
                      </a:cxn>
                      <a:cxn ang="0">
                        <a:pos x="25" y="98"/>
                      </a:cxn>
                      <a:cxn ang="0">
                        <a:pos x="19" y="100"/>
                      </a:cxn>
                      <a:cxn ang="0">
                        <a:pos x="13" y="96"/>
                      </a:cxn>
                      <a:cxn ang="0">
                        <a:pos x="9" y="92"/>
                      </a:cxn>
                      <a:cxn ang="0">
                        <a:pos x="15" y="82"/>
                      </a:cxn>
                      <a:cxn ang="0">
                        <a:pos x="15" y="67"/>
                      </a:cxn>
                      <a:cxn ang="0">
                        <a:pos x="13" y="50"/>
                      </a:cxn>
                      <a:cxn ang="0">
                        <a:pos x="7" y="40"/>
                      </a:cxn>
                      <a:cxn ang="0">
                        <a:pos x="2" y="38"/>
                      </a:cxn>
                      <a:cxn ang="0">
                        <a:pos x="0" y="33"/>
                      </a:cxn>
                      <a:cxn ang="0">
                        <a:pos x="2" y="31"/>
                      </a:cxn>
                      <a:cxn ang="0">
                        <a:pos x="6" y="29"/>
                      </a:cxn>
                      <a:cxn ang="0">
                        <a:pos x="13" y="27"/>
                      </a:cxn>
                      <a:cxn ang="0">
                        <a:pos x="19" y="29"/>
                      </a:cxn>
                      <a:cxn ang="0">
                        <a:pos x="23" y="36"/>
                      </a:cxn>
                      <a:cxn ang="0">
                        <a:pos x="21" y="42"/>
                      </a:cxn>
                      <a:cxn ang="0">
                        <a:pos x="11" y="40"/>
                      </a:cxn>
                      <a:cxn ang="0">
                        <a:pos x="15" y="44"/>
                      </a:cxn>
                      <a:cxn ang="0">
                        <a:pos x="19" y="46"/>
                      </a:cxn>
                      <a:cxn ang="0">
                        <a:pos x="25" y="44"/>
                      </a:cxn>
                      <a:cxn ang="0">
                        <a:pos x="27" y="42"/>
                      </a:cxn>
                      <a:cxn ang="0">
                        <a:pos x="27" y="33"/>
                      </a:cxn>
                      <a:cxn ang="0">
                        <a:pos x="27" y="31"/>
                      </a:cxn>
                      <a:cxn ang="0">
                        <a:pos x="25" y="29"/>
                      </a:cxn>
                      <a:cxn ang="0">
                        <a:pos x="21" y="19"/>
                      </a:cxn>
                      <a:cxn ang="0">
                        <a:pos x="19" y="19"/>
                      </a:cxn>
                      <a:cxn ang="0">
                        <a:pos x="17" y="23"/>
                      </a:cxn>
                      <a:cxn ang="0">
                        <a:pos x="7" y="25"/>
                      </a:cxn>
                      <a:cxn ang="0">
                        <a:pos x="4" y="25"/>
                      </a:cxn>
                      <a:cxn ang="0">
                        <a:pos x="2" y="19"/>
                      </a:cxn>
                      <a:cxn ang="0">
                        <a:pos x="4" y="4"/>
                      </a:cxn>
                      <a:cxn ang="0">
                        <a:pos x="6" y="0"/>
                      </a:cxn>
                    </a:cxnLst>
                    <a:rect l="0" t="0" r="r" b="b"/>
                    <a:pathLst>
                      <a:path w="75" h="100">
                        <a:moveTo>
                          <a:pt x="6" y="0"/>
                        </a:moveTo>
                        <a:lnTo>
                          <a:pt x="9" y="0"/>
                        </a:lnTo>
                        <a:lnTo>
                          <a:pt x="19" y="15"/>
                        </a:lnTo>
                        <a:lnTo>
                          <a:pt x="21" y="17"/>
                        </a:lnTo>
                        <a:lnTo>
                          <a:pt x="31" y="17"/>
                        </a:lnTo>
                        <a:lnTo>
                          <a:pt x="38" y="23"/>
                        </a:lnTo>
                        <a:lnTo>
                          <a:pt x="48" y="25"/>
                        </a:lnTo>
                        <a:lnTo>
                          <a:pt x="57" y="33"/>
                        </a:lnTo>
                        <a:lnTo>
                          <a:pt x="57" y="38"/>
                        </a:lnTo>
                        <a:lnTo>
                          <a:pt x="54" y="44"/>
                        </a:lnTo>
                        <a:lnTo>
                          <a:pt x="61" y="44"/>
                        </a:lnTo>
                        <a:lnTo>
                          <a:pt x="67" y="42"/>
                        </a:lnTo>
                        <a:lnTo>
                          <a:pt x="71" y="44"/>
                        </a:lnTo>
                        <a:lnTo>
                          <a:pt x="73" y="54"/>
                        </a:lnTo>
                        <a:lnTo>
                          <a:pt x="75" y="73"/>
                        </a:lnTo>
                        <a:lnTo>
                          <a:pt x="63" y="84"/>
                        </a:lnTo>
                        <a:lnTo>
                          <a:pt x="57" y="86"/>
                        </a:lnTo>
                        <a:lnTo>
                          <a:pt x="50" y="86"/>
                        </a:lnTo>
                        <a:lnTo>
                          <a:pt x="36" y="94"/>
                        </a:lnTo>
                        <a:lnTo>
                          <a:pt x="29" y="94"/>
                        </a:lnTo>
                        <a:lnTo>
                          <a:pt x="25" y="98"/>
                        </a:lnTo>
                        <a:lnTo>
                          <a:pt x="19" y="100"/>
                        </a:lnTo>
                        <a:lnTo>
                          <a:pt x="13" y="96"/>
                        </a:lnTo>
                        <a:lnTo>
                          <a:pt x="9" y="92"/>
                        </a:lnTo>
                        <a:lnTo>
                          <a:pt x="15" y="82"/>
                        </a:lnTo>
                        <a:lnTo>
                          <a:pt x="15" y="67"/>
                        </a:lnTo>
                        <a:lnTo>
                          <a:pt x="13" y="50"/>
                        </a:lnTo>
                        <a:lnTo>
                          <a:pt x="7" y="40"/>
                        </a:lnTo>
                        <a:lnTo>
                          <a:pt x="2" y="38"/>
                        </a:lnTo>
                        <a:lnTo>
                          <a:pt x="0" y="33"/>
                        </a:lnTo>
                        <a:lnTo>
                          <a:pt x="2" y="31"/>
                        </a:lnTo>
                        <a:lnTo>
                          <a:pt x="6" y="29"/>
                        </a:lnTo>
                        <a:lnTo>
                          <a:pt x="13" y="27"/>
                        </a:lnTo>
                        <a:lnTo>
                          <a:pt x="19" y="29"/>
                        </a:lnTo>
                        <a:lnTo>
                          <a:pt x="23" y="36"/>
                        </a:lnTo>
                        <a:lnTo>
                          <a:pt x="21" y="42"/>
                        </a:lnTo>
                        <a:lnTo>
                          <a:pt x="11" y="40"/>
                        </a:lnTo>
                        <a:lnTo>
                          <a:pt x="15" y="44"/>
                        </a:lnTo>
                        <a:lnTo>
                          <a:pt x="19" y="46"/>
                        </a:lnTo>
                        <a:lnTo>
                          <a:pt x="25" y="44"/>
                        </a:lnTo>
                        <a:lnTo>
                          <a:pt x="27" y="42"/>
                        </a:lnTo>
                        <a:lnTo>
                          <a:pt x="27" y="33"/>
                        </a:lnTo>
                        <a:lnTo>
                          <a:pt x="27" y="31"/>
                        </a:lnTo>
                        <a:lnTo>
                          <a:pt x="25" y="29"/>
                        </a:lnTo>
                        <a:lnTo>
                          <a:pt x="21" y="19"/>
                        </a:lnTo>
                        <a:lnTo>
                          <a:pt x="19" y="19"/>
                        </a:lnTo>
                        <a:lnTo>
                          <a:pt x="17" y="23"/>
                        </a:lnTo>
                        <a:lnTo>
                          <a:pt x="7" y="25"/>
                        </a:lnTo>
                        <a:lnTo>
                          <a:pt x="4" y="25"/>
                        </a:lnTo>
                        <a:lnTo>
                          <a:pt x="2" y="19"/>
                        </a:lnTo>
                        <a:lnTo>
                          <a:pt x="4" y="4"/>
                        </a:lnTo>
                        <a:lnTo>
                          <a:pt x="6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7" name="Freeform 63"/>
                  <p:cNvSpPr>
                    <a:spLocks/>
                  </p:cNvSpPr>
                  <p:nvPr/>
                </p:nvSpPr>
                <p:spPr bwMode="auto">
                  <a:xfrm>
                    <a:off x="6065838" y="-684213"/>
                    <a:ext cx="20638" cy="79375"/>
                  </a:xfrm>
                  <a:custGeom>
                    <a:avLst/>
                    <a:gdLst/>
                    <a:ahLst/>
                    <a:cxnLst>
                      <a:cxn ang="0">
                        <a:pos x="8" y="0"/>
                      </a:cxn>
                      <a:cxn ang="0">
                        <a:pos x="9" y="2"/>
                      </a:cxn>
                      <a:cxn ang="0">
                        <a:pos x="13" y="12"/>
                      </a:cxn>
                      <a:cxn ang="0">
                        <a:pos x="13" y="31"/>
                      </a:cxn>
                      <a:cxn ang="0">
                        <a:pos x="11" y="35"/>
                      </a:cxn>
                      <a:cxn ang="0">
                        <a:pos x="9" y="38"/>
                      </a:cxn>
                      <a:cxn ang="0">
                        <a:pos x="9" y="46"/>
                      </a:cxn>
                      <a:cxn ang="0">
                        <a:pos x="11" y="50"/>
                      </a:cxn>
                      <a:cxn ang="0">
                        <a:pos x="8" y="50"/>
                      </a:cxn>
                      <a:cxn ang="0">
                        <a:pos x="0" y="40"/>
                      </a:cxn>
                      <a:cxn ang="0">
                        <a:pos x="2" y="12"/>
                      </a:cxn>
                      <a:cxn ang="0">
                        <a:pos x="6" y="6"/>
                      </a:cxn>
                      <a:cxn ang="0">
                        <a:pos x="6" y="0"/>
                      </a:cxn>
                      <a:cxn ang="0">
                        <a:pos x="8" y="0"/>
                      </a:cxn>
                    </a:cxnLst>
                    <a:rect l="0" t="0" r="r" b="b"/>
                    <a:pathLst>
                      <a:path w="13" h="50">
                        <a:moveTo>
                          <a:pt x="8" y="0"/>
                        </a:moveTo>
                        <a:lnTo>
                          <a:pt x="9" y="2"/>
                        </a:lnTo>
                        <a:lnTo>
                          <a:pt x="13" y="12"/>
                        </a:lnTo>
                        <a:lnTo>
                          <a:pt x="13" y="31"/>
                        </a:lnTo>
                        <a:lnTo>
                          <a:pt x="11" y="35"/>
                        </a:lnTo>
                        <a:lnTo>
                          <a:pt x="9" y="38"/>
                        </a:lnTo>
                        <a:lnTo>
                          <a:pt x="9" y="46"/>
                        </a:lnTo>
                        <a:lnTo>
                          <a:pt x="11" y="50"/>
                        </a:lnTo>
                        <a:lnTo>
                          <a:pt x="8" y="50"/>
                        </a:lnTo>
                        <a:lnTo>
                          <a:pt x="0" y="40"/>
                        </a:lnTo>
                        <a:lnTo>
                          <a:pt x="2" y="12"/>
                        </a:lnTo>
                        <a:lnTo>
                          <a:pt x="6" y="6"/>
                        </a:lnTo>
                        <a:lnTo>
                          <a:pt x="6" y="0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8" name="Freeform 64"/>
                  <p:cNvSpPr>
                    <a:spLocks/>
                  </p:cNvSpPr>
                  <p:nvPr/>
                </p:nvSpPr>
                <p:spPr bwMode="auto">
                  <a:xfrm>
                    <a:off x="5949950" y="-704850"/>
                    <a:ext cx="100013" cy="93663"/>
                  </a:xfrm>
                  <a:custGeom>
                    <a:avLst/>
                    <a:gdLst/>
                    <a:ahLst/>
                    <a:cxnLst>
                      <a:cxn ang="0">
                        <a:pos x="54" y="0"/>
                      </a:cxn>
                      <a:cxn ang="0">
                        <a:pos x="59" y="0"/>
                      </a:cxn>
                      <a:cxn ang="0">
                        <a:pos x="61" y="3"/>
                      </a:cxn>
                      <a:cxn ang="0">
                        <a:pos x="63" y="13"/>
                      </a:cxn>
                      <a:cxn ang="0">
                        <a:pos x="61" y="15"/>
                      </a:cxn>
                      <a:cxn ang="0">
                        <a:pos x="58" y="15"/>
                      </a:cxn>
                      <a:cxn ang="0">
                        <a:pos x="42" y="21"/>
                      </a:cxn>
                      <a:cxn ang="0">
                        <a:pos x="44" y="26"/>
                      </a:cxn>
                      <a:cxn ang="0">
                        <a:pos x="42" y="28"/>
                      </a:cxn>
                      <a:cxn ang="0">
                        <a:pos x="38" y="30"/>
                      </a:cxn>
                      <a:cxn ang="0">
                        <a:pos x="31" y="34"/>
                      </a:cxn>
                      <a:cxn ang="0">
                        <a:pos x="29" y="38"/>
                      </a:cxn>
                      <a:cxn ang="0">
                        <a:pos x="27" y="48"/>
                      </a:cxn>
                      <a:cxn ang="0">
                        <a:pos x="25" y="53"/>
                      </a:cxn>
                      <a:cxn ang="0">
                        <a:pos x="19" y="55"/>
                      </a:cxn>
                      <a:cxn ang="0">
                        <a:pos x="10" y="59"/>
                      </a:cxn>
                      <a:cxn ang="0">
                        <a:pos x="4" y="59"/>
                      </a:cxn>
                      <a:cxn ang="0">
                        <a:pos x="0" y="57"/>
                      </a:cxn>
                      <a:cxn ang="0">
                        <a:pos x="0" y="53"/>
                      </a:cxn>
                      <a:cxn ang="0">
                        <a:pos x="0" y="48"/>
                      </a:cxn>
                      <a:cxn ang="0">
                        <a:pos x="19" y="30"/>
                      </a:cxn>
                      <a:cxn ang="0">
                        <a:pos x="27" y="25"/>
                      </a:cxn>
                      <a:cxn ang="0">
                        <a:pos x="36" y="23"/>
                      </a:cxn>
                      <a:cxn ang="0">
                        <a:pos x="35" y="15"/>
                      </a:cxn>
                      <a:cxn ang="0">
                        <a:pos x="38" y="9"/>
                      </a:cxn>
                      <a:cxn ang="0">
                        <a:pos x="44" y="3"/>
                      </a:cxn>
                      <a:cxn ang="0">
                        <a:pos x="54" y="0"/>
                      </a:cxn>
                    </a:cxnLst>
                    <a:rect l="0" t="0" r="r" b="b"/>
                    <a:pathLst>
                      <a:path w="63" h="59">
                        <a:moveTo>
                          <a:pt x="54" y="0"/>
                        </a:moveTo>
                        <a:lnTo>
                          <a:pt x="59" y="0"/>
                        </a:lnTo>
                        <a:lnTo>
                          <a:pt x="61" y="3"/>
                        </a:lnTo>
                        <a:lnTo>
                          <a:pt x="63" y="13"/>
                        </a:lnTo>
                        <a:lnTo>
                          <a:pt x="61" y="15"/>
                        </a:lnTo>
                        <a:lnTo>
                          <a:pt x="58" y="15"/>
                        </a:lnTo>
                        <a:lnTo>
                          <a:pt x="42" y="21"/>
                        </a:lnTo>
                        <a:lnTo>
                          <a:pt x="44" y="26"/>
                        </a:lnTo>
                        <a:lnTo>
                          <a:pt x="42" y="28"/>
                        </a:lnTo>
                        <a:lnTo>
                          <a:pt x="38" y="30"/>
                        </a:lnTo>
                        <a:lnTo>
                          <a:pt x="31" y="34"/>
                        </a:lnTo>
                        <a:lnTo>
                          <a:pt x="29" y="38"/>
                        </a:lnTo>
                        <a:lnTo>
                          <a:pt x="27" y="48"/>
                        </a:lnTo>
                        <a:lnTo>
                          <a:pt x="25" y="53"/>
                        </a:lnTo>
                        <a:lnTo>
                          <a:pt x="19" y="55"/>
                        </a:lnTo>
                        <a:lnTo>
                          <a:pt x="10" y="59"/>
                        </a:lnTo>
                        <a:lnTo>
                          <a:pt x="4" y="59"/>
                        </a:lnTo>
                        <a:lnTo>
                          <a:pt x="0" y="57"/>
                        </a:lnTo>
                        <a:lnTo>
                          <a:pt x="0" y="53"/>
                        </a:lnTo>
                        <a:lnTo>
                          <a:pt x="0" y="48"/>
                        </a:lnTo>
                        <a:lnTo>
                          <a:pt x="19" y="30"/>
                        </a:lnTo>
                        <a:lnTo>
                          <a:pt x="27" y="25"/>
                        </a:lnTo>
                        <a:lnTo>
                          <a:pt x="36" y="23"/>
                        </a:lnTo>
                        <a:lnTo>
                          <a:pt x="35" y="15"/>
                        </a:lnTo>
                        <a:lnTo>
                          <a:pt x="38" y="9"/>
                        </a:lnTo>
                        <a:lnTo>
                          <a:pt x="44" y="3"/>
                        </a:lnTo>
                        <a:lnTo>
                          <a:pt x="54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9" name="Freeform 65"/>
                  <p:cNvSpPr>
                    <a:spLocks/>
                  </p:cNvSpPr>
                  <p:nvPr/>
                </p:nvSpPr>
                <p:spPr bwMode="auto">
                  <a:xfrm>
                    <a:off x="6029325" y="-674688"/>
                    <a:ext cx="30163" cy="17463"/>
                  </a:xfrm>
                  <a:custGeom>
                    <a:avLst/>
                    <a:gdLst/>
                    <a:ahLst/>
                    <a:cxnLst>
                      <a:cxn ang="0">
                        <a:pos x="15" y="0"/>
                      </a:cxn>
                      <a:cxn ang="0">
                        <a:pos x="19" y="4"/>
                      </a:cxn>
                      <a:cxn ang="0">
                        <a:pos x="17" y="7"/>
                      </a:cxn>
                      <a:cxn ang="0">
                        <a:pos x="4" y="11"/>
                      </a:cxn>
                      <a:cxn ang="0">
                        <a:pos x="0" y="11"/>
                      </a:cxn>
                      <a:cxn ang="0">
                        <a:pos x="0" y="7"/>
                      </a:cxn>
                      <a:cxn ang="0">
                        <a:pos x="0" y="4"/>
                      </a:cxn>
                      <a:cxn ang="0">
                        <a:pos x="15" y="0"/>
                      </a:cxn>
                    </a:cxnLst>
                    <a:rect l="0" t="0" r="r" b="b"/>
                    <a:pathLst>
                      <a:path w="19" h="11">
                        <a:moveTo>
                          <a:pt x="15" y="0"/>
                        </a:moveTo>
                        <a:lnTo>
                          <a:pt x="19" y="4"/>
                        </a:lnTo>
                        <a:lnTo>
                          <a:pt x="17" y="7"/>
                        </a:lnTo>
                        <a:lnTo>
                          <a:pt x="4" y="11"/>
                        </a:lnTo>
                        <a:lnTo>
                          <a:pt x="0" y="11"/>
                        </a:lnTo>
                        <a:lnTo>
                          <a:pt x="0" y="7"/>
                        </a:lnTo>
                        <a:lnTo>
                          <a:pt x="0" y="4"/>
                        </a:lnTo>
                        <a:lnTo>
                          <a:pt x="15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0" name="Freeform 66"/>
                  <p:cNvSpPr>
                    <a:spLocks/>
                  </p:cNvSpPr>
                  <p:nvPr/>
                </p:nvSpPr>
                <p:spPr bwMode="auto">
                  <a:xfrm>
                    <a:off x="5999163" y="-654050"/>
                    <a:ext cx="57150" cy="46038"/>
                  </a:xfrm>
                  <a:custGeom>
                    <a:avLst/>
                    <a:gdLst/>
                    <a:ahLst/>
                    <a:cxnLst>
                      <a:cxn ang="0">
                        <a:pos x="32" y="2"/>
                      </a:cxn>
                      <a:cxn ang="0">
                        <a:pos x="36" y="8"/>
                      </a:cxn>
                      <a:cxn ang="0">
                        <a:pos x="32" y="16"/>
                      </a:cxn>
                      <a:cxn ang="0">
                        <a:pos x="36" y="27"/>
                      </a:cxn>
                      <a:cxn ang="0">
                        <a:pos x="36" y="29"/>
                      </a:cxn>
                      <a:cxn ang="0">
                        <a:pos x="27" y="25"/>
                      </a:cxn>
                      <a:cxn ang="0">
                        <a:pos x="21" y="16"/>
                      </a:cxn>
                      <a:cxn ang="0">
                        <a:pos x="17" y="12"/>
                      </a:cxn>
                      <a:cxn ang="0">
                        <a:pos x="9" y="17"/>
                      </a:cxn>
                      <a:cxn ang="0">
                        <a:pos x="5" y="19"/>
                      </a:cxn>
                      <a:cxn ang="0">
                        <a:pos x="0" y="19"/>
                      </a:cxn>
                      <a:cxn ang="0">
                        <a:pos x="0" y="16"/>
                      </a:cxn>
                      <a:cxn ang="0">
                        <a:pos x="2" y="16"/>
                      </a:cxn>
                      <a:cxn ang="0">
                        <a:pos x="2" y="8"/>
                      </a:cxn>
                      <a:cxn ang="0">
                        <a:pos x="4" y="6"/>
                      </a:cxn>
                      <a:cxn ang="0">
                        <a:pos x="11" y="6"/>
                      </a:cxn>
                      <a:cxn ang="0">
                        <a:pos x="13" y="2"/>
                      </a:cxn>
                      <a:cxn ang="0">
                        <a:pos x="23" y="4"/>
                      </a:cxn>
                      <a:cxn ang="0">
                        <a:pos x="28" y="0"/>
                      </a:cxn>
                      <a:cxn ang="0">
                        <a:pos x="32" y="2"/>
                      </a:cxn>
                    </a:cxnLst>
                    <a:rect l="0" t="0" r="r" b="b"/>
                    <a:pathLst>
                      <a:path w="36" h="29">
                        <a:moveTo>
                          <a:pt x="32" y="2"/>
                        </a:moveTo>
                        <a:lnTo>
                          <a:pt x="36" y="8"/>
                        </a:lnTo>
                        <a:lnTo>
                          <a:pt x="32" y="16"/>
                        </a:lnTo>
                        <a:lnTo>
                          <a:pt x="36" y="27"/>
                        </a:lnTo>
                        <a:lnTo>
                          <a:pt x="36" y="29"/>
                        </a:lnTo>
                        <a:lnTo>
                          <a:pt x="27" y="25"/>
                        </a:lnTo>
                        <a:lnTo>
                          <a:pt x="21" y="16"/>
                        </a:lnTo>
                        <a:lnTo>
                          <a:pt x="17" y="12"/>
                        </a:lnTo>
                        <a:lnTo>
                          <a:pt x="9" y="17"/>
                        </a:lnTo>
                        <a:lnTo>
                          <a:pt x="5" y="19"/>
                        </a:lnTo>
                        <a:lnTo>
                          <a:pt x="0" y="19"/>
                        </a:lnTo>
                        <a:lnTo>
                          <a:pt x="0" y="16"/>
                        </a:lnTo>
                        <a:lnTo>
                          <a:pt x="2" y="16"/>
                        </a:lnTo>
                        <a:lnTo>
                          <a:pt x="2" y="8"/>
                        </a:lnTo>
                        <a:lnTo>
                          <a:pt x="4" y="6"/>
                        </a:lnTo>
                        <a:lnTo>
                          <a:pt x="11" y="6"/>
                        </a:lnTo>
                        <a:lnTo>
                          <a:pt x="13" y="2"/>
                        </a:lnTo>
                        <a:lnTo>
                          <a:pt x="23" y="4"/>
                        </a:lnTo>
                        <a:lnTo>
                          <a:pt x="28" y="0"/>
                        </a:lnTo>
                        <a:lnTo>
                          <a:pt x="32" y="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1" name="Freeform 67"/>
                  <p:cNvSpPr>
                    <a:spLocks/>
                  </p:cNvSpPr>
                  <p:nvPr/>
                </p:nvSpPr>
                <p:spPr bwMode="auto">
                  <a:xfrm>
                    <a:off x="5946775" y="-717550"/>
                    <a:ext cx="12700" cy="42863"/>
                  </a:xfrm>
                  <a:custGeom>
                    <a:avLst/>
                    <a:gdLst/>
                    <a:ahLst/>
                    <a:cxnLst>
                      <a:cxn ang="0">
                        <a:pos x="8" y="0"/>
                      </a:cxn>
                      <a:cxn ang="0">
                        <a:pos x="8" y="21"/>
                      </a:cxn>
                      <a:cxn ang="0">
                        <a:pos x="4" y="27"/>
                      </a:cxn>
                      <a:cxn ang="0">
                        <a:pos x="2" y="27"/>
                      </a:cxn>
                      <a:cxn ang="0">
                        <a:pos x="0" y="23"/>
                      </a:cxn>
                      <a:cxn ang="0">
                        <a:pos x="2" y="13"/>
                      </a:cxn>
                      <a:cxn ang="0">
                        <a:pos x="4" y="0"/>
                      </a:cxn>
                      <a:cxn ang="0">
                        <a:pos x="4" y="0"/>
                      </a:cxn>
                      <a:cxn ang="0">
                        <a:pos x="8" y="0"/>
                      </a:cxn>
                    </a:cxnLst>
                    <a:rect l="0" t="0" r="r" b="b"/>
                    <a:pathLst>
                      <a:path w="8" h="27">
                        <a:moveTo>
                          <a:pt x="8" y="0"/>
                        </a:moveTo>
                        <a:lnTo>
                          <a:pt x="8" y="21"/>
                        </a:lnTo>
                        <a:lnTo>
                          <a:pt x="4" y="27"/>
                        </a:lnTo>
                        <a:lnTo>
                          <a:pt x="2" y="27"/>
                        </a:lnTo>
                        <a:lnTo>
                          <a:pt x="0" y="23"/>
                        </a:lnTo>
                        <a:lnTo>
                          <a:pt x="2" y="13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2" name="Freeform 68"/>
                  <p:cNvSpPr>
                    <a:spLocks/>
                  </p:cNvSpPr>
                  <p:nvPr/>
                </p:nvSpPr>
                <p:spPr bwMode="auto">
                  <a:xfrm>
                    <a:off x="6784975" y="-601663"/>
                    <a:ext cx="36513" cy="42863"/>
                  </a:xfrm>
                  <a:custGeom>
                    <a:avLst/>
                    <a:gdLst/>
                    <a:ahLst/>
                    <a:cxnLst>
                      <a:cxn ang="0">
                        <a:pos x="19" y="0"/>
                      </a:cxn>
                      <a:cxn ang="0">
                        <a:pos x="23" y="4"/>
                      </a:cxn>
                      <a:cxn ang="0">
                        <a:pos x="23" y="17"/>
                      </a:cxn>
                      <a:cxn ang="0">
                        <a:pos x="21" y="23"/>
                      </a:cxn>
                      <a:cxn ang="0">
                        <a:pos x="15" y="27"/>
                      </a:cxn>
                      <a:cxn ang="0">
                        <a:pos x="9" y="27"/>
                      </a:cxn>
                      <a:cxn ang="0">
                        <a:pos x="6" y="23"/>
                      </a:cxn>
                      <a:cxn ang="0">
                        <a:pos x="2" y="19"/>
                      </a:cxn>
                      <a:cxn ang="0">
                        <a:pos x="0" y="17"/>
                      </a:cxn>
                      <a:cxn ang="0">
                        <a:pos x="2" y="13"/>
                      </a:cxn>
                      <a:cxn ang="0">
                        <a:pos x="4" y="4"/>
                      </a:cxn>
                      <a:cxn ang="0">
                        <a:pos x="7" y="0"/>
                      </a:cxn>
                      <a:cxn ang="0">
                        <a:pos x="19" y="0"/>
                      </a:cxn>
                    </a:cxnLst>
                    <a:rect l="0" t="0" r="r" b="b"/>
                    <a:pathLst>
                      <a:path w="23" h="27">
                        <a:moveTo>
                          <a:pt x="19" y="0"/>
                        </a:moveTo>
                        <a:lnTo>
                          <a:pt x="23" y="4"/>
                        </a:lnTo>
                        <a:lnTo>
                          <a:pt x="23" y="17"/>
                        </a:lnTo>
                        <a:lnTo>
                          <a:pt x="21" y="23"/>
                        </a:lnTo>
                        <a:lnTo>
                          <a:pt x="15" y="27"/>
                        </a:lnTo>
                        <a:lnTo>
                          <a:pt x="9" y="27"/>
                        </a:lnTo>
                        <a:lnTo>
                          <a:pt x="6" y="23"/>
                        </a:lnTo>
                        <a:lnTo>
                          <a:pt x="2" y="19"/>
                        </a:lnTo>
                        <a:lnTo>
                          <a:pt x="0" y="17"/>
                        </a:lnTo>
                        <a:lnTo>
                          <a:pt x="2" y="13"/>
                        </a:lnTo>
                        <a:lnTo>
                          <a:pt x="4" y="4"/>
                        </a:lnTo>
                        <a:lnTo>
                          <a:pt x="7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3" name="Freeform 69"/>
                  <p:cNvSpPr>
                    <a:spLocks/>
                  </p:cNvSpPr>
                  <p:nvPr/>
                </p:nvSpPr>
                <p:spPr bwMode="auto">
                  <a:xfrm>
                    <a:off x="6742113" y="-508000"/>
                    <a:ext cx="20638" cy="39688"/>
                  </a:xfrm>
                  <a:custGeom>
                    <a:avLst/>
                    <a:gdLst/>
                    <a:ahLst/>
                    <a:cxnLst>
                      <a:cxn ang="0">
                        <a:pos x="11" y="2"/>
                      </a:cxn>
                      <a:cxn ang="0">
                        <a:pos x="13" y="21"/>
                      </a:cxn>
                      <a:cxn ang="0">
                        <a:pos x="11" y="25"/>
                      </a:cxn>
                      <a:cxn ang="0">
                        <a:pos x="9" y="25"/>
                      </a:cxn>
                      <a:cxn ang="0">
                        <a:pos x="2" y="18"/>
                      </a:cxn>
                      <a:cxn ang="0">
                        <a:pos x="0" y="14"/>
                      </a:cxn>
                      <a:cxn ang="0">
                        <a:pos x="2" y="10"/>
                      </a:cxn>
                      <a:cxn ang="0">
                        <a:pos x="6" y="2"/>
                      </a:cxn>
                      <a:cxn ang="0">
                        <a:pos x="8" y="0"/>
                      </a:cxn>
                      <a:cxn ang="0">
                        <a:pos x="11" y="2"/>
                      </a:cxn>
                    </a:cxnLst>
                    <a:rect l="0" t="0" r="r" b="b"/>
                    <a:pathLst>
                      <a:path w="13" h="25">
                        <a:moveTo>
                          <a:pt x="11" y="2"/>
                        </a:moveTo>
                        <a:lnTo>
                          <a:pt x="13" y="21"/>
                        </a:lnTo>
                        <a:lnTo>
                          <a:pt x="11" y="25"/>
                        </a:lnTo>
                        <a:lnTo>
                          <a:pt x="9" y="25"/>
                        </a:lnTo>
                        <a:lnTo>
                          <a:pt x="2" y="18"/>
                        </a:lnTo>
                        <a:lnTo>
                          <a:pt x="0" y="14"/>
                        </a:lnTo>
                        <a:lnTo>
                          <a:pt x="2" y="10"/>
                        </a:lnTo>
                        <a:lnTo>
                          <a:pt x="6" y="2"/>
                        </a:lnTo>
                        <a:lnTo>
                          <a:pt x="8" y="0"/>
                        </a:lnTo>
                        <a:lnTo>
                          <a:pt x="11" y="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4" name="Freeform 70"/>
                  <p:cNvSpPr>
                    <a:spLocks/>
                  </p:cNvSpPr>
                  <p:nvPr/>
                </p:nvSpPr>
                <p:spPr bwMode="auto">
                  <a:xfrm>
                    <a:off x="6602413" y="-446088"/>
                    <a:ext cx="44450" cy="60325"/>
                  </a:xfrm>
                  <a:custGeom>
                    <a:avLst/>
                    <a:gdLst/>
                    <a:ahLst/>
                    <a:cxnLst>
                      <a:cxn ang="0">
                        <a:pos x="23" y="4"/>
                      </a:cxn>
                      <a:cxn ang="0">
                        <a:pos x="25" y="0"/>
                      </a:cxn>
                      <a:cxn ang="0">
                        <a:pos x="28" y="0"/>
                      </a:cxn>
                      <a:cxn ang="0">
                        <a:pos x="28" y="7"/>
                      </a:cxn>
                      <a:cxn ang="0">
                        <a:pos x="26" y="15"/>
                      </a:cxn>
                      <a:cxn ang="0">
                        <a:pos x="23" y="19"/>
                      </a:cxn>
                      <a:cxn ang="0">
                        <a:pos x="21" y="27"/>
                      </a:cxn>
                      <a:cxn ang="0">
                        <a:pos x="21" y="32"/>
                      </a:cxn>
                      <a:cxn ang="0">
                        <a:pos x="13" y="38"/>
                      </a:cxn>
                      <a:cxn ang="0">
                        <a:pos x="7" y="38"/>
                      </a:cxn>
                      <a:cxn ang="0">
                        <a:pos x="3" y="34"/>
                      </a:cxn>
                      <a:cxn ang="0">
                        <a:pos x="2" y="30"/>
                      </a:cxn>
                      <a:cxn ang="0">
                        <a:pos x="0" y="27"/>
                      </a:cxn>
                      <a:cxn ang="0">
                        <a:pos x="0" y="23"/>
                      </a:cxn>
                      <a:cxn ang="0">
                        <a:pos x="3" y="19"/>
                      </a:cxn>
                      <a:cxn ang="0">
                        <a:pos x="9" y="13"/>
                      </a:cxn>
                      <a:cxn ang="0">
                        <a:pos x="13" y="4"/>
                      </a:cxn>
                      <a:cxn ang="0">
                        <a:pos x="17" y="2"/>
                      </a:cxn>
                      <a:cxn ang="0">
                        <a:pos x="19" y="4"/>
                      </a:cxn>
                      <a:cxn ang="0">
                        <a:pos x="23" y="4"/>
                      </a:cxn>
                    </a:cxnLst>
                    <a:rect l="0" t="0" r="r" b="b"/>
                    <a:pathLst>
                      <a:path w="28" h="38">
                        <a:moveTo>
                          <a:pt x="23" y="4"/>
                        </a:moveTo>
                        <a:lnTo>
                          <a:pt x="25" y="0"/>
                        </a:lnTo>
                        <a:lnTo>
                          <a:pt x="28" y="0"/>
                        </a:lnTo>
                        <a:lnTo>
                          <a:pt x="28" y="7"/>
                        </a:lnTo>
                        <a:lnTo>
                          <a:pt x="26" y="15"/>
                        </a:lnTo>
                        <a:lnTo>
                          <a:pt x="23" y="19"/>
                        </a:lnTo>
                        <a:lnTo>
                          <a:pt x="21" y="27"/>
                        </a:lnTo>
                        <a:lnTo>
                          <a:pt x="21" y="32"/>
                        </a:lnTo>
                        <a:lnTo>
                          <a:pt x="13" y="38"/>
                        </a:lnTo>
                        <a:lnTo>
                          <a:pt x="7" y="38"/>
                        </a:lnTo>
                        <a:lnTo>
                          <a:pt x="3" y="34"/>
                        </a:lnTo>
                        <a:lnTo>
                          <a:pt x="2" y="30"/>
                        </a:lnTo>
                        <a:lnTo>
                          <a:pt x="0" y="27"/>
                        </a:lnTo>
                        <a:lnTo>
                          <a:pt x="0" y="23"/>
                        </a:lnTo>
                        <a:lnTo>
                          <a:pt x="3" y="19"/>
                        </a:lnTo>
                        <a:lnTo>
                          <a:pt x="9" y="13"/>
                        </a:lnTo>
                        <a:lnTo>
                          <a:pt x="13" y="4"/>
                        </a:lnTo>
                        <a:lnTo>
                          <a:pt x="17" y="2"/>
                        </a:lnTo>
                        <a:lnTo>
                          <a:pt x="19" y="4"/>
                        </a:lnTo>
                        <a:lnTo>
                          <a:pt x="23" y="4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5" name="Freeform 71"/>
                  <p:cNvSpPr>
                    <a:spLocks/>
                  </p:cNvSpPr>
                  <p:nvPr/>
                </p:nvSpPr>
                <p:spPr bwMode="auto">
                  <a:xfrm>
                    <a:off x="6416675" y="-382588"/>
                    <a:ext cx="23813" cy="12700"/>
                  </a:xfrm>
                  <a:custGeom>
                    <a:avLst/>
                    <a:gdLst/>
                    <a:ahLst/>
                    <a:cxnLst>
                      <a:cxn ang="0">
                        <a:pos x="13" y="0"/>
                      </a:cxn>
                      <a:cxn ang="0">
                        <a:pos x="15" y="4"/>
                      </a:cxn>
                      <a:cxn ang="0">
                        <a:pos x="13" y="6"/>
                      </a:cxn>
                      <a:cxn ang="0">
                        <a:pos x="5" y="8"/>
                      </a:cxn>
                      <a:cxn ang="0">
                        <a:pos x="0" y="6"/>
                      </a:cxn>
                      <a:cxn ang="0">
                        <a:pos x="1" y="2"/>
                      </a:cxn>
                      <a:cxn ang="0">
                        <a:pos x="7" y="0"/>
                      </a:cxn>
                      <a:cxn ang="0">
                        <a:pos x="13" y="0"/>
                      </a:cxn>
                    </a:cxnLst>
                    <a:rect l="0" t="0" r="r" b="b"/>
                    <a:pathLst>
                      <a:path w="15" h="8">
                        <a:moveTo>
                          <a:pt x="13" y="0"/>
                        </a:moveTo>
                        <a:lnTo>
                          <a:pt x="15" y="4"/>
                        </a:lnTo>
                        <a:lnTo>
                          <a:pt x="13" y="6"/>
                        </a:lnTo>
                        <a:lnTo>
                          <a:pt x="5" y="8"/>
                        </a:lnTo>
                        <a:lnTo>
                          <a:pt x="0" y="6"/>
                        </a:lnTo>
                        <a:lnTo>
                          <a:pt x="1" y="2"/>
                        </a:lnTo>
                        <a:lnTo>
                          <a:pt x="7" y="0"/>
                        </a:lnTo>
                        <a:lnTo>
                          <a:pt x="13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6" name="Freeform 72"/>
                  <p:cNvSpPr>
                    <a:spLocks/>
                  </p:cNvSpPr>
                  <p:nvPr/>
                </p:nvSpPr>
                <p:spPr bwMode="auto">
                  <a:xfrm>
                    <a:off x="6126163" y="-376238"/>
                    <a:ext cx="42863" cy="14288"/>
                  </a:xfrm>
                  <a:custGeom>
                    <a:avLst/>
                    <a:gdLst/>
                    <a:ahLst/>
                    <a:cxnLst>
                      <a:cxn ang="0">
                        <a:pos x="14" y="6"/>
                      </a:cxn>
                      <a:cxn ang="0">
                        <a:pos x="27" y="6"/>
                      </a:cxn>
                      <a:cxn ang="0">
                        <a:pos x="27" y="8"/>
                      </a:cxn>
                      <a:cxn ang="0">
                        <a:pos x="23" y="9"/>
                      </a:cxn>
                      <a:cxn ang="0">
                        <a:pos x="14" y="9"/>
                      </a:cxn>
                      <a:cxn ang="0">
                        <a:pos x="2" y="4"/>
                      </a:cxn>
                      <a:cxn ang="0">
                        <a:pos x="0" y="0"/>
                      </a:cxn>
                      <a:cxn ang="0">
                        <a:pos x="4" y="0"/>
                      </a:cxn>
                      <a:cxn ang="0">
                        <a:pos x="14" y="6"/>
                      </a:cxn>
                    </a:cxnLst>
                    <a:rect l="0" t="0" r="r" b="b"/>
                    <a:pathLst>
                      <a:path w="27" h="9">
                        <a:moveTo>
                          <a:pt x="14" y="6"/>
                        </a:moveTo>
                        <a:lnTo>
                          <a:pt x="27" y="6"/>
                        </a:lnTo>
                        <a:lnTo>
                          <a:pt x="27" y="8"/>
                        </a:lnTo>
                        <a:lnTo>
                          <a:pt x="23" y="9"/>
                        </a:lnTo>
                        <a:lnTo>
                          <a:pt x="14" y="9"/>
                        </a:lnTo>
                        <a:lnTo>
                          <a:pt x="2" y="4"/>
                        </a:lnTo>
                        <a:lnTo>
                          <a:pt x="0" y="0"/>
                        </a:lnTo>
                        <a:lnTo>
                          <a:pt x="4" y="0"/>
                        </a:lnTo>
                        <a:lnTo>
                          <a:pt x="14" y="6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7" name="Freeform 73"/>
                  <p:cNvSpPr>
                    <a:spLocks/>
                  </p:cNvSpPr>
                  <p:nvPr/>
                </p:nvSpPr>
                <p:spPr bwMode="auto">
                  <a:xfrm>
                    <a:off x="6169025" y="-358775"/>
                    <a:ext cx="12700" cy="12700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6" y="0"/>
                      </a:cxn>
                      <a:cxn ang="0">
                        <a:pos x="8" y="2"/>
                      </a:cxn>
                      <a:cxn ang="0">
                        <a:pos x="0" y="8"/>
                      </a:cxn>
                      <a:cxn ang="0">
                        <a:pos x="0" y="4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8" h="8">
                        <a:moveTo>
                          <a:pt x="4" y="0"/>
                        </a:moveTo>
                        <a:lnTo>
                          <a:pt x="6" y="0"/>
                        </a:lnTo>
                        <a:lnTo>
                          <a:pt x="8" y="2"/>
                        </a:lnTo>
                        <a:lnTo>
                          <a:pt x="0" y="8"/>
                        </a:lnTo>
                        <a:lnTo>
                          <a:pt x="0" y="4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8" name="Freeform 74"/>
                  <p:cNvSpPr>
                    <a:spLocks/>
                  </p:cNvSpPr>
                  <p:nvPr/>
                </p:nvSpPr>
                <p:spPr bwMode="auto">
                  <a:xfrm>
                    <a:off x="6086475" y="-906463"/>
                    <a:ext cx="722313" cy="523875"/>
                  </a:xfrm>
                  <a:custGeom>
                    <a:avLst/>
                    <a:gdLst/>
                    <a:ahLst/>
                    <a:cxnLst>
                      <a:cxn ang="0">
                        <a:pos x="451" y="40"/>
                      </a:cxn>
                      <a:cxn ang="0">
                        <a:pos x="440" y="71"/>
                      </a:cxn>
                      <a:cxn ang="0">
                        <a:pos x="426" y="132"/>
                      </a:cxn>
                      <a:cxn ang="0">
                        <a:pos x="421" y="165"/>
                      </a:cxn>
                      <a:cxn ang="0">
                        <a:pos x="401" y="178"/>
                      </a:cxn>
                      <a:cxn ang="0">
                        <a:pos x="403" y="194"/>
                      </a:cxn>
                      <a:cxn ang="0">
                        <a:pos x="369" y="217"/>
                      </a:cxn>
                      <a:cxn ang="0">
                        <a:pos x="371" y="230"/>
                      </a:cxn>
                      <a:cxn ang="0">
                        <a:pos x="369" y="247"/>
                      </a:cxn>
                      <a:cxn ang="0">
                        <a:pos x="338" y="276"/>
                      </a:cxn>
                      <a:cxn ang="0">
                        <a:pos x="317" y="278"/>
                      </a:cxn>
                      <a:cxn ang="0">
                        <a:pos x="302" y="288"/>
                      </a:cxn>
                      <a:cxn ang="0">
                        <a:pos x="290" y="295"/>
                      </a:cxn>
                      <a:cxn ang="0">
                        <a:pos x="269" y="286"/>
                      </a:cxn>
                      <a:cxn ang="0">
                        <a:pos x="265" y="297"/>
                      </a:cxn>
                      <a:cxn ang="0">
                        <a:pos x="242" y="297"/>
                      </a:cxn>
                      <a:cxn ang="0">
                        <a:pos x="233" y="295"/>
                      </a:cxn>
                      <a:cxn ang="0">
                        <a:pos x="215" y="315"/>
                      </a:cxn>
                      <a:cxn ang="0">
                        <a:pos x="192" y="315"/>
                      </a:cxn>
                      <a:cxn ang="0">
                        <a:pos x="188" y="320"/>
                      </a:cxn>
                      <a:cxn ang="0">
                        <a:pos x="175" y="330"/>
                      </a:cxn>
                      <a:cxn ang="0">
                        <a:pos x="133" y="318"/>
                      </a:cxn>
                      <a:cxn ang="0">
                        <a:pos x="121" y="317"/>
                      </a:cxn>
                      <a:cxn ang="0">
                        <a:pos x="92" y="320"/>
                      </a:cxn>
                      <a:cxn ang="0">
                        <a:pos x="71" y="324"/>
                      </a:cxn>
                      <a:cxn ang="0">
                        <a:pos x="44" y="303"/>
                      </a:cxn>
                      <a:cxn ang="0">
                        <a:pos x="35" y="267"/>
                      </a:cxn>
                      <a:cxn ang="0">
                        <a:pos x="67" y="246"/>
                      </a:cxn>
                      <a:cxn ang="0">
                        <a:pos x="58" y="223"/>
                      </a:cxn>
                      <a:cxn ang="0">
                        <a:pos x="31" y="207"/>
                      </a:cxn>
                      <a:cxn ang="0">
                        <a:pos x="31" y="194"/>
                      </a:cxn>
                      <a:cxn ang="0">
                        <a:pos x="62" y="175"/>
                      </a:cxn>
                      <a:cxn ang="0">
                        <a:pos x="79" y="167"/>
                      </a:cxn>
                      <a:cxn ang="0">
                        <a:pos x="69" y="129"/>
                      </a:cxn>
                      <a:cxn ang="0">
                        <a:pos x="89" y="111"/>
                      </a:cxn>
                      <a:cxn ang="0">
                        <a:pos x="110" y="117"/>
                      </a:cxn>
                      <a:cxn ang="0">
                        <a:pos x="114" y="157"/>
                      </a:cxn>
                      <a:cxn ang="0">
                        <a:pos x="144" y="173"/>
                      </a:cxn>
                      <a:cxn ang="0">
                        <a:pos x="117" y="146"/>
                      </a:cxn>
                      <a:cxn ang="0">
                        <a:pos x="110" y="113"/>
                      </a:cxn>
                      <a:cxn ang="0">
                        <a:pos x="85" y="111"/>
                      </a:cxn>
                      <a:cxn ang="0">
                        <a:pos x="64" y="132"/>
                      </a:cxn>
                      <a:cxn ang="0">
                        <a:pos x="41" y="115"/>
                      </a:cxn>
                      <a:cxn ang="0">
                        <a:pos x="37" y="111"/>
                      </a:cxn>
                      <a:cxn ang="0">
                        <a:pos x="8" y="100"/>
                      </a:cxn>
                      <a:cxn ang="0">
                        <a:pos x="14" y="82"/>
                      </a:cxn>
                      <a:cxn ang="0">
                        <a:pos x="33" y="100"/>
                      </a:cxn>
                      <a:cxn ang="0">
                        <a:pos x="50" y="92"/>
                      </a:cxn>
                      <a:cxn ang="0">
                        <a:pos x="79" y="69"/>
                      </a:cxn>
                      <a:cxn ang="0">
                        <a:pos x="66" y="34"/>
                      </a:cxn>
                      <a:cxn ang="0">
                        <a:pos x="77" y="2"/>
                      </a:cxn>
                      <a:cxn ang="0">
                        <a:pos x="102" y="8"/>
                      </a:cxn>
                      <a:cxn ang="0">
                        <a:pos x="202" y="34"/>
                      </a:cxn>
                      <a:cxn ang="0">
                        <a:pos x="271" y="17"/>
                      </a:cxn>
                      <a:cxn ang="0">
                        <a:pos x="332" y="17"/>
                      </a:cxn>
                      <a:cxn ang="0">
                        <a:pos x="369" y="25"/>
                      </a:cxn>
                      <a:cxn ang="0">
                        <a:pos x="396" y="36"/>
                      </a:cxn>
                    </a:cxnLst>
                    <a:rect l="0" t="0" r="r" b="b"/>
                    <a:pathLst>
                      <a:path w="455" h="330">
                        <a:moveTo>
                          <a:pt x="407" y="31"/>
                        </a:moveTo>
                        <a:lnTo>
                          <a:pt x="434" y="31"/>
                        </a:lnTo>
                        <a:lnTo>
                          <a:pt x="444" y="34"/>
                        </a:lnTo>
                        <a:lnTo>
                          <a:pt x="451" y="40"/>
                        </a:lnTo>
                        <a:lnTo>
                          <a:pt x="453" y="44"/>
                        </a:lnTo>
                        <a:lnTo>
                          <a:pt x="455" y="52"/>
                        </a:lnTo>
                        <a:lnTo>
                          <a:pt x="449" y="61"/>
                        </a:lnTo>
                        <a:lnTo>
                          <a:pt x="440" y="71"/>
                        </a:lnTo>
                        <a:lnTo>
                          <a:pt x="432" y="107"/>
                        </a:lnTo>
                        <a:lnTo>
                          <a:pt x="430" y="123"/>
                        </a:lnTo>
                        <a:lnTo>
                          <a:pt x="428" y="129"/>
                        </a:lnTo>
                        <a:lnTo>
                          <a:pt x="426" y="132"/>
                        </a:lnTo>
                        <a:lnTo>
                          <a:pt x="424" y="146"/>
                        </a:lnTo>
                        <a:lnTo>
                          <a:pt x="426" y="155"/>
                        </a:lnTo>
                        <a:lnTo>
                          <a:pt x="426" y="161"/>
                        </a:lnTo>
                        <a:lnTo>
                          <a:pt x="421" y="165"/>
                        </a:lnTo>
                        <a:lnTo>
                          <a:pt x="413" y="165"/>
                        </a:lnTo>
                        <a:lnTo>
                          <a:pt x="409" y="171"/>
                        </a:lnTo>
                        <a:lnTo>
                          <a:pt x="403" y="173"/>
                        </a:lnTo>
                        <a:lnTo>
                          <a:pt x="401" y="178"/>
                        </a:lnTo>
                        <a:lnTo>
                          <a:pt x="409" y="182"/>
                        </a:lnTo>
                        <a:lnTo>
                          <a:pt x="411" y="188"/>
                        </a:lnTo>
                        <a:lnTo>
                          <a:pt x="409" y="192"/>
                        </a:lnTo>
                        <a:lnTo>
                          <a:pt x="403" y="194"/>
                        </a:lnTo>
                        <a:lnTo>
                          <a:pt x="398" y="201"/>
                        </a:lnTo>
                        <a:lnTo>
                          <a:pt x="390" y="205"/>
                        </a:lnTo>
                        <a:lnTo>
                          <a:pt x="378" y="215"/>
                        </a:lnTo>
                        <a:lnTo>
                          <a:pt x="369" y="217"/>
                        </a:lnTo>
                        <a:lnTo>
                          <a:pt x="365" y="219"/>
                        </a:lnTo>
                        <a:lnTo>
                          <a:pt x="365" y="223"/>
                        </a:lnTo>
                        <a:lnTo>
                          <a:pt x="367" y="226"/>
                        </a:lnTo>
                        <a:lnTo>
                          <a:pt x="371" y="230"/>
                        </a:lnTo>
                        <a:lnTo>
                          <a:pt x="375" y="236"/>
                        </a:lnTo>
                        <a:lnTo>
                          <a:pt x="373" y="240"/>
                        </a:lnTo>
                        <a:lnTo>
                          <a:pt x="373" y="242"/>
                        </a:lnTo>
                        <a:lnTo>
                          <a:pt x="369" y="247"/>
                        </a:lnTo>
                        <a:lnTo>
                          <a:pt x="365" y="263"/>
                        </a:lnTo>
                        <a:lnTo>
                          <a:pt x="357" y="269"/>
                        </a:lnTo>
                        <a:lnTo>
                          <a:pt x="350" y="278"/>
                        </a:lnTo>
                        <a:lnTo>
                          <a:pt x="338" y="276"/>
                        </a:lnTo>
                        <a:lnTo>
                          <a:pt x="328" y="280"/>
                        </a:lnTo>
                        <a:lnTo>
                          <a:pt x="325" y="280"/>
                        </a:lnTo>
                        <a:lnTo>
                          <a:pt x="317" y="276"/>
                        </a:lnTo>
                        <a:lnTo>
                          <a:pt x="317" y="278"/>
                        </a:lnTo>
                        <a:lnTo>
                          <a:pt x="319" y="282"/>
                        </a:lnTo>
                        <a:lnTo>
                          <a:pt x="319" y="284"/>
                        </a:lnTo>
                        <a:lnTo>
                          <a:pt x="315" y="288"/>
                        </a:lnTo>
                        <a:lnTo>
                          <a:pt x="302" y="288"/>
                        </a:lnTo>
                        <a:lnTo>
                          <a:pt x="300" y="290"/>
                        </a:lnTo>
                        <a:lnTo>
                          <a:pt x="302" y="295"/>
                        </a:lnTo>
                        <a:lnTo>
                          <a:pt x="300" y="297"/>
                        </a:lnTo>
                        <a:lnTo>
                          <a:pt x="290" y="295"/>
                        </a:lnTo>
                        <a:lnTo>
                          <a:pt x="286" y="297"/>
                        </a:lnTo>
                        <a:lnTo>
                          <a:pt x="280" y="297"/>
                        </a:lnTo>
                        <a:lnTo>
                          <a:pt x="275" y="288"/>
                        </a:lnTo>
                        <a:lnTo>
                          <a:pt x="269" y="286"/>
                        </a:lnTo>
                        <a:lnTo>
                          <a:pt x="267" y="286"/>
                        </a:lnTo>
                        <a:lnTo>
                          <a:pt x="263" y="292"/>
                        </a:lnTo>
                        <a:lnTo>
                          <a:pt x="259" y="292"/>
                        </a:lnTo>
                        <a:lnTo>
                          <a:pt x="265" y="297"/>
                        </a:lnTo>
                        <a:lnTo>
                          <a:pt x="265" y="299"/>
                        </a:lnTo>
                        <a:lnTo>
                          <a:pt x="263" y="301"/>
                        </a:lnTo>
                        <a:lnTo>
                          <a:pt x="256" y="301"/>
                        </a:lnTo>
                        <a:lnTo>
                          <a:pt x="242" y="297"/>
                        </a:lnTo>
                        <a:lnTo>
                          <a:pt x="238" y="295"/>
                        </a:lnTo>
                        <a:lnTo>
                          <a:pt x="238" y="292"/>
                        </a:lnTo>
                        <a:lnTo>
                          <a:pt x="236" y="292"/>
                        </a:lnTo>
                        <a:lnTo>
                          <a:pt x="233" y="295"/>
                        </a:lnTo>
                        <a:lnTo>
                          <a:pt x="231" y="303"/>
                        </a:lnTo>
                        <a:lnTo>
                          <a:pt x="227" y="307"/>
                        </a:lnTo>
                        <a:lnTo>
                          <a:pt x="223" y="315"/>
                        </a:lnTo>
                        <a:lnTo>
                          <a:pt x="215" y="315"/>
                        </a:lnTo>
                        <a:lnTo>
                          <a:pt x="204" y="324"/>
                        </a:lnTo>
                        <a:lnTo>
                          <a:pt x="198" y="326"/>
                        </a:lnTo>
                        <a:lnTo>
                          <a:pt x="196" y="324"/>
                        </a:lnTo>
                        <a:lnTo>
                          <a:pt x="192" y="315"/>
                        </a:lnTo>
                        <a:lnTo>
                          <a:pt x="190" y="311"/>
                        </a:lnTo>
                        <a:lnTo>
                          <a:pt x="186" y="311"/>
                        </a:lnTo>
                        <a:lnTo>
                          <a:pt x="185" y="315"/>
                        </a:lnTo>
                        <a:lnTo>
                          <a:pt x="188" y="320"/>
                        </a:lnTo>
                        <a:lnTo>
                          <a:pt x="188" y="324"/>
                        </a:lnTo>
                        <a:lnTo>
                          <a:pt x="183" y="330"/>
                        </a:lnTo>
                        <a:lnTo>
                          <a:pt x="181" y="330"/>
                        </a:lnTo>
                        <a:lnTo>
                          <a:pt x="175" y="330"/>
                        </a:lnTo>
                        <a:lnTo>
                          <a:pt x="163" y="326"/>
                        </a:lnTo>
                        <a:lnTo>
                          <a:pt x="148" y="324"/>
                        </a:lnTo>
                        <a:lnTo>
                          <a:pt x="137" y="322"/>
                        </a:lnTo>
                        <a:lnTo>
                          <a:pt x="133" y="318"/>
                        </a:lnTo>
                        <a:lnTo>
                          <a:pt x="133" y="309"/>
                        </a:lnTo>
                        <a:lnTo>
                          <a:pt x="131" y="307"/>
                        </a:lnTo>
                        <a:lnTo>
                          <a:pt x="127" y="307"/>
                        </a:lnTo>
                        <a:lnTo>
                          <a:pt x="121" y="317"/>
                        </a:lnTo>
                        <a:lnTo>
                          <a:pt x="117" y="320"/>
                        </a:lnTo>
                        <a:lnTo>
                          <a:pt x="112" y="324"/>
                        </a:lnTo>
                        <a:lnTo>
                          <a:pt x="102" y="324"/>
                        </a:lnTo>
                        <a:lnTo>
                          <a:pt x="92" y="320"/>
                        </a:lnTo>
                        <a:lnTo>
                          <a:pt x="87" y="309"/>
                        </a:lnTo>
                        <a:lnTo>
                          <a:pt x="85" y="311"/>
                        </a:lnTo>
                        <a:lnTo>
                          <a:pt x="81" y="322"/>
                        </a:lnTo>
                        <a:lnTo>
                          <a:pt x="71" y="324"/>
                        </a:lnTo>
                        <a:lnTo>
                          <a:pt x="69" y="324"/>
                        </a:lnTo>
                        <a:lnTo>
                          <a:pt x="56" y="322"/>
                        </a:lnTo>
                        <a:lnTo>
                          <a:pt x="52" y="318"/>
                        </a:lnTo>
                        <a:lnTo>
                          <a:pt x="44" y="303"/>
                        </a:lnTo>
                        <a:lnTo>
                          <a:pt x="37" y="301"/>
                        </a:lnTo>
                        <a:lnTo>
                          <a:pt x="25" y="284"/>
                        </a:lnTo>
                        <a:lnTo>
                          <a:pt x="29" y="282"/>
                        </a:lnTo>
                        <a:lnTo>
                          <a:pt x="35" y="267"/>
                        </a:lnTo>
                        <a:lnTo>
                          <a:pt x="44" y="261"/>
                        </a:lnTo>
                        <a:lnTo>
                          <a:pt x="50" y="249"/>
                        </a:lnTo>
                        <a:lnTo>
                          <a:pt x="58" y="246"/>
                        </a:lnTo>
                        <a:lnTo>
                          <a:pt x="67" y="246"/>
                        </a:lnTo>
                        <a:lnTo>
                          <a:pt x="69" y="242"/>
                        </a:lnTo>
                        <a:lnTo>
                          <a:pt x="69" y="236"/>
                        </a:lnTo>
                        <a:lnTo>
                          <a:pt x="66" y="230"/>
                        </a:lnTo>
                        <a:lnTo>
                          <a:pt x="58" y="223"/>
                        </a:lnTo>
                        <a:lnTo>
                          <a:pt x="48" y="213"/>
                        </a:lnTo>
                        <a:lnTo>
                          <a:pt x="44" y="209"/>
                        </a:lnTo>
                        <a:lnTo>
                          <a:pt x="37" y="211"/>
                        </a:lnTo>
                        <a:lnTo>
                          <a:pt x="31" y="207"/>
                        </a:lnTo>
                        <a:lnTo>
                          <a:pt x="21" y="200"/>
                        </a:lnTo>
                        <a:lnTo>
                          <a:pt x="20" y="198"/>
                        </a:lnTo>
                        <a:lnTo>
                          <a:pt x="20" y="196"/>
                        </a:lnTo>
                        <a:lnTo>
                          <a:pt x="31" y="194"/>
                        </a:lnTo>
                        <a:lnTo>
                          <a:pt x="39" y="186"/>
                        </a:lnTo>
                        <a:lnTo>
                          <a:pt x="43" y="184"/>
                        </a:lnTo>
                        <a:lnTo>
                          <a:pt x="54" y="184"/>
                        </a:lnTo>
                        <a:lnTo>
                          <a:pt x="62" y="175"/>
                        </a:lnTo>
                        <a:lnTo>
                          <a:pt x="71" y="175"/>
                        </a:lnTo>
                        <a:lnTo>
                          <a:pt x="79" y="171"/>
                        </a:lnTo>
                        <a:lnTo>
                          <a:pt x="81" y="169"/>
                        </a:lnTo>
                        <a:lnTo>
                          <a:pt x="79" y="167"/>
                        </a:lnTo>
                        <a:lnTo>
                          <a:pt x="73" y="169"/>
                        </a:lnTo>
                        <a:lnTo>
                          <a:pt x="71" y="167"/>
                        </a:lnTo>
                        <a:lnTo>
                          <a:pt x="66" y="146"/>
                        </a:lnTo>
                        <a:lnTo>
                          <a:pt x="69" y="129"/>
                        </a:lnTo>
                        <a:lnTo>
                          <a:pt x="75" y="127"/>
                        </a:lnTo>
                        <a:lnTo>
                          <a:pt x="75" y="121"/>
                        </a:lnTo>
                        <a:lnTo>
                          <a:pt x="79" y="117"/>
                        </a:lnTo>
                        <a:lnTo>
                          <a:pt x="89" y="111"/>
                        </a:lnTo>
                        <a:lnTo>
                          <a:pt x="92" y="107"/>
                        </a:lnTo>
                        <a:lnTo>
                          <a:pt x="94" y="107"/>
                        </a:lnTo>
                        <a:lnTo>
                          <a:pt x="102" y="115"/>
                        </a:lnTo>
                        <a:lnTo>
                          <a:pt x="110" y="117"/>
                        </a:lnTo>
                        <a:lnTo>
                          <a:pt x="114" y="123"/>
                        </a:lnTo>
                        <a:lnTo>
                          <a:pt x="112" y="138"/>
                        </a:lnTo>
                        <a:lnTo>
                          <a:pt x="114" y="153"/>
                        </a:lnTo>
                        <a:lnTo>
                          <a:pt x="114" y="157"/>
                        </a:lnTo>
                        <a:lnTo>
                          <a:pt x="117" y="163"/>
                        </a:lnTo>
                        <a:lnTo>
                          <a:pt x="125" y="169"/>
                        </a:lnTo>
                        <a:lnTo>
                          <a:pt x="135" y="173"/>
                        </a:lnTo>
                        <a:lnTo>
                          <a:pt x="144" y="173"/>
                        </a:lnTo>
                        <a:lnTo>
                          <a:pt x="140" y="169"/>
                        </a:lnTo>
                        <a:lnTo>
                          <a:pt x="125" y="157"/>
                        </a:lnTo>
                        <a:lnTo>
                          <a:pt x="117" y="150"/>
                        </a:lnTo>
                        <a:lnTo>
                          <a:pt x="117" y="146"/>
                        </a:lnTo>
                        <a:lnTo>
                          <a:pt x="115" y="136"/>
                        </a:lnTo>
                        <a:lnTo>
                          <a:pt x="117" y="121"/>
                        </a:lnTo>
                        <a:lnTo>
                          <a:pt x="115" y="117"/>
                        </a:lnTo>
                        <a:lnTo>
                          <a:pt x="110" y="113"/>
                        </a:lnTo>
                        <a:lnTo>
                          <a:pt x="104" y="109"/>
                        </a:lnTo>
                        <a:lnTo>
                          <a:pt x="92" y="102"/>
                        </a:lnTo>
                        <a:lnTo>
                          <a:pt x="91" y="102"/>
                        </a:lnTo>
                        <a:lnTo>
                          <a:pt x="85" y="111"/>
                        </a:lnTo>
                        <a:lnTo>
                          <a:pt x="77" y="111"/>
                        </a:lnTo>
                        <a:lnTo>
                          <a:pt x="71" y="113"/>
                        </a:lnTo>
                        <a:lnTo>
                          <a:pt x="67" y="127"/>
                        </a:lnTo>
                        <a:lnTo>
                          <a:pt x="64" y="132"/>
                        </a:lnTo>
                        <a:lnTo>
                          <a:pt x="54" y="134"/>
                        </a:lnTo>
                        <a:lnTo>
                          <a:pt x="50" y="130"/>
                        </a:lnTo>
                        <a:lnTo>
                          <a:pt x="52" y="125"/>
                        </a:lnTo>
                        <a:lnTo>
                          <a:pt x="41" y="115"/>
                        </a:lnTo>
                        <a:lnTo>
                          <a:pt x="41" y="113"/>
                        </a:lnTo>
                        <a:lnTo>
                          <a:pt x="44" y="111"/>
                        </a:lnTo>
                        <a:lnTo>
                          <a:pt x="46" y="105"/>
                        </a:lnTo>
                        <a:lnTo>
                          <a:pt x="37" y="111"/>
                        </a:lnTo>
                        <a:lnTo>
                          <a:pt x="25" y="107"/>
                        </a:lnTo>
                        <a:lnTo>
                          <a:pt x="18" y="107"/>
                        </a:lnTo>
                        <a:lnTo>
                          <a:pt x="12" y="105"/>
                        </a:lnTo>
                        <a:lnTo>
                          <a:pt x="8" y="100"/>
                        </a:lnTo>
                        <a:lnTo>
                          <a:pt x="0" y="81"/>
                        </a:lnTo>
                        <a:lnTo>
                          <a:pt x="0" y="73"/>
                        </a:lnTo>
                        <a:lnTo>
                          <a:pt x="4" y="73"/>
                        </a:lnTo>
                        <a:lnTo>
                          <a:pt x="14" y="82"/>
                        </a:lnTo>
                        <a:lnTo>
                          <a:pt x="18" y="94"/>
                        </a:lnTo>
                        <a:lnTo>
                          <a:pt x="23" y="94"/>
                        </a:lnTo>
                        <a:lnTo>
                          <a:pt x="31" y="100"/>
                        </a:lnTo>
                        <a:lnTo>
                          <a:pt x="33" y="100"/>
                        </a:lnTo>
                        <a:lnTo>
                          <a:pt x="39" y="98"/>
                        </a:lnTo>
                        <a:lnTo>
                          <a:pt x="39" y="94"/>
                        </a:lnTo>
                        <a:lnTo>
                          <a:pt x="43" y="92"/>
                        </a:lnTo>
                        <a:lnTo>
                          <a:pt x="50" y="92"/>
                        </a:lnTo>
                        <a:lnTo>
                          <a:pt x="60" y="86"/>
                        </a:lnTo>
                        <a:lnTo>
                          <a:pt x="67" y="86"/>
                        </a:lnTo>
                        <a:lnTo>
                          <a:pt x="75" y="79"/>
                        </a:lnTo>
                        <a:lnTo>
                          <a:pt x="79" y="69"/>
                        </a:lnTo>
                        <a:lnTo>
                          <a:pt x="77" y="56"/>
                        </a:lnTo>
                        <a:lnTo>
                          <a:pt x="73" y="46"/>
                        </a:lnTo>
                        <a:lnTo>
                          <a:pt x="66" y="40"/>
                        </a:lnTo>
                        <a:lnTo>
                          <a:pt x="66" y="34"/>
                        </a:lnTo>
                        <a:lnTo>
                          <a:pt x="69" y="21"/>
                        </a:lnTo>
                        <a:lnTo>
                          <a:pt x="67" y="13"/>
                        </a:lnTo>
                        <a:lnTo>
                          <a:pt x="75" y="0"/>
                        </a:lnTo>
                        <a:lnTo>
                          <a:pt x="77" y="2"/>
                        </a:lnTo>
                        <a:lnTo>
                          <a:pt x="79" y="6"/>
                        </a:lnTo>
                        <a:lnTo>
                          <a:pt x="81" y="8"/>
                        </a:lnTo>
                        <a:lnTo>
                          <a:pt x="85" y="6"/>
                        </a:lnTo>
                        <a:lnTo>
                          <a:pt x="102" y="8"/>
                        </a:lnTo>
                        <a:lnTo>
                          <a:pt x="137" y="17"/>
                        </a:lnTo>
                        <a:lnTo>
                          <a:pt x="167" y="21"/>
                        </a:lnTo>
                        <a:lnTo>
                          <a:pt x="179" y="23"/>
                        </a:lnTo>
                        <a:lnTo>
                          <a:pt x="202" y="34"/>
                        </a:lnTo>
                        <a:lnTo>
                          <a:pt x="244" y="27"/>
                        </a:lnTo>
                        <a:lnTo>
                          <a:pt x="254" y="31"/>
                        </a:lnTo>
                        <a:lnTo>
                          <a:pt x="263" y="21"/>
                        </a:lnTo>
                        <a:lnTo>
                          <a:pt x="271" y="17"/>
                        </a:lnTo>
                        <a:lnTo>
                          <a:pt x="292" y="13"/>
                        </a:lnTo>
                        <a:lnTo>
                          <a:pt x="298" y="13"/>
                        </a:lnTo>
                        <a:lnTo>
                          <a:pt x="311" y="17"/>
                        </a:lnTo>
                        <a:lnTo>
                          <a:pt x="332" y="17"/>
                        </a:lnTo>
                        <a:lnTo>
                          <a:pt x="338" y="21"/>
                        </a:lnTo>
                        <a:lnTo>
                          <a:pt x="344" y="27"/>
                        </a:lnTo>
                        <a:lnTo>
                          <a:pt x="351" y="29"/>
                        </a:lnTo>
                        <a:lnTo>
                          <a:pt x="369" y="25"/>
                        </a:lnTo>
                        <a:lnTo>
                          <a:pt x="373" y="27"/>
                        </a:lnTo>
                        <a:lnTo>
                          <a:pt x="380" y="31"/>
                        </a:lnTo>
                        <a:lnTo>
                          <a:pt x="390" y="34"/>
                        </a:lnTo>
                        <a:lnTo>
                          <a:pt x="396" y="36"/>
                        </a:lnTo>
                        <a:lnTo>
                          <a:pt x="407" y="31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9" name="Freeform 75"/>
                  <p:cNvSpPr>
                    <a:spLocks/>
                  </p:cNvSpPr>
                  <p:nvPr/>
                </p:nvSpPr>
                <p:spPr bwMode="auto">
                  <a:xfrm>
                    <a:off x="5715000" y="-763588"/>
                    <a:ext cx="222250" cy="284163"/>
                  </a:xfrm>
                  <a:custGeom>
                    <a:avLst/>
                    <a:gdLst/>
                    <a:ahLst/>
                    <a:cxnLst>
                      <a:cxn ang="0">
                        <a:pos x="140" y="37"/>
                      </a:cxn>
                      <a:cxn ang="0">
                        <a:pos x="133" y="62"/>
                      </a:cxn>
                      <a:cxn ang="0">
                        <a:pos x="131" y="69"/>
                      </a:cxn>
                      <a:cxn ang="0">
                        <a:pos x="131" y="85"/>
                      </a:cxn>
                      <a:cxn ang="0">
                        <a:pos x="129" y="88"/>
                      </a:cxn>
                      <a:cxn ang="0">
                        <a:pos x="125" y="90"/>
                      </a:cxn>
                      <a:cxn ang="0">
                        <a:pos x="117" y="88"/>
                      </a:cxn>
                      <a:cxn ang="0">
                        <a:pos x="112" y="94"/>
                      </a:cxn>
                      <a:cxn ang="0">
                        <a:pos x="106" y="108"/>
                      </a:cxn>
                      <a:cxn ang="0">
                        <a:pos x="98" y="119"/>
                      </a:cxn>
                      <a:cxn ang="0">
                        <a:pos x="98" y="125"/>
                      </a:cxn>
                      <a:cxn ang="0">
                        <a:pos x="94" y="129"/>
                      </a:cxn>
                      <a:cxn ang="0">
                        <a:pos x="75" y="140"/>
                      </a:cxn>
                      <a:cxn ang="0">
                        <a:pos x="65" y="148"/>
                      </a:cxn>
                      <a:cxn ang="0">
                        <a:pos x="62" y="152"/>
                      </a:cxn>
                      <a:cxn ang="0">
                        <a:pos x="48" y="150"/>
                      </a:cxn>
                      <a:cxn ang="0">
                        <a:pos x="39" y="150"/>
                      </a:cxn>
                      <a:cxn ang="0">
                        <a:pos x="17" y="165"/>
                      </a:cxn>
                      <a:cxn ang="0">
                        <a:pos x="12" y="167"/>
                      </a:cxn>
                      <a:cxn ang="0">
                        <a:pos x="12" y="169"/>
                      </a:cxn>
                      <a:cxn ang="0">
                        <a:pos x="16" y="171"/>
                      </a:cxn>
                      <a:cxn ang="0">
                        <a:pos x="31" y="163"/>
                      </a:cxn>
                      <a:cxn ang="0">
                        <a:pos x="39" y="156"/>
                      </a:cxn>
                      <a:cxn ang="0">
                        <a:pos x="44" y="154"/>
                      </a:cxn>
                      <a:cxn ang="0">
                        <a:pos x="50" y="154"/>
                      </a:cxn>
                      <a:cxn ang="0">
                        <a:pos x="52" y="156"/>
                      </a:cxn>
                      <a:cxn ang="0">
                        <a:pos x="50" y="159"/>
                      </a:cxn>
                      <a:cxn ang="0">
                        <a:pos x="42" y="163"/>
                      </a:cxn>
                      <a:cxn ang="0">
                        <a:pos x="29" y="175"/>
                      </a:cxn>
                      <a:cxn ang="0">
                        <a:pos x="17" y="179"/>
                      </a:cxn>
                      <a:cxn ang="0">
                        <a:pos x="8" y="179"/>
                      </a:cxn>
                      <a:cxn ang="0">
                        <a:pos x="4" y="179"/>
                      </a:cxn>
                      <a:cxn ang="0">
                        <a:pos x="0" y="173"/>
                      </a:cxn>
                      <a:cxn ang="0">
                        <a:pos x="0" y="167"/>
                      </a:cxn>
                      <a:cxn ang="0">
                        <a:pos x="8" y="152"/>
                      </a:cxn>
                      <a:cxn ang="0">
                        <a:pos x="10" y="140"/>
                      </a:cxn>
                      <a:cxn ang="0">
                        <a:pos x="12" y="136"/>
                      </a:cxn>
                      <a:cxn ang="0">
                        <a:pos x="16" y="133"/>
                      </a:cxn>
                      <a:cxn ang="0">
                        <a:pos x="23" y="129"/>
                      </a:cxn>
                      <a:cxn ang="0">
                        <a:pos x="33" y="117"/>
                      </a:cxn>
                      <a:cxn ang="0">
                        <a:pos x="50" y="110"/>
                      </a:cxn>
                      <a:cxn ang="0">
                        <a:pos x="54" y="106"/>
                      </a:cxn>
                      <a:cxn ang="0">
                        <a:pos x="56" y="98"/>
                      </a:cxn>
                      <a:cxn ang="0">
                        <a:pos x="48" y="85"/>
                      </a:cxn>
                      <a:cxn ang="0">
                        <a:pos x="48" y="77"/>
                      </a:cxn>
                      <a:cxn ang="0">
                        <a:pos x="48" y="65"/>
                      </a:cxn>
                      <a:cxn ang="0">
                        <a:pos x="54" y="56"/>
                      </a:cxn>
                      <a:cxn ang="0">
                        <a:pos x="65" y="35"/>
                      </a:cxn>
                      <a:cxn ang="0">
                        <a:pos x="69" y="23"/>
                      </a:cxn>
                      <a:cxn ang="0">
                        <a:pos x="71" y="19"/>
                      </a:cxn>
                      <a:cxn ang="0">
                        <a:pos x="98" y="2"/>
                      </a:cxn>
                      <a:cxn ang="0">
                        <a:pos x="108" y="0"/>
                      </a:cxn>
                      <a:cxn ang="0">
                        <a:pos x="110" y="0"/>
                      </a:cxn>
                      <a:cxn ang="0">
                        <a:pos x="112" y="2"/>
                      </a:cxn>
                      <a:cxn ang="0">
                        <a:pos x="112" y="6"/>
                      </a:cxn>
                      <a:cxn ang="0">
                        <a:pos x="112" y="8"/>
                      </a:cxn>
                      <a:cxn ang="0">
                        <a:pos x="115" y="10"/>
                      </a:cxn>
                      <a:cxn ang="0">
                        <a:pos x="119" y="17"/>
                      </a:cxn>
                      <a:cxn ang="0">
                        <a:pos x="125" y="21"/>
                      </a:cxn>
                      <a:cxn ang="0">
                        <a:pos x="133" y="27"/>
                      </a:cxn>
                      <a:cxn ang="0">
                        <a:pos x="133" y="31"/>
                      </a:cxn>
                      <a:cxn ang="0">
                        <a:pos x="140" y="33"/>
                      </a:cxn>
                      <a:cxn ang="0">
                        <a:pos x="140" y="37"/>
                      </a:cxn>
                    </a:cxnLst>
                    <a:rect l="0" t="0" r="r" b="b"/>
                    <a:pathLst>
                      <a:path w="140" h="179">
                        <a:moveTo>
                          <a:pt x="140" y="37"/>
                        </a:moveTo>
                        <a:lnTo>
                          <a:pt x="133" y="62"/>
                        </a:lnTo>
                        <a:lnTo>
                          <a:pt x="131" y="69"/>
                        </a:lnTo>
                        <a:lnTo>
                          <a:pt x="131" y="85"/>
                        </a:lnTo>
                        <a:lnTo>
                          <a:pt x="129" y="88"/>
                        </a:lnTo>
                        <a:lnTo>
                          <a:pt x="125" y="90"/>
                        </a:lnTo>
                        <a:lnTo>
                          <a:pt x="117" y="88"/>
                        </a:lnTo>
                        <a:lnTo>
                          <a:pt x="112" y="94"/>
                        </a:lnTo>
                        <a:lnTo>
                          <a:pt x="106" y="108"/>
                        </a:lnTo>
                        <a:lnTo>
                          <a:pt x="98" y="119"/>
                        </a:lnTo>
                        <a:lnTo>
                          <a:pt x="98" y="125"/>
                        </a:lnTo>
                        <a:lnTo>
                          <a:pt x="94" y="129"/>
                        </a:lnTo>
                        <a:lnTo>
                          <a:pt x="75" y="140"/>
                        </a:lnTo>
                        <a:lnTo>
                          <a:pt x="65" y="148"/>
                        </a:lnTo>
                        <a:lnTo>
                          <a:pt x="62" y="152"/>
                        </a:lnTo>
                        <a:lnTo>
                          <a:pt x="48" y="150"/>
                        </a:lnTo>
                        <a:lnTo>
                          <a:pt x="39" y="150"/>
                        </a:lnTo>
                        <a:lnTo>
                          <a:pt x="17" y="165"/>
                        </a:lnTo>
                        <a:lnTo>
                          <a:pt x="12" y="167"/>
                        </a:lnTo>
                        <a:lnTo>
                          <a:pt x="12" y="169"/>
                        </a:lnTo>
                        <a:lnTo>
                          <a:pt x="16" y="171"/>
                        </a:lnTo>
                        <a:lnTo>
                          <a:pt x="31" y="163"/>
                        </a:lnTo>
                        <a:lnTo>
                          <a:pt x="39" y="156"/>
                        </a:lnTo>
                        <a:lnTo>
                          <a:pt x="44" y="154"/>
                        </a:lnTo>
                        <a:lnTo>
                          <a:pt x="50" y="154"/>
                        </a:lnTo>
                        <a:lnTo>
                          <a:pt x="52" y="156"/>
                        </a:lnTo>
                        <a:lnTo>
                          <a:pt x="50" y="159"/>
                        </a:lnTo>
                        <a:lnTo>
                          <a:pt x="42" y="163"/>
                        </a:lnTo>
                        <a:lnTo>
                          <a:pt x="29" y="175"/>
                        </a:lnTo>
                        <a:lnTo>
                          <a:pt x="17" y="179"/>
                        </a:lnTo>
                        <a:lnTo>
                          <a:pt x="8" y="179"/>
                        </a:lnTo>
                        <a:lnTo>
                          <a:pt x="4" y="179"/>
                        </a:lnTo>
                        <a:lnTo>
                          <a:pt x="0" y="173"/>
                        </a:lnTo>
                        <a:lnTo>
                          <a:pt x="0" y="167"/>
                        </a:lnTo>
                        <a:lnTo>
                          <a:pt x="8" y="152"/>
                        </a:lnTo>
                        <a:lnTo>
                          <a:pt x="10" y="140"/>
                        </a:lnTo>
                        <a:lnTo>
                          <a:pt x="12" y="136"/>
                        </a:lnTo>
                        <a:lnTo>
                          <a:pt x="16" y="133"/>
                        </a:lnTo>
                        <a:lnTo>
                          <a:pt x="23" y="129"/>
                        </a:lnTo>
                        <a:lnTo>
                          <a:pt x="33" y="117"/>
                        </a:lnTo>
                        <a:lnTo>
                          <a:pt x="50" y="110"/>
                        </a:lnTo>
                        <a:lnTo>
                          <a:pt x="54" y="106"/>
                        </a:lnTo>
                        <a:lnTo>
                          <a:pt x="56" y="98"/>
                        </a:lnTo>
                        <a:lnTo>
                          <a:pt x="48" y="85"/>
                        </a:lnTo>
                        <a:lnTo>
                          <a:pt x="48" y="77"/>
                        </a:lnTo>
                        <a:lnTo>
                          <a:pt x="48" y="65"/>
                        </a:lnTo>
                        <a:lnTo>
                          <a:pt x="54" y="56"/>
                        </a:lnTo>
                        <a:lnTo>
                          <a:pt x="65" y="35"/>
                        </a:lnTo>
                        <a:lnTo>
                          <a:pt x="69" y="23"/>
                        </a:lnTo>
                        <a:lnTo>
                          <a:pt x="71" y="19"/>
                        </a:lnTo>
                        <a:lnTo>
                          <a:pt x="98" y="2"/>
                        </a:lnTo>
                        <a:lnTo>
                          <a:pt x="108" y="0"/>
                        </a:lnTo>
                        <a:lnTo>
                          <a:pt x="110" y="0"/>
                        </a:lnTo>
                        <a:lnTo>
                          <a:pt x="112" y="2"/>
                        </a:lnTo>
                        <a:lnTo>
                          <a:pt x="112" y="6"/>
                        </a:lnTo>
                        <a:lnTo>
                          <a:pt x="112" y="8"/>
                        </a:lnTo>
                        <a:lnTo>
                          <a:pt x="115" y="10"/>
                        </a:lnTo>
                        <a:lnTo>
                          <a:pt x="119" y="17"/>
                        </a:lnTo>
                        <a:lnTo>
                          <a:pt x="125" y="21"/>
                        </a:lnTo>
                        <a:lnTo>
                          <a:pt x="133" y="27"/>
                        </a:lnTo>
                        <a:lnTo>
                          <a:pt x="133" y="31"/>
                        </a:lnTo>
                        <a:lnTo>
                          <a:pt x="140" y="33"/>
                        </a:lnTo>
                        <a:lnTo>
                          <a:pt x="140" y="37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0" name="Freeform 76"/>
                  <p:cNvSpPr>
                    <a:spLocks/>
                  </p:cNvSpPr>
                  <p:nvPr/>
                </p:nvSpPr>
                <p:spPr bwMode="auto">
                  <a:xfrm>
                    <a:off x="5900738" y="-773113"/>
                    <a:ext cx="52388" cy="55563"/>
                  </a:xfrm>
                  <a:custGeom>
                    <a:avLst/>
                    <a:gdLst/>
                    <a:ahLst/>
                    <a:cxnLst>
                      <a:cxn ang="0">
                        <a:pos x="16" y="2"/>
                      </a:cxn>
                      <a:cxn ang="0">
                        <a:pos x="19" y="14"/>
                      </a:cxn>
                      <a:cxn ang="0">
                        <a:pos x="25" y="20"/>
                      </a:cxn>
                      <a:cxn ang="0">
                        <a:pos x="31" y="21"/>
                      </a:cxn>
                      <a:cxn ang="0">
                        <a:pos x="33" y="29"/>
                      </a:cxn>
                      <a:cxn ang="0">
                        <a:pos x="31" y="33"/>
                      </a:cxn>
                      <a:cxn ang="0">
                        <a:pos x="27" y="35"/>
                      </a:cxn>
                      <a:cxn ang="0">
                        <a:pos x="21" y="33"/>
                      </a:cxn>
                      <a:cxn ang="0">
                        <a:pos x="19" y="33"/>
                      </a:cxn>
                      <a:cxn ang="0">
                        <a:pos x="8" y="21"/>
                      </a:cxn>
                      <a:cxn ang="0">
                        <a:pos x="6" y="12"/>
                      </a:cxn>
                      <a:cxn ang="0">
                        <a:pos x="0" y="6"/>
                      </a:cxn>
                      <a:cxn ang="0">
                        <a:pos x="0" y="4"/>
                      </a:cxn>
                      <a:cxn ang="0">
                        <a:pos x="0" y="2"/>
                      </a:cxn>
                      <a:cxn ang="0">
                        <a:pos x="6" y="0"/>
                      </a:cxn>
                      <a:cxn ang="0">
                        <a:pos x="16" y="2"/>
                      </a:cxn>
                    </a:cxnLst>
                    <a:rect l="0" t="0" r="r" b="b"/>
                    <a:pathLst>
                      <a:path w="33" h="35">
                        <a:moveTo>
                          <a:pt x="16" y="2"/>
                        </a:moveTo>
                        <a:lnTo>
                          <a:pt x="19" y="14"/>
                        </a:lnTo>
                        <a:lnTo>
                          <a:pt x="25" y="20"/>
                        </a:lnTo>
                        <a:lnTo>
                          <a:pt x="31" y="21"/>
                        </a:lnTo>
                        <a:lnTo>
                          <a:pt x="33" y="29"/>
                        </a:lnTo>
                        <a:lnTo>
                          <a:pt x="31" y="33"/>
                        </a:lnTo>
                        <a:lnTo>
                          <a:pt x="27" y="35"/>
                        </a:lnTo>
                        <a:lnTo>
                          <a:pt x="21" y="33"/>
                        </a:lnTo>
                        <a:lnTo>
                          <a:pt x="19" y="33"/>
                        </a:lnTo>
                        <a:lnTo>
                          <a:pt x="8" y="21"/>
                        </a:lnTo>
                        <a:lnTo>
                          <a:pt x="6" y="12"/>
                        </a:lnTo>
                        <a:lnTo>
                          <a:pt x="0" y="6"/>
                        </a:lnTo>
                        <a:lnTo>
                          <a:pt x="0" y="4"/>
                        </a:lnTo>
                        <a:lnTo>
                          <a:pt x="0" y="2"/>
                        </a:lnTo>
                        <a:lnTo>
                          <a:pt x="6" y="0"/>
                        </a:lnTo>
                        <a:lnTo>
                          <a:pt x="16" y="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1" name="Freeform 77"/>
                  <p:cNvSpPr>
                    <a:spLocks/>
                  </p:cNvSpPr>
                  <p:nvPr/>
                </p:nvSpPr>
                <p:spPr bwMode="auto">
                  <a:xfrm>
                    <a:off x="6135688" y="-1603375"/>
                    <a:ext cx="76200" cy="103188"/>
                  </a:xfrm>
                  <a:custGeom>
                    <a:avLst/>
                    <a:gdLst/>
                    <a:ahLst/>
                    <a:cxnLst>
                      <a:cxn ang="0">
                        <a:pos x="17" y="0"/>
                      </a:cxn>
                      <a:cxn ang="0">
                        <a:pos x="27" y="3"/>
                      </a:cxn>
                      <a:cxn ang="0">
                        <a:pos x="33" y="15"/>
                      </a:cxn>
                      <a:cxn ang="0">
                        <a:pos x="44" y="30"/>
                      </a:cxn>
                      <a:cxn ang="0">
                        <a:pos x="48" y="48"/>
                      </a:cxn>
                      <a:cxn ang="0">
                        <a:pos x="46" y="53"/>
                      </a:cxn>
                      <a:cxn ang="0">
                        <a:pos x="40" y="55"/>
                      </a:cxn>
                      <a:cxn ang="0">
                        <a:pos x="36" y="59"/>
                      </a:cxn>
                      <a:cxn ang="0">
                        <a:pos x="35" y="65"/>
                      </a:cxn>
                      <a:cxn ang="0">
                        <a:pos x="31" y="65"/>
                      </a:cxn>
                      <a:cxn ang="0">
                        <a:pos x="23" y="63"/>
                      </a:cxn>
                      <a:cxn ang="0">
                        <a:pos x="21" y="59"/>
                      </a:cxn>
                      <a:cxn ang="0">
                        <a:pos x="21" y="53"/>
                      </a:cxn>
                      <a:cxn ang="0">
                        <a:pos x="13" y="46"/>
                      </a:cxn>
                      <a:cxn ang="0">
                        <a:pos x="13" y="42"/>
                      </a:cxn>
                      <a:cxn ang="0">
                        <a:pos x="8" y="32"/>
                      </a:cxn>
                      <a:cxn ang="0">
                        <a:pos x="10" y="17"/>
                      </a:cxn>
                      <a:cxn ang="0">
                        <a:pos x="8" y="11"/>
                      </a:cxn>
                      <a:cxn ang="0">
                        <a:pos x="2" y="9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10" y="0"/>
                      </a:cxn>
                      <a:cxn ang="0">
                        <a:pos x="17" y="0"/>
                      </a:cxn>
                    </a:cxnLst>
                    <a:rect l="0" t="0" r="r" b="b"/>
                    <a:pathLst>
                      <a:path w="48" h="65">
                        <a:moveTo>
                          <a:pt x="17" y="0"/>
                        </a:moveTo>
                        <a:lnTo>
                          <a:pt x="27" y="3"/>
                        </a:lnTo>
                        <a:lnTo>
                          <a:pt x="33" y="15"/>
                        </a:lnTo>
                        <a:lnTo>
                          <a:pt x="44" y="30"/>
                        </a:lnTo>
                        <a:lnTo>
                          <a:pt x="48" y="48"/>
                        </a:lnTo>
                        <a:lnTo>
                          <a:pt x="46" y="53"/>
                        </a:lnTo>
                        <a:lnTo>
                          <a:pt x="40" y="55"/>
                        </a:lnTo>
                        <a:lnTo>
                          <a:pt x="36" y="59"/>
                        </a:lnTo>
                        <a:lnTo>
                          <a:pt x="35" y="65"/>
                        </a:lnTo>
                        <a:lnTo>
                          <a:pt x="31" y="65"/>
                        </a:lnTo>
                        <a:lnTo>
                          <a:pt x="23" y="63"/>
                        </a:lnTo>
                        <a:lnTo>
                          <a:pt x="21" y="59"/>
                        </a:lnTo>
                        <a:lnTo>
                          <a:pt x="21" y="53"/>
                        </a:lnTo>
                        <a:lnTo>
                          <a:pt x="13" y="46"/>
                        </a:lnTo>
                        <a:lnTo>
                          <a:pt x="13" y="42"/>
                        </a:lnTo>
                        <a:lnTo>
                          <a:pt x="8" y="32"/>
                        </a:lnTo>
                        <a:lnTo>
                          <a:pt x="10" y="17"/>
                        </a:lnTo>
                        <a:lnTo>
                          <a:pt x="8" y="11"/>
                        </a:lnTo>
                        <a:lnTo>
                          <a:pt x="2" y="9"/>
                        </a:lnTo>
                        <a:lnTo>
                          <a:pt x="0" y="5"/>
                        </a:lnTo>
                        <a:lnTo>
                          <a:pt x="2" y="1"/>
                        </a:lnTo>
                        <a:lnTo>
                          <a:pt x="10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2" name="Freeform 78"/>
                  <p:cNvSpPr>
                    <a:spLocks/>
                  </p:cNvSpPr>
                  <p:nvPr/>
                </p:nvSpPr>
                <p:spPr bwMode="auto">
                  <a:xfrm>
                    <a:off x="6232525" y="-1500188"/>
                    <a:ext cx="12700" cy="952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8" y="2"/>
                      </a:cxn>
                      <a:cxn ang="0">
                        <a:pos x="8" y="6"/>
                      </a:cxn>
                      <a:cxn ang="0">
                        <a:pos x="4" y="6"/>
                      </a:cxn>
                      <a:cxn ang="0">
                        <a:pos x="0" y="2"/>
                      </a:cxn>
                      <a:cxn ang="0">
                        <a:pos x="0" y="0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8" h="6">
                        <a:moveTo>
                          <a:pt x="4" y="0"/>
                        </a:moveTo>
                        <a:lnTo>
                          <a:pt x="8" y="2"/>
                        </a:lnTo>
                        <a:lnTo>
                          <a:pt x="8" y="6"/>
                        </a:lnTo>
                        <a:lnTo>
                          <a:pt x="4" y="6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3" name="Freeform 79"/>
                  <p:cNvSpPr>
                    <a:spLocks/>
                  </p:cNvSpPr>
                  <p:nvPr/>
                </p:nvSpPr>
                <p:spPr bwMode="auto">
                  <a:xfrm>
                    <a:off x="6221413" y="-1208088"/>
                    <a:ext cx="84138" cy="55563"/>
                  </a:xfrm>
                  <a:custGeom>
                    <a:avLst/>
                    <a:gdLst/>
                    <a:ahLst/>
                    <a:cxnLst>
                      <a:cxn ang="0">
                        <a:pos x="50" y="0"/>
                      </a:cxn>
                      <a:cxn ang="0">
                        <a:pos x="53" y="2"/>
                      </a:cxn>
                      <a:cxn ang="0">
                        <a:pos x="53" y="4"/>
                      </a:cxn>
                      <a:cxn ang="0">
                        <a:pos x="53" y="8"/>
                      </a:cxn>
                      <a:cxn ang="0">
                        <a:pos x="48" y="12"/>
                      </a:cxn>
                      <a:cxn ang="0">
                        <a:pos x="42" y="19"/>
                      </a:cxn>
                      <a:cxn ang="0">
                        <a:pos x="40" y="25"/>
                      </a:cxn>
                      <a:cxn ang="0">
                        <a:pos x="36" y="27"/>
                      </a:cxn>
                      <a:cxn ang="0">
                        <a:pos x="32" y="31"/>
                      </a:cxn>
                      <a:cxn ang="0">
                        <a:pos x="27" y="35"/>
                      </a:cxn>
                      <a:cxn ang="0">
                        <a:pos x="17" y="33"/>
                      </a:cxn>
                      <a:cxn ang="0">
                        <a:pos x="4" y="35"/>
                      </a:cxn>
                      <a:cxn ang="0">
                        <a:pos x="0" y="33"/>
                      </a:cxn>
                      <a:cxn ang="0">
                        <a:pos x="0" y="27"/>
                      </a:cxn>
                      <a:cxn ang="0">
                        <a:pos x="0" y="19"/>
                      </a:cxn>
                      <a:cxn ang="0">
                        <a:pos x="0" y="15"/>
                      </a:cxn>
                      <a:cxn ang="0">
                        <a:pos x="11" y="6"/>
                      </a:cxn>
                      <a:cxn ang="0">
                        <a:pos x="15" y="6"/>
                      </a:cxn>
                      <a:cxn ang="0">
                        <a:pos x="40" y="8"/>
                      </a:cxn>
                      <a:cxn ang="0">
                        <a:pos x="44" y="6"/>
                      </a:cxn>
                      <a:cxn ang="0">
                        <a:pos x="50" y="0"/>
                      </a:cxn>
                    </a:cxnLst>
                    <a:rect l="0" t="0" r="r" b="b"/>
                    <a:pathLst>
                      <a:path w="53" h="35">
                        <a:moveTo>
                          <a:pt x="50" y="0"/>
                        </a:moveTo>
                        <a:lnTo>
                          <a:pt x="53" y="2"/>
                        </a:lnTo>
                        <a:lnTo>
                          <a:pt x="53" y="4"/>
                        </a:lnTo>
                        <a:lnTo>
                          <a:pt x="53" y="8"/>
                        </a:lnTo>
                        <a:lnTo>
                          <a:pt x="48" y="12"/>
                        </a:lnTo>
                        <a:lnTo>
                          <a:pt x="42" y="19"/>
                        </a:lnTo>
                        <a:lnTo>
                          <a:pt x="40" y="25"/>
                        </a:lnTo>
                        <a:lnTo>
                          <a:pt x="36" y="27"/>
                        </a:lnTo>
                        <a:lnTo>
                          <a:pt x="32" y="31"/>
                        </a:lnTo>
                        <a:lnTo>
                          <a:pt x="27" y="35"/>
                        </a:lnTo>
                        <a:lnTo>
                          <a:pt x="17" y="33"/>
                        </a:lnTo>
                        <a:lnTo>
                          <a:pt x="4" y="35"/>
                        </a:lnTo>
                        <a:lnTo>
                          <a:pt x="0" y="33"/>
                        </a:lnTo>
                        <a:lnTo>
                          <a:pt x="0" y="27"/>
                        </a:lnTo>
                        <a:lnTo>
                          <a:pt x="0" y="19"/>
                        </a:lnTo>
                        <a:lnTo>
                          <a:pt x="0" y="15"/>
                        </a:lnTo>
                        <a:lnTo>
                          <a:pt x="11" y="6"/>
                        </a:lnTo>
                        <a:lnTo>
                          <a:pt x="15" y="6"/>
                        </a:lnTo>
                        <a:lnTo>
                          <a:pt x="40" y="8"/>
                        </a:lnTo>
                        <a:lnTo>
                          <a:pt x="44" y="6"/>
                        </a:lnTo>
                        <a:lnTo>
                          <a:pt x="50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4" name="Freeform 80"/>
                  <p:cNvSpPr>
                    <a:spLocks/>
                  </p:cNvSpPr>
                  <p:nvPr/>
                </p:nvSpPr>
                <p:spPr bwMode="auto">
                  <a:xfrm>
                    <a:off x="6284913" y="-1247775"/>
                    <a:ext cx="39688" cy="26988"/>
                  </a:xfrm>
                  <a:custGeom>
                    <a:avLst/>
                    <a:gdLst/>
                    <a:ahLst/>
                    <a:cxnLst>
                      <a:cxn ang="0">
                        <a:pos x="19" y="0"/>
                      </a:cxn>
                      <a:cxn ang="0">
                        <a:pos x="23" y="0"/>
                      </a:cxn>
                      <a:cxn ang="0">
                        <a:pos x="25" y="6"/>
                      </a:cxn>
                      <a:cxn ang="0">
                        <a:pos x="23" y="12"/>
                      </a:cxn>
                      <a:cxn ang="0">
                        <a:pos x="17" y="15"/>
                      </a:cxn>
                      <a:cxn ang="0">
                        <a:pos x="10" y="17"/>
                      </a:cxn>
                      <a:cxn ang="0">
                        <a:pos x="2" y="17"/>
                      </a:cxn>
                      <a:cxn ang="0">
                        <a:pos x="0" y="15"/>
                      </a:cxn>
                      <a:cxn ang="0">
                        <a:pos x="10" y="2"/>
                      </a:cxn>
                      <a:cxn ang="0">
                        <a:pos x="13" y="0"/>
                      </a:cxn>
                      <a:cxn ang="0">
                        <a:pos x="19" y="0"/>
                      </a:cxn>
                    </a:cxnLst>
                    <a:rect l="0" t="0" r="r" b="b"/>
                    <a:pathLst>
                      <a:path w="25" h="17">
                        <a:moveTo>
                          <a:pt x="19" y="0"/>
                        </a:moveTo>
                        <a:lnTo>
                          <a:pt x="23" y="0"/>
                        </a:lnTo>
                        <a:lnTo>
                          <a:pt x="25" y="6"/>
                        </a:lnTo>
                        <a:lnTo>
                          <a:pt x="23" y="12"/>
                        </a:lnTo>
                        <a:lnTo>
                          <a:pt x="17" y="15"/>
                        </a:lnTo>
                        <a:lnTo>
                          <a:pt x="10" y="17"/>
                        </a:lnTo>
                        <a:lnTo>
                          <a:pt x="2" y="17"/>
                        </a:lnTo>
                        <a:lnTo>
                          <a:pt x="0" y="15"/>
                        </a:lnTo>
                        <a:lnTo>
                          <a:pt x="10" y="2"/>
                        </a:lnTo>
                        <a:lnTo>
                          <a:pt x="13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8" name="Freeform 82"/>
                <p:cNvSpPr>
                  <a:spLocks/>
                </p:cNvSpPr>
                <p:nvPr/>
              </p:nvSpPr>
              <p:spPr bwMode="auto">
                <a:xfrm>
                  <a:off x="2767013" y="1335087"/>
                  <a:ext cx="4711700" cy="5094288"/>
                </a:xfrm>
                <a:custGeom>
                  <a:avLst/>
                  <a:gdLst/>
                  <a:ahLst/>
                  <a:cxnLst>
                    <a:cxn ang="0">
                      <a:pos x="2107" y="2209"/>
                    </a:cxn>
                    <a:cxn ang="0">
                      <a:pos x="2251" y="2165"/>
                    </a:cxn>
                    <a:cxn ang="0">
                      <a:pos x="2324" y="2155"/>
                    </a:cxn>
                    <a:cxn ang="0">
                      <a:pos x="2471" y="2126"/>
                    </a:cxn>
                    <a:cxn ang="0">
                      <a:pos x="2584" y="2140"/>
                    </a:cxn>
                    <a:cxn ang="0">
                      <a:pos x="2675" y="2075"/>
                    </a:cxn>
                    <a:cxn ang="0">
                      <a:pos x="2655" y="1959"/>
                    </a:cxn>
                    <a:cxn ang="0">
                      <a:pos x="2723" y="1869"/>
                    </a:cxn>
                    <a:cxn ang="0">
                      <a:pos x="2690" y="1710"/>
                    </a:cxn>
                    <a:cxn ang="0">
                      <a:pos x="2776" y="1568"/>
                    </a:cxn>
                    <a:cxn ang="0">
                      <a:pos x="2845" y="1505"/>
                    </a:cxn>
                    <a:cxn ang="0">
                      <a:pos x="2941" y="1474"/>
                    </a:cxn>
                    <a:cxn ang="0">
                      <a:pos x="2913" y="1290"/>
                    </a:cxn>
                    <a:cxn ang="0">
                      <a:pos x="2926" y="1165"/>
                    </a:cxn>
                    <a:cxn ang="0">
                      <a:pos x="2938" y="1084"/>
                    </a:cxn>
                    <a:cxn ang="0">
                      <a:pos x="2826" y="1096"/>
                    </a:cxn>
                    <a:cxn ang="0">
                      <a:pos x="2690" y="1134"/>
                    </a:cxn>
                    <a:cxn ang="0">
                      <a:pos x="2652" y="1169"/>
                    </a:cxn>
                    <a:cxn ang="0">
                      <a:pos x="2504" y="1142"/>
                    </a:cxn>
                    <a:cxn ang="0">
                      <a:pos x="2446" y="1073"/>
                    </a:cxn>
                    <a:cxn ang="0">
                      <a:pos x="2348" y="1063"/>
                    </a:cxn>
                    <a:cxn ang="0">
                      <a:pos x="2155" y="1027"/>
                    </a:cxn>
                    <a:cxn ang="0">
                      <a:pos x="2103" y="1056"/>
                    </a:cxn>
                    <a:cxn ang="0">
                      <a:pos x="2087" y="969"/>
                    </a:cxn>
                    <a:cxn ang="0">
                      <a:pos x="2084" y="814"/>
                    </a:cxn>
                    <a:cxn ang="0">
                      <a:pos x="2120" y="587"/>
                    </a:cxn>
                    <a:cxn ang="0">
                      <a:pos x="1485" y="420"/>
                    </a:cxn>
                    <a:cxn ang="0">
                      <a:pos x="871" y="328"/>
                    </a:cxn>
                    <a:cxn ang="0">
                      <a:pos x="756" y="227"/>
                    </a:cxn>
                    <a:cxn ang="0">
                      <a:pos x="660" y="0"/>
                    </a:cxn>
                    <a:cxn ang="0">
                      <a:pos x="625" y="175"/>
                    </a:cxn>
                    <a:cxn ang="0">
                      <a:pos x="324" y="280"/>
                    </a:cxn>
                    <a:cxn ang="0">
                      <a:pos x="32" y="284"/>
                    </a:cxn>
                    <a:cxn ang="0">
                      <a:pos x="4" y="380"/>
                    </a:cxn>
                    <a:cxn ang="0">
                      <a:pos x="21" y="513"/>
                    </a:cxn>
                    <a:cxn ang="0">
                      <a:pos x="42" y="712"/>
                    </a:cxn>
                    <a:cxn ang="0">
                      <a:pos x="299" y="724"/>
                    </a:cxn>
                    <a:cxn ang="0">
                      <a:pos x="297" y="860"/>
                    </a:cxn>
                    <a:cxn ang="0">
                      <a:pos x="334" y="1002"/>
                    </a:cxn>
                    <a:cxn ang="0">
                      <a:pos x="199" y="1242"/>
                    </a:cxn>
                    <a:cxn ang="0">
                      <a:pos x="278" y="1411"/>
                    </a:cxn>
                    <a:cxn ang="0">
                      <a:pos x="293" y="1580"/>
                    </a:cxn>
                    <a:cxn ang="0">
                      <a:pos x="627" y="1781"/>
                    </a:cxn>
                    <a:cxn ang="0">
                      <a:pos x="737" y="1956"/>
                    </a:cxn>
                    <a:cxn ang="0">
                      <a:pos x="760" y="1990"/>
                    </a:cxn>
                    <a:cxn ang="0">
                      <a:pos x="794" y="2107"/>
                    </a:cxn>
                    <a:cxn ang="0">
                      <a:pos x="708" y="2366"/>
                    </a:cxn>
                    <a:cxn ang="0">
                      <a:pos x="696" y="2483"/>
                    </a:cxn>
                    <a:cxn ang="0">
                      <a:pos x="748" y="2581"/>
                    </a:cxn>
                    <a:cxn ang="0">
                      <a:pos x="754" y="2691"/>
                    </a:cxn>
                    <a:cxn ang="0">
                      <a:pos x="746" y="2836"/>
                    </a:cxn>
                    <a:cxn ang="0">
                      <a:pos x="859" y="2861"/>
                    </a:cxn>
                    <a:cxn ang="0">
                      <a:pos x="950" y="2861"/>
                    </a:cxn>
                    <a:cxn ang="0">
                      <a:pos x="1092" y="2865"/>
                    </a:cxn>
                    <a:cxn ang="0">
                      <a:pos x="1159" y="3011"/>
                    </a:cxn>
                    <a:cxn ang="0">
                      <a:pos x="1197" y="3189"/>
                    </a:cxn>
                    <a:cxn ang="0">
                      <a:pos x="1330" y="3168"/>
                    </a:cxn>
                    <a:cxn ang="0">
                      <a:pos x="1456" y="3092"/>
                    </a:cxn>
                    <a:cxn ang="0">
                      <a:pos x="1600" y="2946"/>
                    </a:cxn>
                    <a:cxn ang="0">
                      <a:pos x="1807" y="2721"/>
                    </a:cxn>
                    <a:cxn ang="0">
                      <a:pos x="1924" y="2512"/>
                    </a:cxn>
                    <a:cxn ang="0">
                      <a:pos x="2013" y="2349"/>
                    </a:cxn>
                  </a:cxnLst>
                  <a:rect l="0" t="0" r="r" b="b"/>
                  <a:pathLst>
                    <a:path w="2968" h="3209">
                      <a:moveTo>
                        <a:pt x="2013" y="2330"/>
                      </a:moveTo>
                      <a:lnTo>
                        <a:pt x="2024" y="2326"/>
                      </a:lnTo>
                      <a:lnTo>
                        <a:pt x="2024" y="2314"/>
                      </a:lnTo>
                      <a:lnTo>
                        <a:pt x="2030" y="2309"/>
                      </a:lnTo>
                      <a:lnTo>
                        <a:pt x="2034" y="2297"/>
                      </a:lnTo>
                      <a:lnTo>
                        <a:pt x="2045" y="2286"/>
                      </a:lnTo>
                      <a:lnTo>
                        <a:pt x="2049" y="2278"/>
                      </a:lnTo>
                      <a:lnTo>
                        <a:pt x="2053" y="2274"/>
                      </a:lnTo>
                      <a:lnTo>
                        <a:pt x="2059" y="2272"/>
                      </a:lnTo>
                      <a:lnTo>
                        <a:pt x="2063" y="2266"/>
                      </a:lnTo>
                      <a:lnTo>
                        <a:pt x="2066" y="2265"/>
                      </a:lnTo>
                      <a:lnTo>
                        <a:pt x="2076" y="2265"/>
                      </a:lnTo>
                      <a:lnTo>
                        <a:pt x="2082" y="2263"/>
                      </a:lnTo>
                      <a:lnTo>
                        <a:pt x="2091" y="2251"/>
                      </a:lnTo>
                      <a:lnTo>
                        <a:pt x="2095" y="2242"/>
                      </a:lnTo>
                      <a:lnTo>
                        <a:pt x="2095" y="2230"/>
                      </a:lnTo>
                      <a:lnTo>
                        <a:pt x="2105" y="2215"/>
                      </a:lnTo>
                      <a:lnTo>
                        <a:pt x="2107" y="2209"/>
                      </a:lnTo>
                      <a:lnTo>
                        <a:pt x="2114" y="2205"/>
                      </a:lnTo>
                      <a:lnTo>
                        <a:pt x="2120" y="2199"/>
                      </a:lnTo>
                      <a:lnTo>
                        <a:pt x="2126" y="2184"/>
                      </a:lnTo>
                      <a:lnTo>
                        <a:pt x="2134" y="2180"/>
                      </a:lnTo>
                      <a:lnTo>
                        <a:pt x="2137" y="2180"/>
                      </a:lnTo>
                      <a:lnTo>
                        <a:pt x="2143" y="2176"/>
                      </a:lnTo>
                      <a:lnTo>
                        <a:pt x="2168" y="2178"/>
                      </a:lnTo>
                      <a:lnTo>
                        <a:pt x="2176" y="2174"/>
                      </a:lnTo>
                      <a:lnTo>
                        <a:pt x="2180" y="2169"/>
                      </a:lnTo>
                      <a:lnTo>
                        <a:pt x="2183" y="2167"/>
                      </a:lnTo>
                      <a:lnTo>
                        <a:pt x="2197" y="2169"/>
                      </a:lnTo>
                      <a:lnTo>
                        <a:pt x="2205" y="2167"/>
                      </a:lnTo>
                      <a:lnTo>
                        <a:pt x="2216" y="2169"/>
                      </a:lnTo>
                      <a:lnTo>
                        <a:pt x="2233" y="2169"/>
                      </a:lnTo>
                      <a:lnTo>
                        <a:pt x="2237" y="2167"/>
                      </a:lnTo>
                      <a:lnTo>
                        <a:pt x="2241" y="2165"/>
                      </a:lnTo>
                      <a:lnTo>
                        <a:pt x="2247" y="2165"/>
                      </a:lnTo>
                      <a:lnTo>
                        <a:pt x="2251" y="2165"/>
                      </a:lnTo>
                      <a:lnTo>
                        <a:pt x="2254" y="2163"/>
                      </a:lnTo>
                      <a:lnTo>
                        <a:pt x="2256" y="2161"/>
                      </a:lnTo>
                      <a:lnTo>
                        <a:pt x="2254" y="2157"/>
                      </a:lnTo>
                      <a:lnTo>
                        <a:pt x="2258" y="2153"/>
                      </a:lnTo>
                      <a:lnTo>
                        <a:pt x="2268" y="2153"/>
                      </a:lnTo>
                      <a:lnTo>
                        <a:pt x="2270" y="2148"/>
                      </a:lnTo>
                      <a:lnTo>
                        <a:pt x="2274" y="2146"/>
                      </a:lnTo>
                      <a:lnTo>
                        <a:pt x="2277" y="2146"/>
                      </a:lnTo>
                      <a:lnTo>
                        <a:pt x="2281" y="2151"/>
                      </a:lnTo>
                      <a:lnTo>
                        <a:pt x="2285" y="2157"/>
                      </a:lnTo>
                      <a:lnTo>
                        <a:pt x="2289" y="2159"/>
                      </a:lnTo>
                      <a:lnTo>
                        <a:pt x="2295" y="2169"/>
                      </a:lnTo>
                      <a:lnTo>
                        <a:pt x="2299" y="2171"/>
                      </a:lnTo>
                      <a:lnTo>
                        <a:pt x="2304" y="2171"/>
                      </a:lnTo>
                      <a:lnTo>
                        <a:pt x="2306" y="2169"/>
                      </a:lnTo>
                      <a:lnTo>
                        <a:pt x="2310" y="2161"/>
                      </a:lnTo>
                      <a:lnTo>
                        <a:pt x="2318" y="2159"/>
                      </a:lnTo>
                      <a:lnTo>
                        <a:pt x="2324" y="2155"/>
                      </a:lnTo>
                      <a:lnTo>
                        <a:pt x="2329" y="2146"/>
                      </a:lnTo>
                      <a:lnTo>
                        <a:pt x="2333" y="2136"/>
                      </a:lnTo>
                      <a:lnTo>
                        <a:pt x="2339" y="2132"/>
                      </a:lnTo>
                      <a:lnTo>
                        <a:pt x="2343" y="2128"/>
                      </a:lnTo>
                      <a:lnTo>
                        <a:pt x="2364" y="2128"/>
                      </a:lnTo>
                      <a:lnTo>
                        <a:pt x="2366" y="2121"/>
                      </a:lnTo>
                      <a:lnTo>
                        <a:pt x="2375" y="2119"/>
                      </a:lnTo>
                      <a:lnTo>
                        <a:pt x="2383" y="2117"/>
                      </a:lnTo>
                      <a:lnTo>
                        <a:pt x="2389" y="2115"/>
                      </a:lnTo>
                      <a:lnTo>
                        <a:pt x="2396" y="2119"/>
                      </a:lnTo>
                      <a:lnTo>
                        <a:pt x="2404" y="2121"/>
                      </a:lnTo>
                      <a:lnTo>
                        <a:pt x="2410" y="2121"/>
                      </a:lnTo>
                      <a:lnTo>
                        <a:pt x="2419" y="2121"/>
                      </a:lnTo>
                      <a:lnTo>
                        <a:pt x="2427" y="2121"/>
                      </a:lnTo>
                      <a:lnTo>
                        <a:pt x="2442" y="2119"/>
                      </a:lnTo>
                      <a:lnTo>
                        <a:pt x="2450" y="2119"/>
                      </a:lnTo>
                      <a:lnTo>
                        <a:pt x="2456" y="2123"/>
                      </a:lnTo>
                      <a:lnTo>
                        <a:pt x="2471" y="2126"/>
                      </a:lnTo>
                      <a:lnTo>
                        <a:pt x="2481" y="2126"/>
                      </a:lnTo>
                      <a:lnTo>
                        <a:pt x="2485" y="2128"/>
                      </a:lnTo>
                      <a:lnTo>
                        <a:pt x="2498" y="2128"/>
                      </a:lnTo>
                      <a:lnTo>
                        <a:pt x="2504" y="2124"/>
                      </a:lnTo>
                      <a:lnTo>
                        <a:pt x="2512" y="2124"/>
                      </a:lnTo>
                      <a:lnTo>
                        <a:pt x="2533" y="2134"/>
                      </a:lnTo>
                      <a:lnTo>
                        <a:pt x="2538" y="2136"/>
                      </a:lnTo>
                      <a:lnTo>
                        <a:pt x="2542" y="2142"/>
                      </a:lnTo>
                      <a:lnTo>
                        <a:pt x="2546" y="2142"/>
                      </a:lnTo>
                      <a:lnTo>
                        <a:pt x="2552" y="2146"/>
                      </a:lnTo>
                      <a:lnTo>
                        <a:pt x="2558" y="2151"/>
                      </a:lnTo>
                      <a:lnTo>
                        <a:pt x="2563" y="2153"/>
                      </a:lnTo>
                      <a:lnTo>
                        <a:pt x="2567" y="2151"/>
                      </a:lnTo>
                      <a:lnTo>
                        <a:pt x="2569" y="2148"/>
                      </a:lnTo>
                      <a:lnTo>
                        <a:pt x="2575" y="2149"/>
                      </a:lnTo>
                      <a:lnTo>
                        <a:pt x="2579" y="2144"/>
                      </a:lnTo>
                      <a:lnTo>
                        <a:pt x="2584" y="2144"/>
                      </a:lnTo>
                      <a:lnTo>
                        <a:pt x="2584" y="2140"/>
                      </a:lnTo>
                      <a:lnTo>
                        <a:pt x="2590" y="2138"/>
                      </a:lnTo>
                      <a:lnTo>
                        <a:pt x="2594" y="2138"/>
                      </a:lnTo>
                      <a:lnTo>
                        <a:pt x="2596" y="2138"/>
                      </a:lnTo>
                      <a:lnTo>
                        <a:pt x="2600" y="2132"/>
                      </a:lnTo>
                      <a:lnTo>
                        <a:pt x="2609" y="2130"/>
                      </a:lnTo>
                      <a:lnTo>
                        <a:pt x="2625" y="2123"/>
                      </a:lnTo>
                      <a:lnTo>
                        <a:pt x="2623" y="2117"/>
                      </a:lnTo>
                      <a:lnTo>
                        <a:pt x="2623" y="2113"/>
                      </a:lnTo>
                      <a:lnTo>
                        <a:pt x="2625" y="2109"/>
                      </a:lnTo>
                      <a:lnTo>
                        <a:pt x="2629" y="2105"/>
                      </a:lnTo>
                      <a:lnTo>
                        <a:pt x="2631" y="2103"/>
                      </a:lnTo>
                      <a:lnTo>
                        <a:pt x="2638" y="2101"/>
                      </a:lnTo>
                      <a:lnTo>
                        <a:pt x="2642" y="2103"/>
                      </a:lnTo>
                      <a:lnTo>
                        <a:pt x="2648" y="2094"/>
                      </a:lnTo>
                      <a:lnTo>
                        <a:pt x="2652" y="2094"/>
                      </a:lnTo>
                      <a:lnTo>
                        <a:pt x="2667" y="2086"/>
                      </a:lnTo>
                      <a:lnTo>
                        <a:pt x="2671" y="2082"/>
                      </a:lnTo>
                      <a:lnTo>
                        <a:pt x="2675" y="2075"/>
                      </a:lnTo>
                      <a:lnTo>
                        <a:pt x="2682" y="2073"/>
                      </a:lnTo>
                      <a:lnTo>
                        <a:pt x="2684" y="2069"/>
                      </a:lnTo>
                      <a:lnTo>
                        <a:pt x="2684" y="2065"/>
                      </a:lnTo>
                      <a:lnTo>
                        <a:pt x="2675" y="2040"/>
                      </a:lnTo>
                      <a:lnTo>
                        <a:pt x="2673" y="2030"/>
                      </a:lnTo>
                      <a:lnTo>
                        <a:pt x="2680" y="2023"/>
                      </a:lnTo>
                      <a:lnTo>
                        <a:pt x="2679" y="2015"/>
                      </a:lnTo>
                      <a:lnTo>
                        <a:pt x="2679" y="2011"/>
                      </a:lnTo>
                      <a:lnTo>
                        <a:pt x="2684" y="2004"/>
                      </a:lnTo>
                      <a:lnTo>
                        <a:pt x="2692" y="2000"/>
                      </a:lnTo>
                      <a:lnTo>
                        <a:pt x="2696" y="1996"/>
                      </a:lnTo>
                      <a:lnTo>
                        <a:pt x="2698" y="1988"/>
                      </a:lnTo>
                      <a:lnTo>
                        <a:pt x="2698" y="1982"/>
                      </a:lnTo>
                      <a:lnTo>
                        <a:pt x="2690" y="1975"/>
                      </a:lnTo>
                      <a:lnTo>
                        <a:pt x="2679" y="1967"/>
                      </a:lnTo>
                      <a:lnTo>
                        <a:pt x="2665" y="1969"/>
                      </a:lnTo>
                      <a:lnTo>
                        <a:pt x="2661" y="1967"/>
                      </a:lnTo>
                      <a:lnTo>
                        <a:pt x="2655" y="1959"/>
                      </a:lnTo>
                      <a:lnTo>
                        <a:pt x="2657" y="1950"/>
                      </a:lnTo>
                      <a:lnTo>
                        <a:pt x="2659" y="1944"/>
                      </a:lnTo>
                      <a:lnTo>
                        <a:pt x="2661" y="1935"/>
                      </a:lnTo>
                      <a:lnTo>
                        <a:pt x="2663" y="1925"/>
                      </a:lnTo>
                      <a:lnTo>
                        <a:pt x="2667" y="1921"/>
                      </a:lnTo>
                      <a:lnTo>
                        <a:pt x="2669" y="1917"/>
                      </a:lnTo>
                      <a:lnTo>
                        <a:pt x="2675" y="1915"/>
                      </a:lnTo>
                      <a:lnTo>
                        <a:pt x="2680" y="1902"/>
                      </a:lnTo>
                      <a:lnTo>
                        <a:pt x="2682" y="1902"/>
                      </a:lnTo>
                      <a:lnTo>
                        <a:pt x="2686" y="1902"/>
                      </a:lnTo>
                      <a:lnTo>
                        <a:pt x="2690" y="1902"/>
                      </a:lnTo>
                      <a:lnTo>
                        <a:pt x="2694" y="1898"/>
                      </a:lnTo>
                      <a:lnTo>
                        <a:pt x="2696" y="1890"/>
                      </a:lnTo>
                      <a:lnTo>
                        <a:pt x="2705" y="1887"/>
                      </a:lnTo>
                      <a:lnTo>
                        <a:pt x="2709" y="1881"/>
                      </a:lnTo>
                      <a:lnTo>
                        <a:pt x="2717" y="1879"/>
                      </a:lnTo>
                      <a:lnTo>
                        <a:pt x="2721" y="1873"/>
                      </a:lnTo>
                      <a:lnTo>
                        <a:pt x="2723" y="1869"/>
                      </a:lnTo>
                      <a:lnTo>
                        <a:pt x="2721" y="1860"/>
                      </a:lnTo>
                      <a:lnTo>
                        <a:pt x="2713" y="1848"/>
                      </a:lnTo>
                      <a:lnTo>
                        <a:pt x="2711" y="1839"/>
                      </a:lnTo>
                      <a:lnTo>
                        <a:pt x="2705" y="1831"/>
                      </a:lnTo>
                      <a:lnTo>
                        <a:pt x="2705" y="1817"/>
                      </a:lnTo>
                      <a:lnTo>
                        <a:pt x="2702" y="1810"/>
                      </a:lnTo>
                      <a:lnTo>
                        <a:pt x="2694" y="1800"/>
                      </a:lnTo>
                      <a:lnTo>
                        <a:pt x="2682" y="1793"/>
                      </a:lnTo>
                      <a:lnTo>
                        <a:pt x="2673" y="1785"/>
                      </a:lnTo>
                      <a:lnTo>
                        <a:pt x="2669" y="1777"/>
                      </a:lnTo>
                      <a:lnTo>
                        <a:pt x="2667" y="1771"/>
                      </a:lnTo>
                      <a:lnTo>
                        <a:pt x="2667" y="1762"/>
                      </a:lnTo>
                      <a:lnTo>
                        <a:pt x="2671" y="1750"/>
                      </a:lnTo>
                      <a:lnTo>
                        <a:pt x="2686" y="1735"/>
                      </a:lnTo>
                      <a:lnTo>
                        <a:pt x="2688" y="1733"/>
                      </a:lnTo>
                      <a:lnTo>
                        <a:pt x="2686" y="1727"/>
                      </a:lnTo>
                      <a:lnTo>
                        <a:pt x="2692" y="1718"/>
                      </a:lnTo>
                      <a:lnTo>
                        <a:pt x="2690" y="1710"/>
                      </a:lnTo>
                      <a:lnTo>
                        <a:pt x="2694" y="1695"/>
                      </a:lnTo>
                      <a:lnTo>
                        <a:pt x="2705" y="1681"/>
                      </a:lnTo>
                      <a:lnTo>
                        <a:pt x="2709" y="1681"/>
                      </a:lnTo>
                      <a:lnTo>
                        <a:pt x="2717" y="1681"/>
                      </a:lnTo>
                      <a:lnTo>
                        <a:pt x="2725" y="1674"/>
                      </a:lnTo>
                      <a:lnTo>
                        <a:pt x="2732" y="1670"/>
                      </a:lnTo>
                      <a:lnTo>
                        <a:pt x="2755" y="1666"/>
                      </a:lnTo>
                      <a:lnTo>
                        <a:pt x="2755" y="1664"/>
                      </a:lnTo>
                      <a:lnTo>
                        <a:pt x="2776" y="1662"/>
                      </a:lnTo>
                      <a:lnTo>
                        <a:pt x="2788" y="1658"/>
                      </a:lnTo>
                      <a:lnTo>
                        <a:pt x="2792" y="1654"/>
                      </a:lnTo>
                      <a:lnTo>
                        <a:pt x="2790" y="1651"/>
                      </a:lnTo>
                      <a:lnTo>
                        <a:pt x="2786" y="1633"/>
                      </a:lnTo>
                      <a:lnTo>
                        <a:pt x="2780" y="1620"/>
                      </a:lnTo>
                      <a:lnTo>
                        <a:pt x="2780" y="1604"/>
                      </a:lnTo>
                      <a:lnTo>
                        <a:pt x="2774" y="1591"/>
                      </a:lnTo>
                      <a:lnTo>
                        <a:pt x="2774" y="1580"/>
                      </a:lnTo>
                      <a:lnTo>
                        <a:pt x="2776" y="1568"/>
                      </a:lnTo>
                      <a:lnTo>
                        <a:pt x="2786" y="1560"/>
                      </a:lnTo>
                      <a:lnTo>
                        <a:pt x="2788" y="1555"/>
                      </a:lnTo>
                      <a:lnTo>
                        <a:pt x="2788" y="1545"/>
                      </a:lnTo>
                      <a:lnTo>
                        <a:pt x="2784" y="1545"/>
                      </a:lnTo>
                      <a:lnTo>
                        <a:pt x="2778" y="1537"/>
                      </a:lnTo>
                      <a:lnTo>
                        <a:pt x="2773" y="1528"/>
                      </a:lnTo>
                      <a:lnTo>
                        <a:pt x="2774" y="1522"/>
                      </a:lnTo>
                      <a:lnTo>
                        <a:pt x="2784" y="1514"/>
                      </a:lnTo>
                      <a:lnTo>
                        <a:pt x="2784" y="1512"/>
                      </a:lnTo>
                      <a:lnTo>
                        <a:pt x="2780" y="1497"/>
                      </a:lnTo>
                      <a:lnTo>
                        <a:pt x="2780" y="1495"/>
                      </a:lnTo>
                      <a:lnTo>
                        <a:pt x="2784" y="1491"/>
                      </a:lnTo>
                      <a:lnTo>
                        <a:pt x="2799" y="1489"/>
                      </a:lnTo>
                      <a:lnTo>
                        <a:pt x="2811" y="1491"/>
                      </a:lnTo>
                      <a:lnTo>
                        <a:pt x="2824" y="1499"/>
                      </a:lnTo>
                      <a:lnTo>
                        <a:pt x="2832" y="1503"/>
                      </a:lnTo>
                      <a:lnTo>
                        <a:pt x="2836" y="1505"/>
                      </a:lnTo>
                      <a:lnTo>
                        <a:pt x="2845" y="1505"/>
                      </a:lnTo>
                      <a:lnTo>
                        <a:pt x="2851" y="1501"/>
                      </a:lnTo>
                      <a:lnTo>
                        <a:pt x="2853" y="1497"/>
                      </a:lnTo>
                      <a:lnTo>
                        <a:pt x="2855" y="1491"/>
                      </a:lnTo>
                      <a:lnTo>
                        <a:pt x="2851" y="1484"/>
                      </a:lnTo>
                      <a:lnTo>
                        <a:pt x="2853" y="1472"/>
                      </a:lnTo>
                      <a:lnTo>
                        <a:pt x="2853" y="1459"/>
                      </a:lnTo>
                      <a:lnTo>
                        <a:pt x="2847" y="1449"/>
                      </a:lnTo>
                      <a:lnTo>
                        <a:pt x="2861" y="1432"/>
                      </a:lnTo>
                      <a:lnTo>
                        <a:pt x="2863" y="1430"/>
                      </a:lnTo>
                      <a:lnTo>
                        <a:pt x="2868" y="1432"/>
                      </a:lnTo>
                      <a:lnTo>
                        <a:pt x="2872" y="1436"/>
                      </a:lnTo>
                      <a:lnTo>
                        <a:pt x="2892" y="1453"/>
                      </a:lnTo>
                      <a:lnTo>
                        <a:pt x="2895" y="1453"/>
                      </a:lnTo>
                      <a:lnTo>
                        <a:pt x="2895" y="1466"/>
                      </a:lnTo>
                      <a:lnTo>
                        <a:pt x="2897" y="1470"/>
                      </a:lnTo>
                      <a:lnTo>
                        <a:pt x="2911" y="1478"/>
                      </a:lnTo>
                      <a:lnTo>
                        <a:pt x="2938" y="1476"/>
                      </a:lnTo>
                      <a:lnTo>
                        <a:pt x="2941" y="1474"/>
                      </a:lnTo>
                      <a:lnTo>
                        <a:pt x="2951" y="1466"/>
                      </a:lnTo>
                      <a:lnTo>
                        <a:pt x="2951" y="1466"/>
                      </a:lnTo>
                      <a:lnTo>
                        <a:pt x="2951" y="1466"/>
                      </a:lnTo>
                      <a:lnTo>
                        <a:pt x="2953" y="1459"/>
                      </a:lnTo>
                      <a:lnTo>
                        <a:pt x="2951" y="1441"/>
                      </a:lnTo>
                      <a:lnTo>
                        <a:pt x="2951" y="1432"/>
                      </a:lnTo>
                      <a:lnTo>
                        <a:pt x="2957" y="1403"/>
                      </a:lnTo>
                      <a:lnTo>
                        <a:pt x="2951" y="1386"/>
                      </a:lnTo>
                      <a:lnTo>
                        <a:pt x="2955" y="1382"/>
                      </a:lnTo>
                      <a:lnTo>
                        <a:pt x="2966" y="1376"/>
                      </a:lnTo>
                      <a:lnTo>
                        <a:pt x="2968" y="1367"/>
                      </a:lnTo>
                      <a:lnTo>
                        <a:pt x="2959" y="1349"/>
                      </a:lnTo>
                      <a:lnTo>
                        <a:pt x="2945" y="1342"/>
                      </a:lnTo>
                      <a:lnTo>
                        <a:pt x="2936" y="1330"/>
                      </a:lnTo>
                      <a:lnTo>
                        <a:pt x="2924" y="1326"/>
                      </a:lnTo>
                      <a:lnTo>
                        <a:pt x="2918" y="1319"/>
                      </a:lnTo>
                      <a:lnTo>
                        <a:pt x="2915" y="1303"/>
                      </a:lnTo>
                      <a:lnTo>
                        <a:pt x="2913" y="1290"/>
                      </a:lnTo>
                      <a:lnTo>
                        <a:pt x="2911" y="1276"/>
                      </a:lnTo>
                      <a:lnTo>
                        <a:pt x="2911" y="1259"/>
                      </a:lnTo>
                      <a:lnTo>
                        <a:pt x="2916" y="1234"/>
                      </a:lnTo>
                      <a:lnTo>
                        <a:pt x="2924" y="1219"/>
                      </a:lnTo>
                      <a:lnTo>
                        <a:pt x="2926" y="1213"/>
                      </a:lnTo>
                      <a:lnTo>
                        <a:pt x="2924" y="1209"/>
                      </a:lnTo>
                      <a:lnTo>
                        <a:pt x="2918" y="1207"/>
                      </a:lnTo>
                      <a:lnTo>
                        <a:pt x="2916" y="1201"/>
                      </a:lnTo>
                      <a:lnTo>
                        <a:pt x="2918" y="1190"/>
                      </a:lnTo>
                      <a:lnTo>
                        <a:pt x="2922" y="1184"/>
                      </a:lnTo>
                      <a:lnTo>
                        <a:pt x="2930" y="1177"/>
                      </a:lnTo>
                      <a:lnTo>
                        <a:pt x="2947" y="1167"/>
                      </a:lnTo>
                      <a:lnTo>
                        <a:pt x="2953" y="1159"/>
                      </a:lnTo>
                      <a:lnTo>
                        <a:pt x="2953" y="1155"/>
                      </a:lnTo>
                      <a:lnTo>
                        <a:pt x="2949" y="1155"/>
                      </a:lnTo>
                      <a:lnTo>
                        <a:pt x="2939" y="1157"/>
                      </a:lnTo>
                      <a:lnTo>
                        <a:pt x="2934" y="1163"/>
                      </a:lnTo>
                      <a:lnTo>
                        <a:pt x="2926" y="1165"/>
                      </a:lnTo>
                      <a:lnTo>
                        <a:pt x="2926" y="1167"/>
                      </a:lnTo>
                      <a:lnTo>
                        <a:pt x="2920" y="1167"/>
                      </a:lnTo>
                      <a:lnTo>
                        <a:pt x="2913" y="1169"/>
                      </a:lnTo>
                      <a:lnTo>
                        <a:pt x="2911" y="1167"/>
                      </a:lnTo>
                      <a:lnTo>
                        <a:pt x="2909" y="1165"/>
                      </a:lnTo>
                      <a:lnTo>
                        <a:pt x="2905" y="1155"/>
                      </a:lnTo>
                      <a:lnTo>
                        <a:pt x="2903" y="1134"/>
                      </a:lnTo>
                      <a:lnTo>
                        <a:pt x="2907" y="1127"/>
                      </a:lnTo>
                      <a:lnTo>
                        <a:pt x="2907" y="1121"/>
                      </a:lnTo>
                      <a:lnTo>
                        <a:pt x="2909" y="1113"/>
                      </a:lnTo>
                      <a:lnTo>
                        <a:pt x="2916" y="1107"/>
                      </a:lnTo>
                      <a:lnTo>
                        <a:pt x="2922" y="1104"/>
                      </a:lnTo>
                      <a:lnTo>
                        <a:pt x="2932" y="1100"/>
                      </a:lnTo>
                      <a:lnTo>
                        <a:pt x="2943" y="1092"/>
                      </a:lnTo>
                      <a:lnTo>
                        <a:pt x="2943" y="1090"/>
                      </a:lnTo>
                      <a:lnTo>
                        <a:pt x="2943" y="1086"/>
                      </a:lnTo>
                      <a:lnTo>
                        <a:pt x="2941" y="1084"/>
                      </a:lnTo>
                      <a:lnTo>
                        <a:pt x="2938" y="1084"/>
                      </a:lnTo>
                      <a:lnTo>
                        <a:pt x="2924" y="1092"/>
                      </a:lnTo>
                      <a:lnTo>
                        <a:pt x="2915" y="1090"/>
                      </a:lnTo>
                      <a:lnTo>
                        <a:pt x="2911" y="1084"/>
                      </a:lnTo>
                      <a:lnTo>
                        <a:pt x="2911" y="1073"/>
                      </a:lnTo>
                      <a:lnTo>
                        <a:pt x="2911" y="1038"/>
                      </a:lnTo>
                      <a:lnTo>
                        <a:pt x="2911" y="1073"/>
                      </a:lnTo>
                      <a:lnTo>
                        <a:pt x="2911" y="1073"/>
                      </a:lnTo>
                      <a:lnTo>
                        <a:pt x="2899" y="1073"/>
                      </a:lnTo>
                      <a:lnTo>
                        <a:pt x="2893" y="1075"/>
                      </a:lnTo>
                      <a:lnTo>
                        <a:pt x="2892" y="1077"/>
                      </a:lnTo>
                      <a:lnTo>
                        <a:pt x="2884" y="1088"/>
                      </a:lnTo>
                      <a:lnTo>
                        <a:pt x="2878" y="1090"/>
                      </a:lnTo>
                      <a:lnTo>
                        <a:pt x="2868" y="1090"/>
                      </a:lnTo>
                      <a:lnTo>
                        <a:pt x="2861" y="1086"/>
                      </a:lnTo>
                      <a:lnTo>
                        <a:pt x="2859" y="1086"/>
                      </a:lnTo>
                      <a:lnTo>
                        <a:pt x="2851" y="1084"/>
                      </a:lnTo>
                      <a:lnTo>
                        <a:pt x="2840" y="1086"/>
                      </a:lnTo>
                      <a:lnTo>
                        <a:pt x="2826" y="1096"/>
                      </a:lnTo>
                      <a:lnTo>
                        <a:pt x="2821" y="1102"/>
                      </a:lnTo>
                      <a:lnTo>
                        <a:pt x="2813" y="1102"/>
                      </a:lnTo>
                      <a:lnTo>
                        <a:pt x="2809" y="1102"/>
                      </a:lnTo>
                      <a:lnTo>
                        <a:pt x="2805" y="1100"/>
                      </a:lnTo>
                      <a:lnTo>
                        <a:pt x="2799" y="1104"/>
                      </a:lnTo>
                      <a:lnTo>
                        <a:pt x="2788" y="1113"/>
                      </a:lnTo>
                      <a:lnTo>
                        <a:pt x="2763" y="1121"/>
                      </a:lnTo>
                      <a:lnTo>
                        <a:pt x="2755" y="1130"/>
                      </a:lnTo>
                      <a:lnTo>
                        <a:pt x="2751" y="1130"/>
                      </a:lnTo>
                      <a:lnTo>
                        <a:pt x="2750" y="1127"/>
                      </a:lnTo>
                      <a:lnTo>
                        <a:pt x="2746" y="1127"/>
                      </a:lnTo>
                      <a:lnTo>
                        <a:pt x="2736" y="1134"/>
                      </a:lnTo>
                      <a:lnTo>
                        <a:pt x="2717" y="1136"/>
                      </a:lnTo>
                      <a:lnTo>
                        <a:pt x="2709" y="1142"/>
                      </a:lnTo>
                      <a:lnTo>
                        <a:pt x="2703" y="1146"/>
                      </a:lnTo>
                      <a:lnTo>
                        <a:pt x="2698" y="1146"/>
                      </a:lnTo>
                      <a:lnTo>
                        <a:pt x="2696" y="1142"/>
                      </a:lnTo>
                      <a:lnTo>
                        <a:pt x="2690" y="1134"/>
                      </a:lnTo>
                      <a:lnTo>
                        <a:pt x="2686" y="1130"/>
                      </a:lnTo>
                      <a:lnTo>
                        <a:pt x="2675" y="1129"/>
                      </a:lnTo>
                      <a:lnTo>
                        <a:pt x="2673" y="1125"/>
                      </a:lnTo>
                      <a:lnTo>
                        <a:pt x="2673" y="1119"/>
                      </a:lnTo>
                      <a:lnTo>
                        <a:pt x="2671" y="1117"/>
                      </a:lnTo>
                      <a:lnTo>
                        <a:pt x="2659" y="1113"/>
                      </a:lnTo>
                      <a:lnTo>
                        <a:pt x="2661" y="1121"/>
                      </a:lnTo>
                      <a:lnTo>
                        <a:pt x="2659" y="1130"/>
                      </a:lnTo>
                      <a:lnTo>
                        <a:pt x="2667" y="1144"/>
                      </a:lnTo>
                      <a:lnTo>
                        <a:pt x="2663" y="1150"/>
                      </a:lnTo>
                      <a:lnTo>
                        <a:pt x="2663" y="1152"/>
                      </a:lnTo>
                      <a:lnTo>
                        <a:pt x="2663" y="1154"/>
                      </a:lnTo>
                      <a:lnTo>
                        <a:pt x="2665" y="1167"/>
                      </a:lnTo>
                      <a:lnTo>
                        <a:pt x="2665" y="1173"/>
                      </a:lnTo>
                      <a:lnTo>
                        <a:pt x="2663" y="1178"/>
                      </a:lnTo>
                      <a:lnTo>
                        <a:pt x="2661" y="1178"/>
                      </a:lnTo>
                      <a:lnTo>
                        <a:pt x="2655" y="1173"/>
                      </a:lnTo>
                      <a:lnTo>
                        <a:pt x="2652" y="1169"/>
                      </a:lnTo>
                      <a:lnTo>
                        <a:pt x="2638" y="1159"/>
                      </a:lnTo>
                      <a:lnTo>
                        <a:pt x="2629" y="1159"/>
                      </a:lnTo>
                      <a:lnTo>
                        <a:pt x="2627" y="1157"/>
                      </a:lnTo>
                      <a:lnTo>
                        <a:pt x="2615" y="1155"/>
                      </a:lnTo>
                      <a:lnTo>
                        <a:pt x="2606" y="1150"/>
                      </a:lnTo>
                      <a:lnTo>
                        <a:pt x="2592" y="1148"/>
                      </a:lnTo>
                      <a:lnTo>
                        <a:pt x="2581" y="1142"/>
                      </a:lnTo>
                      <a:lnTo>
                        <a:pt x="2575" y="1142"/>
                      </a:lnTo>
                      <a:lnTo>
                        <a:pt x="2563" y="1148"/>
                      </a:lnTo>
                      <a:lnTo>
                        <a:pt x="2558" y="1148"/>
                      </a:lnTo>
                      <a:lnTo>
                        <a:pt x="2554" y="1146"/>
                      </a:lnTo>
                      <a:lnTo>
                        <a:pt x="2554" y="1130"/>
                      </a:lnTo>
                      <a:lnTo>
                        <a:pt x="2558" y="1115"/>
                      </a:lnTo>
                      <a:lnTo>
                        <a:pt x="2540" y="1123"/>
                      </a:lnTo>
                      <a:lnTo>
                        <a:pt x="2529" y="1134"/>
                      </a:lnTo>
                      <a:lnTo>
                        <a:pt x="2515" y="1136"/>
                      </a:lnTo>
                      <a:lnTo>
                        <a:pt x="2508" y="1142"/>
                      </a:lnTo>
                      <a:lnTo>
                        <a:pt x="2504" y="1142"/>
                      </a:lnTo>
                      <a:lnTo>
                        <a:pt x="2498" y="1142"/>
                      </a:lnTo>
                      <a:lnTo>
                        <a:pt x="2496" y="1138"/>
                      </a:lnTo>
                      <a:lnTo>
                        <a:pt x="2498" y="1123"/>
                      </a:lnTo>
                      <a:lnTo>
                        <a:pt x="2496" y="1121"/>
                      </a:lnTo>
                      <a:lnTo>
                        <a:pt x="2494" y="1119"/>
                      </a:lnTo>
                      <a:lnTo>
                        <a:pt x="2490" y="1119"/>
                      </a:lnTo>
                      <a:lnTo>
                        <a:pt x="2483" y="1132"/>
                      </a:lnTo>
                      <a:lnTo>
                        <a:pt x="2483" y="1140"/>
                      </a:lnTo>
                      <a:lnTo>
                        <a:pt x="2479" y="1150"/>
                      </a:lnTo>
                      <a:lnTo>
                        <a:pt x="2473" y="1150"/>
                      </a:lnTo>
                      <a:lnTo>
                        <a:pt x="2473" y="1146"/>
                      </a:lnTo>
                      <a:lnTo>
                        <a:pt x="2471" y="1140"/>
                      </a:lnTo>
                      <a:lnTo>
                        <a:pt x="2471" y="1123"/>
                      </a:lnTo>
                      <a:lnTo>
                        <a:pt x="2475" y="1107"/>
                      </a:lnTo>
                      <a:lnTo>
                        <a:pt x="2473" y="1100"/>
                      </a:lnTo>
                      <a:lnTo>
                        <a:pt x="2467" y="1092"/>
                      </a:lnTo>
                      <a:lnTo>
                        <a:pt x="2454" y="1084"/>
                      </a:lnTo>
                      <a:lnTo>
                        <a:pt x="2446" y="1073"/>
                      </a:lnTo>
                      <a:lnTo>
                        <a:pt x="2435" y="1065"/>
                      </a:lnTo>
                      <a:lnTo>
                        <a:pt x="2429" y="1056"/>
                      </a:lnTo>
                      <a:lnTo>
                        <a:pt x="2427" y="1044"/>
                      </a:lnTo>
                      <a:lnTo>
                        <a:pt x="2425" y="1046"/>
                      </a:lnTo>
                      <a:lnTo>
                        <a:pt x="2421" y="1056"/>
                      </a:lnTo>
                      <a:lnTo>
                        <a:pt x="2421" y="1056"/>
                      </a:lnTo>
                      <a:lnTo>
                        <a:pt x="2418" y="1063"/>
                      </a:lnTo>
                      <a:lnTo>
                        <a:pt x="2418" y="1071"/>
                      </a:lnTo>
                      <a:lnTo>
                        <a:pt x="2414" y="1075"/>
                      </a:lnTo>
                      <a:lnTo>
                        <a:pt x="2404" y="1079"/>
                      </a:lnTo>
                      <a:lnTo>
                        <a:pt x="2402" y="1079"/>
                      </a:lnTo>
                      <a:lnTo>
                        <a:pt x="2395" y="1075"/>
                      </a:lnTo>
                      <a:lnTo>
                        <a:pt x="2387" y="1067"/>
                      </a:lnTo>
                      <a:lnTo>
                        <a:pt x="2383" y="1061"/>
                      </a:lnTo>
                      <a:lnTo>
                        <a:pt x="2373" y="1058"/>
                      </a:lnTo>
                      <a:lnTo>
                        <a:pt x="2370" y="1059"/>
                      </a:lnTo>
                      <a:lnTo>
                        <a:pt x="2360" y="1065"/>
                      </a:lnTo>
                      <a:lnTo>
                        <a:pt x="2348" y="1063"/>
                      </a:lnTo>
                      <a:lnTo>
                        <a:pt x="2343" y="1081"/>
                      </a:lnTo>
                      <a:lnTo>
                        <a:pt x="2329" y="1111"/>
                      </a:lnTo>
                      <a:lnTo>
                        <a:pt x="2329" y="1138"/>
                      </a:lnTo>
                      <a:lnTo>
                        <a:pt x="2300" y="1125"/>
                      </a:lnTo>
                      <a:lnTo>
                        <a:pt x="2289" y="1115"/>
                      </a:lnTo>
                      <a:lnTo>
                        <a:pt x="2274" y="1109"/>
                      </a:lnTo>
                      <a:lnTo>
                        <a:pt x="2251" y="1094"/>
                      </a:lnTo>
                      <a:lnTo>
                        <a:pt x="2239" y="1092"/>
                      </a:lnTo>
                      <a:lnTo>
                        <a:pt x="2233" y="1086"/>
                      </a:lnTo>
                      <a:lnTo>
                        <a:pt x="2216" y="1073"/>
                      </a:lnTo>
                      <a:lnTo>
                        <a:pt x="2206" y="1071"/>
                      </a:lnTo>
                      <a:lnTo>
                        <a:pt x="2193" y="1065"/>
                      </a:lnTo>
                      <a:lnTo>
                        <a:pt x="2183" y="1065"/>
                      </a:lnTo>
                      <a:lnTo>
                        <a:pt x="2172" y="1058"/>
                      </a:lnTo>
                      <a:lnTo>
                        <a:pt x="2158" y="1056"/>
                      </a:lnTo>
                      <a:lnTo>
                        <a:pt x="2153" y="1048"/>
                      </a:lnTo>
                      <a:lnTo>
                        <a:pt x="2151" y="1042"/>
                      </a:lnTo>
                      <a:lnTo>
                        <a:pt x="2155" y="1027"/>
                      </a:lnTo>
                      <a:lnTo>
                        <a:pt x="2158" y="1023"/>
                      </a:lnTo>
                      <a:lnTo>
                        <a:pt x="2160" y="1012"/>
                      </a:lnTo>
                      <a:lnTo>
                        <a:pt x="2164" y="1004"/>
                      </a:lnTo>
                      <a:lnTo>
                        <a:pt x="2164" y="990"/>
                      </a:lnTo>
                      <a:lnTo>
                        <a:pt x="2170" y="979"/>
                      </a:lnTo>
                      <a:lnTo>
                        <a:pt x="2174" y="967"/>
                      </a:lnTo>
                      <a:lnTo>
                        <a:pt x="2170" y="967"/>
                      </a:lnTo>
                      <a:lnTo>
                        <a:pt x="2145" y="992"/>
                      </a:lnTo>
                      <a:lnTo>
                        <a:pt x="2135" y="996"/>
                      </a:lnTo>
                      <a:lnTo>
                        <a:pt x="2130" y="1004"/>
                      </a:lnTo>
                      <a:lnTo>
                        <a:pt x="2126" y="1013"/>
                      </a:lnTo>
                      <a:lnTo>
                        <a:pt x="2118" y="1021"/>
                      </a:lnTo>
                      <a:lnTo>
                        <a:pt x="2116" y="1029"/>
                      </a:lnTo>
                      <a:lnTo>
                        <a:pt x="2111" y="1038"/>
                      </a:lnTo>
                      <a:lnTo>
                        <a:pt x="2105" y="1059"/>
                      </a:lnTo>
                      <a:lnTo>
                        <a:pt x="2105" y="1059"/>
                      </a:lnTo>
                      <a:lnTo>
                        <a:pt x="2105" y="1059"/>
                      </a:lnTo>
                      <a:lnTo>
                        <a:pt x="2103" y="1056"/>
                      </a:lnTo>
                      <a:lnTo>
                        <a:pt x="2095" y="1056"/>
                      </a:lnTo>
                      <a:lnTo>
                        <a:pt x="2091" y="1046"/>
                      </a:lnTo>
                      <a:lnTo>
                        <a:pt x="2086" y="1046"/>
                      </a:lnTo>
                      <a:lnTo>
                        <a:pt x="2084" y="1044"/>
                      </a:lnTo>
                      <a:lnTo>
                        <a:pt x="2082" y="1040"/>
                      </a:lnTo>
                      <a:lnTo>
                        <a:pt x="2084" y="1035"/>
                      </a:lnTo>
                      <a:lnTo>
                        <a:pt x="2080" y="1027"/>
                      </a:lnTo>
                      <a:lnTo>
                        <a:pt x="2074" y="1017"/>
                      </a:lnTo>
                      <a:lnTo>
                        <a:pt x="2070" y="1013"/>
                      </a:lnTo>
                      <a:lnTo>
                        <a:pt x="2070" y="1010"/>
                      </a:lnTo>
                      <a:lnTo>
                        <a:pt x="2070" y="1008"/>
                      </a:lnTo>
                      <a:lnTo>
                        <a:pt x="2076" y="1006"/>
                      </a:lnTo>
                      <a:lnTo>
                        <a:pt x="2076" y="1000"/>
                      </a:lnTo>
                      <a:lnTo>
                        <a:pt x="2076" y="992"/>
                      </a:lnTo>
                      <a:lnTo>
                        <a:pt x="2080" y="988"/>
                      </a:lnTo>
                      <a:lnTo>
                        <a:pt x="2082" y="979"/>
                      </a:lnTo>
                      <a:lnTo>
                        <a:pt x="2087" y="971"/>
                      </a:lnTo>
                      <a:lnTo>
                        <a:pt x="2087" y="969"/>
                      </a:lnTo>
                      <a:lnTo>
                        <a:pt x="2084" y="960"/>
                      </a:lnTo>
                      <a:lnTo>
                        <a:pt x="2086" y="948"/>
                      </a:lnTo>
                      <a:lnTo>
                        <a:pt x="2086" y="939"/>
                      </a:lnTo>
                      <a:lnTo>
                        <a:pt x="2082" y="933"/>
                      </a:lnTo>
                      <a:lnTo>
                        <a:pt x="2078" y="931"/>
                      </a:lnTo>
                      <a:lnTo>
                        <a:pt x="2078" y="927"/>
                      </a:lnTo>
                      <a:lnTo>
                        <a:pt x="2080" y="904"/>
                      </a:lnTo>
                      <a:lnTo>
                        <a:pt x="2080" y="896"/>
                      </a:lnTo>
                      <a:lnTo>
                        <a:pt x="2080" y="891"/>
                      </a:lnTo>
                      <a:lnTo>
                        <a:pt x="2086" y="881"/>
                      </a:lnTo>
                      <a:lnTo>
                        <a:pt x="2086" y="877"/>
                      </a:lnTo>
                      <a:lnTo>
                        <a:pt x="2087" y="870"/>
                      </a:lnTo>
                      <a:lnTo>
                        <a:pt x="2086" y="866"/>
                      </a:lnTo>
                      <a:lnTo>
                        <a:pt x="2078" y="856"/>
                      </a:lnTo>
                      <a:lnTo>
                        <a:pt x="2072" y="848"/>
                      </a:lnTo>
                      <a:lnTo>
                        <a:pt x="2082" y="823"/>
                      </a:lnTo>
                      <a:lnTo>
                        <a:pt x="2084" y="822"/>
                      </a:lnTo>
                      <a:lnTo>
                        <a:pt x="2084" y="814"/>
                      </a:lnTo>
                      <a:lnTo>
                        <a:pt x="2074" y="799"/>
                      </a:lnTo>
                      <a:lnTo>
                        <a:pt x="2068" y="783"/>
                      </a:lnTo>
                      <a:lnTo>
                        <a:pt x="2068" y="777"/>
                      </a:lnTo>
                      <a:lnTo>
                        <a:pt x="2074" y="754"/>
                      </a:lnTo>
                      <a:lnTo>
                        <a:pt x="2080" y="739"/>
                      </a:lnTo>
                      <a:lnTo>
                        <a:pt x="2084" y="720"/>
                      </a:lnTo>
                      <a:lnTo>
                        <a:pt x="2091" y="706"/>
                      </a:lnTo>
                      <a:lnTo>
                        <a:pt x="2089" y="693"/>
                      </a:lnTo>
                      <a:lnTo>
                        <a:pt x="2089" y="683"/>
                      </a:lnTo>
                      <a:lnTo>
                        <a:pt x="2093" y="672"/>
                      </a:lnTo>
                      <a:lnTo>
                        <a:pt x="2093" y="657"/>
                      </a:lnTo>
                      <a:lnTo>
                        <a:pt x="2099" y="649"/>
                      </a:lnTo>
                      <a:lnTo>
                        <a:pt x="2097" y="635"/>
                      </a:lnTo>
                      <a:lnTo>
                        <a:pt x="2097" y="626"/>
                      </a:lnTo>
                      <a:lnTo>
                        <a:pt x="2103" y="620"/>
                      </a:lnTo>
                      <a:lnTo>
                        <a:pt x="2114" y="605"/>
                      </a:lnTo>
                      <a:lnTo>
                        <a:pt x="2118" y="593"/>
                      </a:lnTo>
                      <a:lnTo>
                        <a:pt x="2120" y="587"/>
                      </a:lnTo>
                      <a:lnTo>
                        <a:pt x="2128" y="582"/>
                      </a:lnTo>
                      <a:lnTo>
                        <a:pt x="2130" y="578"/>
                      </a:lnTo>
                      <a:lnTo>
                        <a:pt x="2134" y="572"/>
                      </a:lnTo>
                      <a:lnTo>
                        <a:pt x="2135" y="562"/>
                      </a:lnTo>
                      <a:lnTo>
                        <a:pt x="2137" y="538"/>
                      </a:lnTo>
                      <a:lnTo>
                        <a:pt x="2141" y="530"/>
                      </a:lnTo>
                      <a:lnTo>
                        <a:pt x="2151" y="520"/>
                      </a:lnTo>
                      <a:lnTo>
                        <a:pt x="2155" y="513"/>
                      </a:lnTo>
                      <a:lnTo>
                        <a:pt x="2162" y="490"/>
                      </a:lnTo>
                      <a:lnTo>
                        <a:pt x="2168" y="482"/>
                      </a:lnTo>
                      <a:lnTo>
                        <a:pt x="2170" y="480"/>
                      </a:lnTo>
                      <a:lnTo>
                        <a:pt x="2168" y="480"/>
                      </a:lnTo>
                      <a:lnTo>
                        <a:pt x="2018" y="467"/>
                      </a:lnTo>
                      <a:lnTo>
                        <a:pt x="1836" y="449"/>
                      </a:lnTo>
                      <a:lnTo>
                        <a:pt x="1717" y="440"/>
                      </a:lnTo>
                      <a:lnTo>
                        <a:pt x="1627" y="432"/>
                      </a:lnTo>
                      <a:lnTo>
                        <a:pt x="1510" y="422"/>
                      </a:lnTo>
                      <a:lnTo>
                        <a:pt x="1485" y="420"/>
                      </a:lnTo>
                      <a:lnTo>
                        <a:pt x="1472" y="420"/>
                      </a:lnTo>
                      <a:lnTo>
                        <a:pt x="1399" y="415"/>
                      </a:lnTo>
                      <a:lnTo>
                        <a:pt x="1264" y="405"/>
                      </a:lnTo>
                      <a:lnTo>
                        <a:pt x="1118" y="396"/>
                      </a:lnTo>
                      <a:lnTo>
                        <a:pt x="946" y="382"/>
                      </a:lnTo>
                      <a:lnTo>
                        <a:pt x="932" y="390"/>
                      </a:lnTo>
                      <a:lnTo>
                        <a:pt x="930" y="392"/>
                      </a:lnTo>
                      <a:lnTo>
                        <a:pt x="927" y="394"/>
                      </a:lnTo>
                      <a:lnTo>
                        <a:pt x="923" y="390"/>
                      </a:lnTo>
                      <a:lnTo>
                        <a:pt x="917" y="371"/>
                      </a:lnTo>
                      <a:lnTo>
                        <a:pt x="911" y="363"/>
                      </a:lnTo>
                      <a:lnTo>
                        <a:pt x="902" y="359"/>
                      </a:lnTo>
                      <a:lnTo>
                        <a:pt x="888" y="359"/>
                      </a:lnTo>
                      <a:lnTo>
                        <a:pt x="881" y="357"/>
                      </a:lnTo>
                      <a:lnTo>
                        <a:pt x="875" y="355"/>
                      </a:lnTo>
                      <a:lnTo>
                        <a:pt x="871" y="346"/>
                      </a:lnTo>
                      <a:lnTo>
                        <a:pt x="875" y="336"/>
                      </a:lnTo>
                      <a:lnTo>
                        <a:pt x="871" y="328"/>
                      </a:lnTo>
                      <a:lnTo>
                        <a:pt x="865" y="321"/>
                      </a:lnTo>
                      <a:lnTo>
                        <a:pt x="857" y="317"/>
                      </a:lnTo>
                      <a:lnTo>
                        <a:pt x="848" y="309"/>
                      </a:lnTo>
                      <a:lnTo>
                        <a:pt x="844" y="303"/>
                      </a:lnTo>
                      <a:lnTo>
                        <a:pt x="838" y="300"/>
                      </a:lnTo>
                      <a:lnTo>
                        <a:pt x="806" y="290"/>
                      </a:lnTo>
                      <a:lnTo>
                        <a:pt x="798" y="282"/>
                      </a:lnTo>
                      <a:lnTo>
                        <a:pt x="798" y="275"/>
                      </a:lnTo>
                      <a:lnTo>
                        <a:pt x="796" y="269"/>
                      </a:lnTo>
                      <a:lnTo>
                        <a:pt x="785" y="269"/>
                      </a:lnTo>
                      <a:lnTo>
                        <a:pt x="779" y="265"/>
                      </a:lnTo>
                      <a:lnTo>
                        <a:pt x="771" y="267"/>
                      </a:lnTo>
                      <a:lnTo>
                        <a:pt x="765" y="265"/>
                      </a:lnTo>
                      <a:lnTo>
                        <a:pt x="762" y="261"/>
                      </a:lnTo>
                      <a:lnTo>
                        <a:pt x="760" y="248"/>
                      </a:lnTo>
                      <a:lnTo>
                        <a:pt x="758" y="242"/>
                      </a:lnTo>
                      <a:lnTo>
                        <a:pt x="758" y="236"/>
                      </a:lnTo>
                      <a:lnTo>
                        <a:pt x="756" y="227"/>
                      </a:lnTo>
                      <a:lnTo>
                        <a:pt x="754" y="215"/>
                      </a:lnTo>
                      <a:lnTo>
                        <a:pt x="748" y="204"/>
                      </a:lnTo>
                      <a:lnTo>
                        <a:pt x="750" y="196"/>
                      </a:lnTo>
                      <a:lnTo>
                        <a:pt x="750" y="188"/>
                      </a:lnTo>
                      <a:lnTo>
                        <a:pt x="754" y="173"/>
                      </a:lnTo>
                      <a:lnTo>
                        <a:pt x="754" y="165"/>
                      </a:lnTo>
                      <a:lnTo>
                        <a:pt x="744" y="154"/>
                      </a:lnTo>
                      <a:lnTo>
                        <a:pt x="742" y="146"/>
                      </a:lnTo>
                      <a:lnTo>
                        <a:pt x="719" y="112"/>
                      </a:lnTo>
                      <a:lnTo>
                        <a:pt x="717" y="102"/>
                      </a:lnTo>
                      <a:lnTo>
                        <a:pt x="712" y="87"/>
                      </a:lnTo>
                      <a:lnTo>
                        <a:pt x="698" y="60"/>
                      </a:lnTo>
                      <a:lnTo>
                        <a:pt x="696" y="56"/>
                      </a:lnTo>
                      <a:lnTo>
                        <a:pt x="691" y="39"/>
                      </a:lnTo>
                      <a:lnTo>
                        <a:pt x="679" y="29"/>
                      </a:lnTo>
                      <a:lnTo>
                        <a:pt x="669" y="6"/>
                      </a:lnTo>
                      <a:lnTo>
                        <a:pt x="666" y="4"/>
                      </a:lnTo>
                      <a:lnTo>
                        <a:pt x="660" y="0"/>
                      </a:lnTo>
                      <a:lnTo>
                        <a:pt x="660" y="0"/>
                      </a:lnTo>
                      <a:lnTo>
                        <a:pt x="656" y="4"/>
                      </a:lnTo>
                      <a:lnTo>
                        <a:pt x="646" y="16"/>
                      </a:lnTo>
                      <a:lnTo>
                        <a:pt x="643" y="29"/>
                      </a:lnTo>
                      <a:lnTo>
                        <a:pt x="646" y="46"/>
                      </a:lnTo>
                      <a:lnTo>
                        <a:pt x="644" y="54"/>
                      </a:lnTo>
                      <a:lnTo>
                        <a:pt x="635" y="62"/>
                      </a:lnTo>
                      <a:lnTo>
                        <a:pt x="631" y="67"/>
                      </a:lnTo>
                      <a:lnTo>
                        <a:pt x="629" y="77"/>
                      </a:lnTo>
                      <a:lnTo>
                        <a:pt x="625" y="85"/>
                      </a:lnTo>
                      <a:lnTo>
                        <a:pt x="618" y="90"/>
                      </a:lnTo>
                      <a:lnTo>
                        <a:pt x="614" y="98"/>
                      </a:lnTo>
                      <a:lnTo>
                        <a:pt x="614" y="106"/>
                      </a:lnTo>
                      <a:lnTo>
                        <a:pt x="621" y="115"/>
                      </a:lnTo>
                      <a:lnTo>
                        <a:pt x="631" y="140"/>
                      </a:lnTo>
                      <a:lnTo>
                        <a:pt x="629" y="148"/>
                      </a:lnTo>
                      <a:lnTo>
                        <a:pt x="625" y="156"/>
                      </a:lnTo>
                      <a:lnTo>
                        <a:pt x="625" y="175"/>
                      </a:lnTo>
                      <a:lnTo>
                        <a:pt x="627" y="184"/>
                      </a:lnTo>
                      <a:lnTo>
                        <a:pt x="618" y="194"/>
                      </a:lnTo>
                      <a:lnTo>
                        <a:pt x="616" y="206"/>
                      </a:lnTo>
                      <a:lnTo>
                        <a:pt x="608" y="219"/>
                      </a:lnTo>
                      <a:lnTo>
                        <a:pt x="606" y="227"/>
                      </a:lnTo>
                      <a:lnTo>
                        <a:pt x="610" y="246"/>
                      </a:lnTo>
                      <a:lnTo>
                        <a:pt x="606" y="257"/>
                      </a:lnTo>
                      <a:lnTo>
                        <a:pt x="606" y="263"/>
                      </a:lnTo>
                      <a:lnTo>
                        <a:pt x="614" y="267"/>
                      </a:lnTo>
                      <a:lnTo>
                        <a:pt x="604" y="277"/>
                      </a:lnTo>
                      <a:lnTo>
                        <a:pt x="570" y="275"/>
                      </a:lnTo>
                      <a:lnTo>
                        <a:pt x="447" y="279"/>
                      </a:lnTo>
                      <a:lnTo>
                        <a:pt x="443" y="277"/>
                      </a:lnTo>
                      <a:lnTo>
                        <a:pt x="437" y="279"/>
                      </a:lnTo>
                      <a:lnTo>
                        <a:pt x="384" y="279"/>
                      </a:lnTo>
                      <a:lnTo>
                        <a:pt x="370" y="279"/>
                      </a:lnTo>
                      <a:lnTo>
                        <a:pt x="370" y="279"/>
                      </a:lnTo>
                      <a:lnTo>
                        <a:pt x="324" y="280"/>
                      </a:lnTo>
                      <a:lnTo>
                        <a:pt x="316" y="279"/>
                      </a:lnTo>
                      <a:lnTo>
                        <a:pt x="309" y="280"/>
                      </a:lnTo>
                      <a:lnTo>
                        <a:pt x="309" y="282"/>
                      </a:lnTo>
                      <a:lnTo>
                        <a:pt x="301" y="280"/>
                      </a:lnTo>
                      <a:lnTo>
                        <a:pt x="299" y="280"/>
                      </a:lnTo>
                      <a:lnTo>
                        <a:pt x="257" y="280"/>
                      </a:lnTo>
                      <a:lnTo>
                        <a:pt x="257" y="282"/>
                      </a:lnTo>
                      <a:lnTo>
                        <a:pt x="247" y="280"/>
                      </a:lnTo>
                      <a:lnTo>
                        <a:pt x="190" y="282"/>
                      </a:lnTo>
                      <a:lnTo>
                        <a:pt x="178" y="280"/>
                      </a:lnTo>
                      <a:lnTo>
                        <a:pt x="178" y="282"/>
                      </a:lnTo>
                      <a:lnTo>
                        <a:pt x="142" y="284"/>
                      </a:lnTo>
                      <a:lnTo>
                        <a:pt x="111" y="284"/>
                      </a:lnTo>
                      <a:lnTo>
                        <a:pt x="90" y="282"/>
                      </a:lnTo>
                      <a:lnTo>
                        <a:pt x="90" y="284"/>
                      </a:lnTo>
                      <a:lnTo>
                        <a:pt x="86" y="284"/>
                      </a:lnTo>
                      <a:lnTo>
                        <a:pt x="40" y="284"/>
                      </a:lnTo>
                      <a:lnTo>
                        <a:pt x="32" y="284"/>
                      </a:lnTo>
                      <a:lnTo>
                        <a:pt x="32" y="286"/>
                      </a:lnTo>
                      <a:lnTo>
                        <a:pt x="11" y="286"/>
                      </a:lnTo>
                      <a:lnTo>
                        <a:pt x="5" y="288"/>
                      </a:lnTo>
                      <a:lnTo>
                        <a:pt x="5" y="288"/>
                      </a:lnTo>
                      <a:lnTo>
                        <a:pt x="7" y="290"/>
                      </a:lnTo>
                      <a:lnTo>
                        <a:pt x="15" y="298"/>
                      </a:lnTo>
                      <a:lnTo>
                        <a:pt x="19" y="305"/>
                      </a:lnTo>
                      <a:lnTo>
                        <a:pt x="25" y="309"/>
                      </a:lnTo>
                      <a:lnTo>
                        <a:pt x="25" y="319"/>
                      </a:lnTo>
                      <a:lnTo>
                        <a:pt x="17" y="326"/>
                      </a:lnTo>
                      <a:lnTo>
                        <a:pt x="13" y="336"/>
                      </a:lnTo>
                      <a:lnTo>
                        <a:pt x="9" y="348"/>
                      </a:lnTo>
                      <a:lnTo>
                        <a:pt x="11" y="359"/>
                      </a:lnTo>
                      <a:lnTo>
                        <a:pt x="13" y="365"/>
                      </a:lnTo>
                      <a:lnTo>
                        <a:pt x="13" y="367"/>
                      </a:lnTo>
                      <a:lnTo>
                        <a:pt x="19" y="373"/>
                      </a:lnTo>
                      <a:lnTo>
                        <a:pt x="17" y="378"/>
                      </a:lnTo>
                      <a:lnTo>
                        <a:pt x="4" y="380"/>
                      </a:lnTo>
                      <a:lnTo>
                        <a:pt x="2" y="386"/>
                      </a:lnTo>
                      <a:lnTo>
                        <a:pt x="0" y="396"/>
                      </a:lnTo>
                      <a:lnTo>
                        <a:pt x="0" y="403"/>
                      </a:lnTo>
                      <a:lnTo>
                        <a:pt x="5" y="405"/>
                      </a:lnTo>
                      <a:lnTo>
                        <a:pt x="9" y="407"/>
                      </a:lnTo>
                      <a:lnTo>
                        <a:pt x="11" y="409"/>
                      </a:lnTo>
                      <a:lnTo>
                        <a:pt x="13" y="413"/>
                      </a:lnTo>
                      <a:lnTo>
                        <a:pt x="9" y="420"/>
                      </a:lnTo>
                      <a:lnTo>
                        <a:pt x="9" y="424"/>
                      </a:lnTo>
                      <a:lnTo>
                        <a:pt x="23" y="447"/>
                      </a:lnTo>
                      <a:lnTo>
                        <a:pt x="25" y="453"/>
                      </a:lnTo>
                      <a:lnTo>
                        <a:pt x="23" y="463"/>
                      </a:lnTo>
                      <a:lnTo>
                        <a:pt x="17" y="467"/>
                      </a:lnTo>
                      <a:lnTo>
                        <a:pt x="15" y="470"/>
                      </a:lnTo>
                      <a:lnTo>
                        <a:pt x="17" y="474"/>
                      </a:lnTo>
                      <a:lnTo>
                        <a:pt x="19" y="482"/>
                      </a:lnTo>
                      <a:lnTo>
                        <a:pt x="21" y="493"/>
                      </a:lnTo>
                      <a:lnTo>
                        <a:pt x="21" y="513"/>
                      </a:lnTo>
                      <a:lnTo>
                        <a:pt x="17" y="528"/>
                      </a:lnTo>
                      <a:lnTo>
                        <a:pt x="9" y="539"/>
                      </a:lnTo>
                      <a:lnTo>
                        <a:pt x="7" y="547"/>
                      </a:lnTo>
                      <a:lnTo>
                        <a:pt x="11" y="559"/>
                      </a:lnTo>
                      <a:lnTo>
                        <a:pt x="9" y="574"/>
                      </a:lnTo>
                      <a:lnTo>
                        <a:pt x="9" y="578"/>
                      </a:lnTo>
                      <a:lnTo>
                        <a:pt x="25" y="595"/>
                      </a:lnTo>
                      <a:lnTo>
                        <a:pt x="29" y="603"/>
                      </a:lnTo>
                      <a:lnTo>
                        <a:pt x="30" y="612"/>
                      </a:lnTo>
                      <a:lnTo>
                        <a:pt x="29" y="643"/>
                      </a:lnTo>
                      <a:lnTo>
                        <a:pt x="32" y="660"/>
                      </a:lnTo>
                      <a:lnTo>
                        <a:pt x="23" y="689"/>
                      </a:lnTo>
                      <a:lnTo>
                        <a:pt x="19" y="704"/>
                      </a:lnTo>
                      <a:lnTo>
                        <a:pt x="21" y="708"/>
                      </a:lnTo>
                      <a:lnTo>
                        <a:pt x="21" y="710"/>
                      </a:lnTo>
                      <a:lnTo>
                        <a:pt x="29" y="712"/>
                      </a:lnTo>
                      <a:lnTo>
                        <a:pt x="30" y="710"/>
                      </a:lnTo>
                      <a:lnTo>
                        <a:pt x="42" y="712"/>
                      </a:lnTo>
                      <a:lnTo>
                        <a:pt x="59" y="710"/>
                      </a:lnTo>
                      <a:lnTo>
                        <a:pt x="76" y="712"/>
                      </a:lnTo>
                      <a:lnTo>
                        <a:pt x="82" y="710"/>
                      </a:lnTo>
                      <a:lnTo>
                        <a:pt x="140" y="710"/>
                      </a:lnTo>
                      <a:lnTo>
                        <a:pt x="140" y="708"/>
                      </a:lnTo>
                      <a:lnTo>
                        <a:pt x="147" y="710"/>
                      </a:lnTo>
                      <a:lnTo>
                        <a:pt x="159" y="710"/>
                      </a:lnTo>
                      <a:lnTo>
                        <a:pt x="157" y="708"/>
                      </a:lnTo>
                      <a:lnTo>
                        <a:pt x="172" y="710"/>
                      </a:lnTo>
                      <a:lnTo>
                        <a:pt x="226" y="708"/>
                      </a:lnTo>
                      <a:lnTo>
                        <a:pt x="234" y="720"/>
                      </a:lnTo>
                      <a:lnTo>
                        <a:pt x="242" y="726"/>
                      </a:lnTo>
                      <a:lnTo>
                        <a:pt x="247" y="726"/>
                      </a:lnTo>
                      <a:lnTo>
                        <a:pt x="257" y="718"/>
                      </a:lnTo>
                      <a:lnTo>
                        <a:pt x="259" y="718"/>
                      </a:lnTo>
                      <a:lnTo>
                        <a:pt x="265" y="726"/>
                      </a:lnTo>
                      <a:lnTo>
                        <a:pt x="268" y="728"/>
                      </a:lnTo>
                      <a:lnTo>
                        <a:pt x="299" y="724"/>
                      </a:lnTo>
                      <a:lnTo>
                        <a:pt x="305" y="724"/>
                      </a:lnTo>
                      <a:lnTo>
                        <a:pt x="307" y="726"/>
                      </a:lnTo>
                      <a:lnTo>
                        <a:pt x="314" y="728"/>
                      </a:lnTo>
                      <a:lnTo>
                        <a:pt x="316" y="733"/>
                      </a:lnTo>
                      <a:lnTo>
                        <a:pt x="320" y="739"/>
                      </a:lnTo>
                      <a:lnTo>
                        <a:pt x="320" y="747"/>
                      </a:lnTo>
                      <a:lnTo>
                        <a:pt x="320" y="754"/>
                      </a:lnTo>
                      <a:lnTo>
                        <a:pt x="326" y="770"/>
                      </a:lnTo>
                      <a:lnTo>
                        <a:pt x="328" y="783"/>
                      </a:lnTo>
                      <a:lnTo>
                        <a:pt x="326" y="789"/>
                      </a:lnTo>
                      <a:lnTo>
                        <a:pt x="322" y="793"/>
                      </a:lnTo>
                      <a:lnTo>
                        <a:pt x="314" y="797"/>
                      </a:lnTo>
                      <a:lnTo>
                        <a:pt x="305" y="804"/>
                      </a:lnTo>
                      <a:lnTo>
                        <a:pt x="303" y="812"/>
                      </a:lnTo>
                      <a:lnTo>
                        <a:pt x="295" y="816"/>
                      </a:lnTo>
                      <a:lnTo>
                        <a:pt x="293" y="818"/>
                      </a:lnTo>
                      <a:lnTo>
                        <a:pt x="291" y="843"/>
                      </a:lnTo>
                      <a:lnTo>
                        <a:pt x="297" y="860"/>
                      </a:lnTo>
                      <a:lnTo>
                        <a:pt x="303" y="875"/>
                      </a:lnTo>
                      <a:lnTo>
                        <a:pt x="307" y="877"/>
                      </a:lnTo>
                      <a:lnTo>
                        <a:pt x="318" y="883"/>
                      </a:lnTo>
                      <a:lnTo>
                        <a:pt x="320" y="889"/>
                      </a:lnTo>
                      <a:lnTo>
                        <a:pt x="326" y="908"/>
                      </a:lnTo>
                      <a:lnTo>
                        <a:pt x="330" y="910"/>
                      </a:lnTo>
                      <a:lnTo>
                        <a:pt x="334" y="912"/>
                      </a:lnTo>
                      <a:lnTo>
                        <a:pt x="336" y="916"/>
                      </a:lnTo>
                      <a:lnTo>
                        <a:pt x="337" y="927"/>
                      </a:lnTo>
                      <a:lnTo>
                        <a:pt x="339" y="939"/>
                      </a:lnTo>
                      <a:lnTo>
                        <a:pt x="336" y="948"/>
                      </a:lnTo>
                      <a:lnTo>
                        <a:pt x="336" y="950"/>
                      </a:lnTo>
                      <a:lnTo>
                        <a:pt x="341" y="956"/>
                      </a:lnTo>
                      <a:lnTo>
                        <a:pt x="345" y="964"/>
                      </a:lnTo>
                      <a:lnTo>
                        <a:pt x="347" y="973"/>
                      </a:lnTo>
                      <a:lnTo>
                        <a:pt x="345" y="987"/>
                      </a:lnTo>
                      <a:lnTo>
                        <a:pt x="337" y="1002"/>
                      </a:lnTo>
                      <a:lnTo>
                        <a:pt x="334" y="1002"/>
                      </a:lnTo>
                      <a:lnTo>
                        <a:pt x="326" y="1010"/>
                      </a:lnTo>
                      <a:lnTo>
                        <a:pt x="314" y="1027"/>
                      </a:lnTo>
                      <a:lnTo>
                        <a:pt x="303" y="1063"/>
                      </a:lnTo>
                      <a:lnTo>
                        <a:pt x="303" y="1088"/>
                      </a:lnTo>
                      <a:lnTo>
                        <a:pt x="299" y="1094"/>
                      </a:lnTo>
                      <a:lnTo>
                        <a:pt x="291" y="1100"/>
                      </a:lnTo>
                      <a:lnTo>
                        <a:pt x="280" y="1111"/>
                      </a:lnTo>
                      <a:lnTo>
                        <a:pt x="274" y="1123"/>
                      </a:lnTo>
                      <a:lnTo>
                        <a:pt x="268" y="1142"/>
                      </a:lnTo>
                      <a:lnTo>
                        <a:pt x="263" y="1161"/>
                      </a:lnTo>
                      <a:lnTo>
                        <a:pt x="253" y="1178"/>
                      </a:lnTo>
                      <a:lnTo>
                        <a:pt x="247" y="1186"/>
                      </a:lnTo>
                      <a:lnTo>
                        <a:pt x="238" y="1192"/>
                      </a:lnTo>
                      <a:lnTo>
                        <a:pt x="207" y="1211"/>
                      </a:lnTo>
                      <a:lnTo>
                        <a:pt x="188" y="1230"/>
                      </a:lnTo>
                      <a:lnTo>
                        <a:pt x="184" y="1236"/>
                      </a:lnTo>
                      <a:lnTo>
                        <a:pt x="186" y="1236"/>
                      </a:lnTo>
                      <a:lnTo>
                        <a:pt x="199" y="1242"/>
                      </a:lnTo>
                      <a:lnTo>
                        <a:pt x="217" y="1248"/>
                      </a:lnTo>
                      <a:lnTo>
                        <a:pt x="232" y="1253"/>
                      </a:lnTo>
                      <a:lnTo>
                        <a:pt x="236" y="1255"/>
                      </a:lnTo>
                      <a:lnTo>
                        <a:pt x="242" y="1263"/>
                      </a:lnTo>
                      <a:lnTo>
                        <a:pt x="242" y="1269"/>
                      </a:lnTo>
                      <a:lnTo>
                        <a:pt x="249" y="1282"/>
                      </a:lnTo>
                      <a:lnTo>
                        <a:pt x="251" y="1286"/>
                      </a:lnTo>
                      <a:lnTo>
                        <a:pt x="251" y="1294"/>
                      </a:lnTo>
                      <a:lnTo>
                        <a:pt x="242" y="1307"/>
                      </a:lnTo>
                      <a:lnTo>
                        <a:pt x="236" y="1324"/>
                      </a:lnTo>
                      <a:lnTo>
                        <a:pt x="242" y="1332"/>
                      </a:lnTo>
                      <a:lnTo>
                        <a:pt x="242" y="1345"/>
                      </a:lnTo>
                      <a:lnTo>
                        <a:pt x="255" y="1361"/>
                      </a:lnTo>
                      <a:lnTo>
                        <a:pt x="257" y="1376"/>
                      </a:lnTo>
                      <a:lnTo>
                        <a:pt x="265" y="1388"/>
                      </a:lnTo>
                      <a:lnTo>
                        <a:pt x="266" y="1395"/>
                      </a:lnTo>
                      <a:lnTo>
                        <a:pt x="276" y="1405"/>
                      </a:lnTo>
                      <a:lnTo>
                        <a:pt x="278" y="1411"/>
                      </a:lnTo>
                      <a:lnTo>
                        <a:pt x="282" y="1420"/>
                      </a:lnTo>
                      <a:lnTo>
                        <a:pt x="282" y="1430"/>
                      </a:lnTo>
                      <a:lnTo>
                        <a:pt x="280" y="1432"/>
                      </a:lnTo>
                      <a:lnTo>
                        <a:pt x="282" y="1436"/>
                      </a:lnTo>
                      <a:lnTo>
                        <a:pt x="284" y="1451"/>
                      </a:lnTo>
                      <a:lnTo>
                        <a:pt x="286" y="1501"/>
                      </a:lnTo>
                      <a:lnTo>
                        <a:pt x="228" y="1501"/>
                      </a:lnTo>
                      <a:lnTo>
                        <a:pt x="234" y="1507"/>
                      </a:lnTo>
                      <a:lnTo>
                        <a:pt x="232" y="1509"/>
                      </a:lnTo>
                      <a:lnTo>
                        <a:pt x="240" y="1518"/>
                      </a:lnTo>
                      <a:lnTo>
                        <a:pt x="243" y="1518"/>
                      </a:lnTo>
                      <a:lnTo>
                        <a:pt x="253" y="1528"/>
                      </a:lnTo>
                      <a:lnTo>
                        <a:pt x="253" y="1530"/>
                      </a:lnTo>
                      <a:lnTo>
                        <a:pt x="263" y="1541"/>
                      </a:lnTo>
                      <a:lnTo>
                        <a:pt x="265" y="1541"/>
                      </a:lnTo>
                      <a:lnTo>
                        <a:pt x="288" y="1570"/>
                      </a:lnTo>
                      <a:lnTo>
                        <a:pt x="289" y="1570"/>
                      </a:lnTo>
                      <a:lnTo>
                        <a:pt x="293" y="1580"/>
                      </a:lnTo>
                      <a:lnTo>
                        <a:pt x="307" y="1725"/>
                      </a:lnTo>
                      <a:lnTo>
                        <a:pt x="336" y="1725"/>
                      </a:lnTo>
                      <a:lnTo>
                        <a:pt x="408" y="1725"/>
                      </a:lnTo>
                      <a:lnTo>
                        <a:pt x="416" y="1727"/>
                      </a:lnTo>
                      <a:lnTo>
                        <a:pt x="620" y="1729"/>
                      </a:lnTo>
                      <a:lnTo>
                        <a:pt x="625" y="1725"/>
                      </a:lnTo>
                      <a:lnTo>
                        <a:pt x="631" y="1722"/>
                      </a:lnTo>
                      <a:lnTo>
                        <a:pt x="639" y="1718"/>
                      </a:lnTo>
                      <a:lnTo>
                        <a:pt x="644" y="1718"/>
                      </a:lnTo>
                      <a:lnTo>
                        <a:pt x="646" y="1720"/>
                      </a:lnTo>
                      <a:lnTo>
                        <a:pt x="652" y="1725"/>
                      </a:lnTo>
                      <a:lnTo>
                        <a:pt x="652" y="1731"/>
                      </a:lnTo>
                      <a:lnTo>
                        <a:pt x="648" y="1741"/>
                      </a:lnTo>
                      <a:lnTo>
                        <a:pt x="641" y="1746"/>
                      </a:lnTo>
                      <a:lnTo>
                        <a:pt x="639" y="1750"/>
                      </a:lnTo>
                      <a:lnTo>
                        <a:pt x="641" y="1764"/>
                      </a:lnTo>
                      <a:lnTo>
                        <a:pt x="631" y="1779"/>
                      </a:lnTo>
                      <a:lnTo>
                        <a:pt x="627" y="1781"/>
                      </a:lnTo>
                      <a:lnTo>
                        <a:pt x="625" y="1787"/>
                      </a:lnTo>
                      <a:lnTo>
                        <a:pt x="623" y="1793"/>
                      </a:lnTo>
                      <a:lnTo>
                        <a:pt x="627" y="1800"/>
                      </a:lnTo>
                      <a:lnTo>
                        <a:pt x="627" y="1808"/>
                      </a:lnTo>
                      <a:lnTo>
                        <a:pt x="620" y="1814"/>
                      </a:lnTo>
                      <a:lnTo>
                        <a:pt x="625" y="1856"/>
                      </a:lnTo>
                      <a:lnTo>
                        <a:pt x="637" y="1890"/>
                      </a:lnTo>
                      <a:lnTo>
                        <a:pt x="658" y="1915"/>
                      </a:lnTo>
                      <a:lnTo>
                        <a:pt x="675" y="1931"/>
                      </a:lnTo>
                      <a:lnTo>
                        <a:pt x="681" y="1933"/>
                      </a:lnTo>
                      <a:lnTo>
                        <a:pt x="683" y="1925"/>
                      </a:lnTo>
                      <a:lnTo>
                        <a:pt x="687" y="1925"/>
                      </a:lnTo>
                      <a:lnTo>
                        <a:pt x="694" y="1944"/>
                      </a:lnTo>
                      <a:lnTo>
                        <a:pt x="698" y="1946"/>
                      </a:lnTo>
                      <a:lnTo>
                        <a:pt x="702" y="1946"/>
                      </a:lnTo>
                      <a:lnTo>
                        <a:pt x="712" y="1944"/>
                      </a:lnTo>
                      <a:lnTo>
                        <a:pt x="729" y="1954"/>
                      </a:lnTo>
                      <a:lnTo>
                        <a:pt x="737" y="1956"/>
                      </a:lnTo>
                      <a:lnTo>
                        <a:pt x="740" y="1958"/>
                      </a:lnTo>
                      <a:lnTo>
                        <a:pt x="740" y="1959"/>
                      </a:lnTo>
                      <a:lnTo>
                        <a:pt x="744" y="1963"/>
                      </a:lnTo>
                      <a:lnTo>
                        <a:pt x="752" y="1963"/>
                      </a:lnTo>
                      <a:lnTo>
                        <a:pt x="752" y="1963"/>
                      </a:lnTo>
                      <a:lnTo>
                        <a:pt x="752" y="1963"/>
                      </a:lnTo>
                      <a:lnTo>
                        <a:pt x="752" y="1965"/>
                      </a:lnTo>
                      <a:lnTo>
                        <a:pt x="754" y="1967"/>
                      </a:lnTo>
                      <a:lnTo>
                        <a:pt x="752" y="1969"/>
                      </a:lnTo>
                      <a:lnTo>
                        <a:pt x="754" y="1969"/>
                      </a:lnTo>
                      <a:lnTo>
                        <a:pt x="752" y="1971"/>
                      </a:lnTo>
                      <a:lnTo>
                        <a:pt x="756" y="1971"/>
                      </a:lnTo>
                      <a:lnTo>
                        <a:pt x="754" y="1973"/>
                      </a:lnTo>
                      <a:lnTo>
                        <a:pt x="754" y="1975"/>
                      </a:lnTo>
                      <a:lnTo>
                        <a:pt x="756" y="1975"/>
                      </a:lnTo>
                      <a:lnTo>
                        <a:pt x="756" y="1975"/>
                      </a:lnTo>
                      <a:lnTo>
                        <a:pt x="756" y="1979"/>
                      </a:lnTo>
                      <a:lnTo>
                        <a:pt x="760" y="1990"/>
                      </a:lnTo>
                      <a:lnTo>
                        <a:pt x="763" y="1996"/>
                      </a:lnTo>
                      <a:lnTo>
                        <a:pt x="765" y="2006"/>
                      </a:lnTo>
                      <a:lnTo>
                        <a:pt x="769" y="2013"/>
                      </a:lnTo>
                      <a:lnTo>
                        <a:pt x="765" y="2013"/>
                      </a:lnTo>
                      <a:lnTo>
                        <a:pt x="763" y="2019"/>
                      </a:lnTo>
                      <a:lnTo>
                        <a:pt x="773" y="2036"/>
                      </a:lnTo>
                      <a:lnTo>
                        <a:pt x="777" y="2048"/>
                      </a:lnTo>
                      <a:lnTo>
                        <a:pt x="779" y="2046"/>
                      </a:lnTo>
                      <a:lnTo>
                        <a:pt x="783" y="2052"/>
                      </a:lnTo>
                      <a:lnTo>
                        <a:pt x="781" y="2053"/>
                      </a:lnTo>
                      <a:lnTo>
                        <a:pt x="788" y="2063"/>
                      </a:lnTo>
                      <a:lnTo>
                        <a:pt x="792" y="2071"/>
                      </a:lnTo>
                      <a:lnTo>
                        <a:pt x="806" y="2082"/>
                      </a:lnTo>
                      <a:lnTo>
                        <a:pt x="813" y="2088"/>
                      </a:lnTo>
                      <a:lnTo>
                        <a:pt x="813" y="2092"/>
                      </a:lnTo>
                      <a:lnTo>
                        <a:pt x="808" y="2100"/>
                      </a:lnTo>
                      <a:lnTo>
                        <a:pt x="798" y="2101"/>
                      </a:lnTo>
                      <a:lnTo>
                        <a:pt x="794" y="2107"/>
                      </a:lnTo>
                      <a:lnTo>
                        <a:pt x="762" y="2215"/>
                      </a:lnTo>
                      <a:lnTo>
                        <a:pt x="763" y="2220"/>
                      </a:lnTo>
                      <a:lnTo>
                        <a:pt x="769" y="2230"/>
                      </a:lnTo>
                      <a:lnTo>
                        <a:pt x="775" y="2243"/>
                      </a:lnTo>
                      <a:lnTo>
                        <a:pt x="775" y="2245"/>
                      </a:lnTo>
                      <a:lnTo>
                        <a:pt x="775" y="2247"/>
                      </a:lnTo>
                      <a:lnTo>
                        <a:pt x="773" y="2249"/>
                      </a:lnTo>
                      <a:lnTo>
                        <a:pt x="762" y="2251"/>
                      </a:lnTo>
                      <a:lnTo>
                        <a:pt x="756" y="2253"/>
                      </a:lnTo>
                      <a:lnTo>
                        <a:pt x="748" y="2276"/>
                      </a:lnTo>
                      <a:lnTo>
                        <a:pt x="735" y="2301"/>
                      </a:lnTo>
                      <a:lnTo>
                        <a:pt x="725" y="2326"/>
                      </a:lnTo>
                      <a:lnTo>
                        <a:pt x="719" y="2339"/>
                      </a:lnTo>
                      <a:lnTo>
                        <a:pt x="717" y="2345"/>
                      </a:lnTo>
                      <a:lnTo>
                        <a:pt x="714" y="2351"/>
                      </a:lnTo>
                      <a:lnTo>
                        <a:pt x="712" y="2357"/>
                      </a:lnTo>
                      <a:lnTo>
                        <a:pt x="710" y="2360"/>
                      </a:lnTo>
                      <a:lnTo>
                        <a:pt x="708" y="2366"/>
                      </a:lnTo>
                      <a:lnTo>
                        <a:pt x="706" y="2366"/>
                      </a:lnTo>
                      <a:lnTo>
                        <a:pt x="706" y="2370"/>
                      </a:lnTo>
                      <a:lnTo>
                        <a:pt x="706" y="2372"/>
                      </a:lnTo>
                      <a:lnTo>
                        <a:pt x="706" y="2372"/>
                      </a:lnTo>
                      <a:lnTo>
                        <a:pt x="696" y="2389"/>
                      </a:lnTo>
                      <a:lnTo>
                        <a:pt x="702" y="2401"/>
                      </a:lnTo>
                      <a:lnTo>
                        <a:pt x="704" y="2399"/>
                      </a:lnTo>
                      <a:lnTo>
                        <a:pt x="727" y="2418"/>
                      </a:lnTo>
                      <a:lnTo>
                        <a:pt x="740" y="2424"/>
                      </a:lnTo>
                      <a:lnTo>
                        <a:pt x="746" y="2430"/>
                      </a:lnTo>
                      <a:lnTo>
                        <a:pt x="742" y="2439"/>
                      </a:lnTo>
                      <a:lnTo>
                        <a:pt x="729" y="2445"/>
                      </a:lnTo>
                      <a:lnTo>
                        <a:pt x="710" y="2458"/>
                      </a:lnTo>
                      <a:lnTo>
                        <a:pt x="698" y="2464"/>
                      </a:lnTo>
                      <a:lnTo>
                        <a:pt x="696" y="2472"/>
                      </a:lnTo>
                      <a:lnTo>
                        <a:pt x="700" y="2474"/>
                      </a:lnTo>
                      <a:lnTo>
                        <a:pt x="702" y="2478"/>
                      </a:lnTo>
                      <a:lnTo>
                        <a:pt x="696" y="2483"/>
                      </a:lnTo>
                      <a:lnTo>
                        <a:pt x="696" y="2485"/>
                      </a:lnTo>
                      <a:lnTo>
                        <a:pt x="698" y="2489"/>
                      </a:lnTo>
                      <a:lnTo>
                        <a:pt x="704" y="2491"/>
                      </a:lnTo>
                      <a:lnTo>
                        <a:pt x="708" y="2497"/>
                      </a:lnTo>
                      <a:lnTo>
                        <a:pt x="712" y="2510"/>
                      </a:lnTo>
                      <a:lnTo>
                        <a:pt x="723" y="2520"/>
                      </a:lnTo>
                      <a:lnTo>
                        <a:pt x="723" y="2524"/>
                      </a:lnTo>
                      <a:lnTo>
                        <a:pt x="725" y="2533"/>
                      </a:lnTo>
                      <a:lnTo>
                        <a:pt x="729" y="2541"/>
                      </a:lnTo>
                      <a:lnTo>
                        <a:pt x="731" y="2554"/>
                      </a:lnTo>
                      <a:lnTo>
                        <a:pt x="729" y="2568"/>
                      </a:lnTo>
                      <a:lnTo>
                        <a:pt x="731" y="2572"/>
                      </a:lnTo>
                      <a:lnTo>
                        <a:pt x="735" y="2572"/>
                      </a:lnTo>
                      <a:lnTo>
                        <a:pt x="739" y="2568"/>
                      </a:lnTo>
                      <a:lnTo>
                        <a:pt x="740" y="2568"/>
                      </a:lnTo>
                      <a:lnTo>
                        <a:pt x="746" y="2570"/>
                      </a:lnTo>
                      <a:lnTo>
                        <a:pt x="750" y="2577"/>
                      </a:lnTo>
                      <a:lnTo>
                        <a:pt x="748" y="2581"/>
                      </a:lnTo>
                      <a:lnTo>
                        <a:pt x="742" y="2585"/>
                      </a:lnTo>
                      <a:lnTo>
                        <a:pt x="746" y="2591"/>
                      </a:lnTo>
                      <a:lnTo>
                        <a:pt x="750" y="2597"/>
                      </a:lnTo>
                      <a:lnTo>
                        <a:pt x="752" y="2598"/>
                      </a:lnTo>
                      <a:lnTo>
                        <a:pt x="748" y="2604"/>
                      </a:lnTo>
                      <a:lnTo>
                        <a:pt x="744" y="2606"/>
                      </a:lnTo>
                      <a:lnTo>
                        <a:pt x="746" y="2614"/>
                      </a:lnTo>
                      <a:lnTo>
                        <a:pt x="750" y="2616"/>
                      </a:lnTo>
                      <a:lnTo>
                        <a:pt x="758" y="2621"/>
                      </a:lnTo>
                      <a:lnTo>
                        <a:pt x="760" y="2625"/>
                      </a:lnTo>
                      <a:lnTo>
                        <a:pt x="758" y="2646"/>
                      </a:lnTo>
                      <a:lnTo>
                        <a:pt x="756" y="2650"/>
                      </a:lnTo>
                      <a:lnTo>
                        <a:pt x="756" y="2662"/>
                      </a:lnTo>
                      <a:lnTo>
                        <a:pt x="754" y="2675"/>
                      </a:lnTo>
                      <a:lnTo>
                        <a:pt x="746" y="2681"/>
                      </a:lnTo>
                      <a:lnTo>
                        <a:pt x="746" y="2683"/>
                      </a:lnTo>
                      <a:lnTo>
                        <a:pt x="746" y="2687"/>
                      </a:lnTo>
                      <a:lnTo>
                        <a:pt x="754" y="2691"/>
                      </a:lnTo>
                      <a:lnTo>
                        <a:pt x="756" y="2694"/>
                      </a:lnTo>
                      <a:lnTo>
                        <a:pt x="750" y="2704"/>
                      </a:lnTo>
                      <a:lnTo>
                        <a:pt x="742" y="2717"/>
                      </a:lnTo>
                      <a:lnTo>
                        <a:pt x="740" y="2727"/>
                      </a:lnTo>
                      <a:lnTo>
                        <a:pt x="740" y="2733"/>
                      </a:lnTo>
                      <a:lnTo>
                        <a:pt x="746" y="2744"/>
                      </a:lnTo>
                      <a:lnTo>
                        <a:pt x="746" y="2752"/>
                      </a:lnTo>
                      <a:lnTo>
                        <a:pt x="750" y="2760"/>
                      </a:lnTo>
                      <a:lnTo>
                        <a:pt x="748" y="2767"/>
                      </a:lnTo>
                      <a:lnTo>
                        <a:pt x="748" y="2779"/>
                      </a:lnTo>
                      <a:lnTo>
                        <a:pt x="742" y="2794"/>
                      </a:lnTo>
                      <a:lnTo>
                        <a:pt x="742" y="2800"/>
                      </a:lnTo>
                      <a:lnTo>
                        <a:pt x="746" y="2802"/>
                      </a:lnTo>
                      <a:lnTo>
                        <a:pt x="746" y="2806"/>
                      </a:lnTo>
                      <a:lnTo>
                        <a:pt x="739" y="2825"/>
                      </a:lnTo>
                      <a:lnTo>
                        <a:pt x="740" y="2827"/>
                      </a:lnTo>
                      <a:lnTo>
                        <a:pt x="744" y="2825"/>
                      </a:lnTo>
                      <a:lnTo>
                        <a:pt x="746" y="2836"/>
                      </a:lnTo>
                      <a:lnTo>
                        <a:pt x="754" y="2842"/>
                      </a:lnTo>
                      <a:lnTo>
                        <a:pt x="762" y="2840"/>
                      </a:lnTo>
                      <a:lnTo>
                        <a:pt x="767" y="2844"/>
                      </a:lnTo>
                      <a:lnTo>
                        <a:pt x="777" y="2844"/>
                      </a:lnTo>
                      <a:lnTo>
                        <a:pt x="779" y="2844"/>
                      </a:lnTo>
                      <a:lnTo>
                        <a:pt x="781" y="2838"/>
                      </a:lnTo>
                      <a:lnTo>
                        <a:pt x="790" y="2838"/>
                      </a:lnTo>
                      <a:lnTo>
                        <a:pt x="794" y="2840"/>
                      </a:lnTo>
                      <a:lnTo>
                        <a:pt x="800" y="2840"/>
                      </a:lnTo>
                      <a:lnTo>
                        <a:pt x="802" y="2844"/>
                      </a:lnTo>
                      <a:lnTo>
                        <a:pt x="806" y="2852"/>
                      </a:lnTo>
                      <a:lnTo>
                        <a:pt x="808" y="2854"/>
                      </a:lnTo>
                      <a:lnTo>
                        <a:pt x="811" y="2854"/>
                      </a:lnTo>
                      <a:lnTo>
                        <a:pt x="819" y="2850"/>
                      </a:lnTo>
                      <a:lnTo>
                        <a:pt x="827" y="2854"/>
                      </a:lnTo>
                      <a:lnTo>
                        <a:pt x="836" y="2854"/>
                      </a:lnTo>
                      <a:lnTo>
                        <a:pt x="852" y="2863"/>
                      </a:lnTo>
                      <a:lnTo>
                        <a:pt x="859" y="2861"/>
                      </a:lnTo>
                      <a:lnTo>
                        <a:pt x="869" y="2863"/>
                      </a:lnTo>
                      <a:lnTo>
                        <a:pt x="877" y="2857"/>
                      </a:lnTo>
                      <a:lnTo>
                        <a:pt x="881" y="2857"/>
                      </a:lnTo>
                      <a:lnTo>
                        <a:pt x="884" y="2861"/>
                      </a:lnTo>
                      <a:lnTo>
                        <a:pt x="888" y="2861"/>
                      </a:lnTo>
                      <a:lnTo>
                        <a:pt x="894" y="2865"/>
                      </a:lnTo>
                      <a:lnTo>
                        <a:pt x="900" y="2865"/>
                      </a:lnTo>
                      <a:lnTo>
                        <a:pt x="904" y="2861"/>
                      </a:lnTo>
                      <a:lnTo>
                        <a:pt x="909" y="2863"/>
                      </a:lnTo>
                      <a:lnTo>
                        <a:pt x="917" y="2859"/>
                      </a:lnTo>
                      <a:lnTo>
                        <a:pt x="923" y="2863"/>
                      </a:lnTo>
                      <a:lnTo>
                        <a:pt x="928" y="2863"/>
                      </a:lnTo>
                      <a:lnTo>
                        <a:pt x="934" y="2867"/>
                      </a:lnTo>
                      <a:lnTo>
                        <a:pt x="940" y="2873"/>
                      </a:lnTo>
                      <a:lnTo>
                        <a:pt x="942" y="2873"/>
                      </a:lnTo>
                      <a:lnTo>
                        <a:pt x="946" y="2869"/>
                      </a:lnTo>
                      <a:lnTo>
                        <a:pt x="948" y="2863"/>
                      </a:lnTo>
                      <a:lnTo>
                        <a:pt x="950" y="2861"/>
                      </a:lnTo>
                      <a:lnTo>
                        <a:pt x="963" y="2863"/>
                      </a:lnTo>
                      <a:lnTo>
                        <a:pt x="971" y="2857"/>
                      </a:lnTo>
                      <a:lnTo>
                        <a:pt x="976" y="2861"/>
                      </a:lnTo>
                      <a:lnTo>
                        <a:pt x="980" y="2861"/>
                      </a:lnTo>
                      <a:lnTo>
                        <a:pt x="990" y="2852"/>
                      </a:lnTo>
                      <a:lnTo>
                        <a:pt x="999" y="2833"/>
                      </a:lnTo>
                      <a:lnTo>
                        <a:pt x="1007" y="2831"/>
                      </a:lnTo>
                      <a:lnTo>
                        <a:pt x="1019" y="2833"/>
                      </a:lnTo>
                      <a:lnTo>
                        <a:pt x="1032" y="2852"/>
                      </a:lnTo>
                      <a:lnTo>
                        <a:pt x="1038" y="2856"/>
                      </a:lnTo>
                      <a:lnTo>
                        <a:pt x="1047" y="2857"/>
                      </a:lnTo>
                      <a:lnTo>
                        <a:pt x="1055" y="2865"/>
                      </a:lnTo>
                      <a:lnTo>
                        <a:pt x="1063" y="2867"/>
                      </a:lnTo>
                      <a:lnTo>
                        <a:pt x="1069" y="2865"/>
                      </a:lnTo>
                      <a:lnTo>
                        <a:pt x="1076" y="2869"/>
                      </a:lnTo>
                      <a:lnTo>
                        <a:pt x="1082" y="2865"/>
                      </a:lnTo>
                      <a:lnTo>
                        <a:pt x="1088" y="2867"/>
                      </a:lnTo>
                      <a:lnTo>
                        <a:pt x="1092" y="2865"/>
                      </a:lnTo>
                      <a:lnTo>
                        <a:pt x="1099" y="2867"/>
                      </a:lnTo>
                      <a:lnTo>
                        <a:pt x="1107" y="2863"/>
                      </a:lnTo>
                      <a:lnTo>
                        <a:pt x="1111" y="2865"/>
                      </a:lnTo>
                      <a:lnTo>
                        <a:pt x="1117" y="2869"/>
                      </a:lnTo>
                      <a:lnTo>
                        <a:pt x="1124" y="2877"/>
                      </a:lnTo>
                      <a:lnTo>
                        <a:pt x="1130" y="2886"/>
                      </a:lnTo>
                      <a:lnTo>
                        <a:pt x="1136" y="2900"/>
                      </a:lnTo>
                      <a:lnTo>
                        <a:pt x="1138" y="2911"/>
                      </a:lnTo>
                      <a:lnTo>
                        <a:pt x="1141" y="2923"/>
                      </a:lnTo>
                      <a:lnTo>
                        <a:pt x="1145" y="2928"/>
                      </a:lnTo>
                      <a:lnTo>
                        <a:pt x="1159" y="2940"/>
                      </a:lnTo>
                      <a:lnTo>
                        <a:pt x="1163" y="2944"/>
                      </a:lnTo>
                      <a:lnTo>
                        <a:pt x="1163" y="2953"/>
                      </a:lnTo>
                      <a:lnTo>
                        <a:pt x="1163" y="2959"/>
                      </a:lnTo>
                      <a:lnTo>
                        <a:pt x="1157" y="2971"/>
                      </a:lnTo>
                      <a:lnTo>
                        <a:pt x="1155" y="2980"/>
                      </a:lnTo>
                      <a:lnTo>
                        <a:pt x="1157" y="2988"/>
                      </a:lnTo>
                      <a:lnTo>
                        <a:pt x="1159" y="3011"/>
                      </a:lnTo>
                      <a:lnTo>
                        <a:pt x="1165" y="3021"/>
                      </a:lnTo>
                      <a:lnTo>
                        <a:pt x="1165" y="3028"/>
                      </a:lnTo>
                      <a:lnTo>
                        <a:pt x="1166" y="3030"/>
                      </a:lnTo>
                      <a:lnTo>
                        <a:pt x="1176" y="3038"/>
                      </a:lnTo>
                      <a:lnTo>
                        <a:pt x="1178" y="3042"/>
                      </a:lnTo>
                      <a:lnTo>
                        <a:pt x="1178" y="3049"/>
                      </a:lnTo>
                      <a:lnTo>
                        <a:pt x="1174" y="3067"/>
                      </a:lnTo>
                      <a:lnTo>
                        <a:pt x="1180" y="3072"/>
                      </a:lnTo>
                      <a:lnTo>
                        <a:pt x="1182" y="3076"/>
                      </a:lnTo>
                      <a:lnTo>
                        <a:pt x="1180" y="3088"/>
                      </a:lnTo>
                      <a:lnTo>
                        <a:pt x="1174" y="3099"/>
                      </a:lnTo>
                      <a:lnTo>
                        <a:pt x="1174" y="3105"/>
                      </a:lnTo>
                      <a:lnTo>
                        <a:pt x="1180" y="3115"/>
                      </a:lnTo>
                      <a:lnTo>
                        <a:pt x="1180" y="3124"/>
                      </a:lnTo>
                      <a:lnTo>
                        <a:pt x="1191" y="3138"/>
                      </a:lnTo>
                      <a:lnTo>
                        <a:pt x="1193" y="3149"/>
                      </a:lnTo>
                      <a:lnTo>
                        <a:pt x="1195" y="3182"/>
                      </a:lnTo>
                      <a:lnTo>
                        <a:pt x="1197" y="3189"/>
                      </a:lnTo>
                      <a:lnTo>
                        <a:pt x="1205" y="3193"/>
                      </a:lnTo>
                      <a:lnTo>
                        <a:pt x="1211" y="3195"/>
                      </a:lnTo>
                      <a:lnTo>
                        <a:pt x="1218" y="3193"/>
                      </a:lnTo>
                      <a:lnTo>
                        <a:pt x="1226" y="3199"/>
                      </a:lnTo>
                      <a:lnTo>
                        <a:pt x="1230" y="3201"/>
                      </a:lnTo>
                      <a:lnTo>
                        <a:pt x="1249" y="3195"/>
                      </a:lnTo>
                      <a:lnTo>
                        <a:pt x="1260" y="3195"/>
                      </a:lnTo>
                      <a:lnTo>
                        <a:pt x="1270" y="3197"/>
                      </a:lnTo>
                      <a:lnTo>
                        <a:pt x="1274" y="3197"/>
                      </a:lnTo>
                      <a:lnTo>
                        <a:pt x="1278" y="3195"/>
                      </a:lnTo>
                      <a:lnTo>
                        <a:pt x="1283" y="3189"/>
                      </a:lnTo>
                      <a:lnTo>
                        <a:pt x="1287" y="3186"/>
                      </a:lnTo>
                      <a:lnTo>
                        <a:pt x="1295" y="3184"/>
                      </a:lnTo>
                      <a:lnTo>
                        <a:pt x="1295" y="3180"/>
                      </a:lnTo>
                      <a:lnTo>
                        <a:pt x="1303" y="3176"/>
                      </a:lnTo>
                      <a:lnTo>
                        <a:pt x="1316" y="3172"/>
                      </a:lnTo>
                      <a:lnTo>
                        <a:pt x="1328" y="3170"/>
                      </a:lnTo>
                      <a:lnTo>
                        <a:pt x="1330" y="3168"/>
                      </a:lnTo>
                      <a:lnTo>
                        <a:pt x="1333" y="3163"/>
                      </a:lnTo>
                      <a:lnTo>
                        <a:pt x="1343" y="3163"/>
                      </a:lnTo>
                      <a:lnTo>
                        <a:pt x="1356" y="3172"/>
                      </a:lnTo>
                      <a:lnTo>
                        <a:pt x="1362" y="3172"/>
                      </a:lnTo>
                      <a:lnTo>
                        <a:pt x="1364" y="3172"/>
                      </a:lnTo>
                      <a:lnTo>
                        <a:pt x="1379" y="3186"/>
                      </a:lnTo>
                      <a:lnTo>
                        <a:pt x="1399" y="3209"/>
                      </a:lnTo>
                      <a:lnTo>
                        <a:pt x="1406" y="3207"/>
                      </a:lnTo>
                      <a:lnTo>
                        <a:pt x="1416" y="3193"/>
                      </a:lnTo>
                      <a:lnTo>
                        <a:pt x="1427" y="3180"/>
                      </a:lnTo>
                      <a:lnTo>
                        <a:pt x="1429" y="3172"/>
                      </a:lnTo>
                      <a:lnTo>
                        <a:pt x="1431" y="3157"/>
                      </a:lnTo>
                      <a:lnTo>
                        <a:pt x="1437" y="3145"/>
                      </a:lnTo>
                      <a:lnTo>
                        <a:pt x="1437" y="3130"/>
                      </a:lnTo>
                      <a:lnTo>
                        <a:pt x="1443" y="3118"/>
                      </a:lnTo>
                      <a:lnTo>
                        <a:pt x="1447" y="3107"/>
                      </a:lnTo>
                      <a:lnTo>
                        <a:pt x="1452" y="3097"/>
                      </a:lnTo>
                      <a:lnTo>
                        <a:pt x="1456" y="3092"/>
                      </a:lnTo>
                      <a:lnTo>
                        <a:pt x="1470" y="3074"/>
                      </a:lnTo>
                      <a:lnTo>
                        <a:pt x="1475" y="3070"/>
                      </a:lnTo>
                      <a:lnTo>
                        <a:pt x="1479" y="3069"/>
                      </a:lnTo>
                      <a:lnTo>
                        <a:pt x="1485" y="3067"/>
                      </a:lnTo>
                      <a:lnTo>
                        <a:pt x="1493" y="3061"/>
                      </a:lnTo>
                      <a:lnTo>
                        <a:pt x="1500" y="3053"/>
                      </a:lnTo>
                      <a:lnTo>
                        <a:pt x="1510" y="3036"/>
                      </a:lnTo>
                      <a:lnTo>
                        <a:pt x="1516" y="3007"/>
                      </a:lnTo>
                      <a:lnTo>
                        <a:pt x="1519" y="3001"/>
                      </a:lnTo>
                      <a:lnTo>
                        <a:pt x="1521" y="2990"/>
                      </a:lnTo>
                      <a:lnTo>
                        <a:pt x="1525" y="2986"/>
                      </a:lnTo>
                      <a:lnTo>
                        <a:pt x="1531" y="2982"/>
                      </a:lnTo>
                      <a:lnTo>
                        <a:pt x="1539" y="2975"/>
                      </a:lnTo>
                      <a:lnTo>
                        <a:pt x="1566" y="2961"/>
                      </a:lnTo>
                      <a:lnTo>
                        <a:pt x="1577" y="2957"/>
                      </a:lnTo>
                      <a:lnTo>
                        <a:pt x="1579" y="2955"/>
                      </a:lnTo>
                      <a:lnTo>
                        <a:pt x="1594" y="2950"/>
                      </a:lnTo>
                      <a:lnTo>
                        <a:pt x="1600" y="2946"/>
                      </a:lnTo>
                      <a:lnTo>
                        <a:pt x="1610" y="2930"/>
                      </a:lnTo>
                      <a:lnTo>
                        <a:pt x="1610" y="2927"/>
                      </a:lnTo>
                      <a:lnTo>
                        <a:pt x="1615" y="2921"/>
                      </a:lnTo>
                      <a:lnTo>
                        <a:pt x="1642" y="2904"/>
                      </a:lnTo>
                      <a:lnTo>
                        <a:pt x="1656" y="2900"/>
                      </a:lnTo>
                      <a:lnTo>
                        <a:pt x="1673" y="2884"/>
                      </a:lnTo>
                      <a:lnTo>
                        <a:pt x="1688" y="2873"/>
                      </a:lnTo>
                      <a:lnTo>
                        <a:pt x="1704" y="2865"/>
                      </a:lnTo>
                      <a:lnTo>
                        <a:pt x="1717" y="2857"/>
                      </a:lnTo>
                      <a:lnTo>
                        <a:pt x="1727" y="2846"/>
                      </a:lnTo>
                      <a:lnTo>
                        <a:pt x="1738" y="2840"/>
                      </a:lnTo>
                      <a:lnTo>
                        <a:pt x="1746" y="2829"/>
                      </a:lnTo>
                      <a:lnTo>
                        <a:pt x="1754" y="2804"/>
                      </a:lnTo>
                      <a:lnTo>
                        <a:pt x="1779" y="2775"/>
                      </a:lnTo>
                      <a:lnTo>
                        <a:pt x="1798" y="2762"/>
                      </a:lnTo>
                      <a:lnTo>
                        <a:pt x="1792" y="2727"/>
                      </a:lnTo>
                      <a:lnTo>
                        <a:pt x="1794" y="2721"/>
                      </a:lnTo>
                      <a:lnTo>
                        <a:pt x="1807" y="2721"/>
                      </a:lnTo>
                      <a:lnTo>
                        <a:pt x="1817" y="2717"/>
                      </a:lnTo>
                      <a:lnTo>
                        <a:pt x="1836" y="2689"/>
                      </a:lnTo>
                      <a:lnTo>
                        <a:pt x="1838" y="2652"/>
                      </a:lnTo>
                      <a:lnTo>
                        <a:pt x="1853" y="2635"/>
                      </a:lnTo>
                      <a:lnTo>
                        <a:pt x="1859" y="2621"/>
                      </a:lnTo>
                      <a:lnTo>
                        <a:pt x="1871" y="2616"/>
                      </a:lnTo>
                      <a:lnTo>
                        <a:pt x="1874" y="2612"/>
                      </a:lnTo>
                      <a:lnTo>
                        <a:pt x="1876" y="2604"/>
                      </a:lnTo>
                      <a:lnTo>
                        <a:pt x="1878" y="2579"/>
                      </a:lnTo>
                      <a:lnTo>
                        <a:pt x="1878" y="2568"/>
                      </a:lnTo>
                      <a:lnTo>
                        <a:pt x="1880" y="2562"/>
                      </a:lnTo>
                      <a:lnTo>
                        <a:pt x="1882" y="2558"/>
                      </a:lnTo>
                      <a:lnTo>
                        <a:pt x="1896" y="2545"/>
                      </a:lnTo>
                      <a:lnTo>
                        <a:pt x="1898" y="2543"/>
                      </a:lnTo>
                      <a:lnTo>
                        <a:pt x="1901" y="2541"/>
                      </a:lnTo>
                      <a:lnTo>
                        <a:pt x="1905" y="2529"/>
                      </a:lnTo>
                      <a:lnTo>
                        <a:pt x="1919" y="2524"/>
                      </a:lnTo>
                      <a:lnTo>
                        <a:pt x="1924" y="2512"/>
                      </a:lnTo>
                      <a:lnTo>
                        <a:pt x="1938" y="2497"/>
                      </a:lnTo>
                      <a:lnTo>
                        <a:pt x="1940" y="2495"/>
                      </a:lnTo>
                      <a:lnTo>
                        <a:pt x="1949" y="2493"/>
                      </a:lnTo>
                      <a:lnTo>
                        <a:pt x="1963" y="2491"/>
                      </a:lnTo>
                      <a:lnTo>
                        <a:pt x="1974" y="2485"/>
                      </a:lnTo>
                      <a:lnTo>
                        <a:pt x="1982" y="2476"/>
                      </a:lnTo>
                      <a:lnTo>
                        <a:pt x="1988" y="2464"/>
                      </a:lnTo>
                      <a:lnTo>
                        <a:pt x="1993" y="2451"/>
                      </a:lnTo>
                      <a:lnTo>
                        <a:pt x="1993" y="2449"/>
                      </a:lnTo>
                      <a:lnTo>
                        <a:pt x="1997" y="2426"/>
                      </a:lnTo>
                      <a:lnTo>
                        <a:pt x="1997" y="2403"/>
                      </a:lnTo>
                      <a:lnTo>
                        <a:pt x="1997" y="2399"/>
                      </a:lnTo>
                      <a:lnTo>
                        <a:pt x="1995" y="2387"/>
                      </a:lnTo>
                      <a:lnTo>
                        <a:pt x="1992" y="2382"/>
                      </a:lnTo>
                      <a:lnTo>
                        <a:pt x="1993" y="2372"/>
                      </a:lnTo>
                      <a:lnTo>
                        <a:pt x="1997" y="2364"/>
                      </a:lnTo>
                      <a:lnTo>
                        <a:pt x="2005" y="2353"/>
                      </a:lnTo>
                      <a:lnTo>
                        <a:pt x="2013" y="2349"/>
                      </a:lnTo>
                      <a:lnTo>
                        <a:pt x="2013" y="2347"/>
                      </a:lnTo>
                      <a:lnTo>
                        <a:pt x="2013" y="2341"/>
                      </a:lnTo>
                      <a:lnTo>
                        <a:pt x="2011" y="2336"/>
                      </a:lnTo>
                      <a:lnTo>
                        <a:pt x="2013" y="2330"/>
                      </a:lnTo>
                      <a:lnTo>
                        <a:pt x="2013" y="2330"/>
                      </a:lnTo>
                      <a:lnTo>
                        <a:pt x="2013" y="233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3200">
                    <a:solidFill>
                      <a:prstClr val="black"/>
                    </a:solidFill>
                    <a:latin typeface="Arial" panose="020B0604020202020204"/>
                  </a:endParaRPr>
                </a:p>
              </p:txBody>
            </p:sp>
            <p:grpSp>
              <p:nvGrpSpPr>
                <p:cNvPr id="19" name="Group 226"/>
                <p:cNvGrpSpPr/>
                <p:nvPr/>
              </p:nvGrpSpPr>
              <p:grpSpPr>
                <a:xfrm>
                  <a:off x="5316538" y="3486150"/>
                  <a:ext cx="3935413" cy="3365500"/>
                  <a:chOff x="5316538" y="3486150"/>
                  <a:chExt cx="3935413" cy="3365500"/>
                </a:xfrm>
                <a:grpFill/>
              </p:grpSpPr>
              <p:sp>
                <p:nvSpPr>
                  <p:cNvPr id="31" name="Freeform 86"/>
                  <p:cNvSpPr>
                    <a:spLocks/>
                  </p:cNvSpPr>
                  <p:nvPr/>
                </p:nvSpPr>
                <p:spPr bwMode="auto">
                  <a:xfrm>
                    <a:off x="5316538" y="3486150"/>
                    <a:ext cx="3935413" cy="3365500"/>
                  </a:xfrm>
                  <a:custGeom>
                    <a:avLst/>
                    <a:gdLst/>
                    <a:ahLst/>
                    <a:cxnLst>
                      <a:cxn ang="0">
                        <a:pos x="2443" y="1100"/>
                      </a:cxn>
                      <a:cxn ang="0">
                        <a:pos x="2356" y="1195"/>
                      </a:cxn>
                      <a:cxn ang="0">
                        <a:pos x="2270" y="1326"/>
                      </a:cxn>
                      <a:cxn ang="0">
                        <a:pos x="2185" y="1437"/>
                      </a:cxn>
                      <a:cxn ang="0">
                        <a:pos x="2091" y="1479"/>
                      </a:cxn>
                      <a:cxn ang="0">
                        <a:pos x="2178" y="1499"/>
                      </a:cxn>
                      <a:cxn ang="0">
                        <a:pos x="2049" y="1602"/>
                      </a:cxn>
                      <a:cxn ang="0">
                        <a:pos x="2009" y="1689"/>
                      </a:cxn>
                      <a:cxn ang="0">
                        <a:pos x="1969" y="1719"/>
                      </a:cxn>
                      <a:cxn ang="0">
                        <a:pos x="1786" y="1691"/>
                      </a:cxn>
                      <a:cxn ang="0">
                        <a:pos x="1759" y="1675"/>
                      </a:cxn>
                      <a:cxn ang="0">
                        <a:pos x="1627" y="1727"/>
                      </a:cxn>
                      <a:cxn ang="0">
                        <a:pos x="1660" y="1696"/>
                      </a:cxn>
                      <a:cxn ang="0">
                        <a:pos x="1581" y="1702"/>
                      </a:cxn>
                      <a:cxn ang="0">
                        <a:pos x="1508" y="1708"/>
                      </a:cxn>
                      <a:cxn ang="0">
                        <a:pos x="1527" y="1748"/>
                      </a:cxn>
                      <a:cxn ang="0">
                        <a:pos x="1477" y="1769"/>
                      </a:cxn>
                      <a:cxn ang="0">
                        <a:pos x="1424" y="1792"/>
                      </a:cxn>
                      <a:cxn ang="0">
                        <a:pos x="1372" y="1840"/>
                      </a:cxn>
                      <a:cxn ang="0">
                        <a:pos x="1234" y="1861"/>
                      </a:cxn>
                      <a:cxn ang="0">
                        <a:pos x="1195" y="1884"/>
                      </a:cxn>
                      <a:cxn ang="0">
                        <a:pos x="1007" y="2001"/>
                      </a:cxn>
                      <a:cxn ang="0">
                        <a:pos x="917" y="2051"/>
                      </a:cxn>
                      <a:cxn ang="0">
                        <a:pos x="909" y="2095"/>
                      </a:cxn>
                      <a:cxn ang="0">
                        <a:pos x="838" y="2069"/>
                      </a:cxn>
                      <a:cxn ang="0">
                        <a:pos x="790" y="1998"/>
                      </a:cxn>
                      <a:cxn ang="0">
                        <a:pos x="679" y="1946"/>
                      </a:cxn>
                      <a:cxn ang="0">
                        <a:pos x="631" y="1821"/>
                      </a:cxn>
                      <a:cxn ang="0">
                        <a:pos x="608" y="1685"/>
                      </a:cxn>
                      <a:cxn ang="0">
                        <a:pos x="458" y="1641"/>
                      </a:cxn>
                      <a:cxn ang="0">
                        <a:pos x="349" y="1608"/>
                      </a:cxn>
                      <a:cxn ang="0">
                        <a:pos x="201" y="1566"/>
                      </a:cxn>
                      <a:cxn ang="0">
                        <a:pos x="111" y="1583"/>
                      </a:cxn>
                      <a:cxn ang="0">
                        <a:pos x="9" y="1566"/>
                      </a:cxn>
                      <a:cxn ang="0">
                        <a:pos x="211" y="1362"/>
                      </a:cxn>
                      <a:cxn ang="0">
                        <a:pos x="313" y="1169"/>
                      </a:cxn>
                      <a:cxn ang="0">
                        <a:pos x="386" y="1027"/>
                      </a:cxn>
                      <a:cxn ang="0">
                        <a:pos x="443" y="923"/>
                      </a:cxn>
                      <a:cxn ang="0">
                        <a:pos x="531" y="825"/>
                      </a:cxn>
                      <a:cxn ang="0">
                        <a:pos x="648" y="802"/>
                      </a:cxn>
                      <a:cxn ang="0">
                        <a:pos x="723" y="791"/>
                      </a:cxn>
                      <a:cxn ang="0">
                        <a:pos x="850" y="768"/>
                      </a:cxn>
                      <a:cxn ang="0">
                        <a:pos x="969" y="794"/>
                      </a:cxn>
                      <a:cxn ang="0">
                        <a:pos x="1036" y="748"/>
                      </a:cxn>
                      <a:cxn ang="0">
                        <a:pos x="1090" y="641"/>
                      </a:cxn>
                      <a:cxn ang="0">
                        <a:pos x="1076" y="547"/>
                      </a:cxn>
                      <a:cxn ang="0">
                        <a:pos x="1088" y="445"/>
                      </a:cxn>
                      <a:cxn ang="0">
                        <a:pos x="1119" y="319"/>
                      </a:cxn>
                      <a:cxn ang="0">
                        <a:pos x="1182" y="190"/>
                      </a:cxn>
                      <a:cxn ang="0">
                        <a:pos x="1245" y="146"/>
                      </a:cxn>
                      <a:cxn ang="0">
                        <a:pos x="1332" y="121"/>
                      </a:cxn>
                      <a:cxn ang="0">
                        <a:pos x="1406" y="152"/>
                      </a:cxn>
                      <a:cxn ang="0">
                        <a:pos x="1616" y="21"/>
                      </a:cxn>
                      <a:cxn ang="0">
                        <a:pos x="1771" y="88"/>
                      </a:cxn>
                      <a:cxn ang="0">
                        <a:pos x="1890" y="94"/>
                      </a:cxn>
                      <a:cxn ang="0">
                        <a:pos x="2055" y="186"/>
                      </a:cxn>
                      <a:cxn ang="0">
                        <a:pos x="2235" y="330"/>
                      </a:cxn>
                      <a:cxn ang="0">
                        <a:pos x="2322" y="328"/>
                      </a:cxn>
                      <a:cxn ang="0">
                        <a:pos x="2445" y="374"/>
                      </a:cxn>
                      <a:cxn ang="0">
                        <a:pos x="2414" y="493"/>
                      </a:cxn>
                      <a:cxn ang="0">
                        <a:pos x="2333" y="626"/>
                      </a:cxn>
                      <a:cxn ang="0">
                        <a:pos x="2349" y="664"/>
                      </a:cxn>
                      <a:cxn ang="0">
                        <a:pos x="2385" y="768"/>
                      </a:cxn>
                    </a:cxnLst>
                    <a:rect l="0" t="0" r="r" b="b"/>
                    <a:pathLst>
                      <a:path w="2479" h="2120">
                        <a:moveTo>
                          <a:pt x="2479" y="856"/>
                        </a:moveTo>
                        <a:lnTo>
                          <a:pt x="2479" y="856"/>
                        </a:lnTo>
                        <a:lnTo>
                          <a:pt x="2477" y="860"/>
                        </a:lnTo>
                        <a:lnTo>
                          <a:pt x="2475" y="862"/>
                        </a:lnTo>
                        <a:lnTo>
                          <a:pt x="2468" y="883"/>
                        </a:lnTo>
                        <a:lnTo>
                          <a:pt x="2466" y="904"/>
                        </a:lnTo>
                        <a:lnTo>
                          <a:pt x="2466" y="906"/>
                        </a:lnTo>
                        <a:lnTo>
                          <a:pt x="2464" y="919"/>
                        </a:lnTo>
                        <a:lnTo>
                          <a:pt x="2460" y="940"/>
                        </a:lnTo>
                        <a:lnTo>
                          <a:pt x="2462" y="979"/>
                        </a:lnTo>
                        <a:lnTo>
                          <a:pt x="2458" y="1007"/>
                        </a:lnTo>
                        <a:lnTo>
                          <a:pt x="2462" y="1029"/>
                        </a:lnTo>
                        <a:lnTo>
                          <a:pt x="2464" y="1040"/>
                        </a:lnTo>
                        <a:lnTo>
                          <a:pt x="2464" y="1044"/>
                        </a:lnTo>
                        <a:lnTo>
                          <a:pt x="2448" y="1086"/>
                        </a:lnTo>
                        <a:lnTo>
                          <a:pt x="2443" y="1100"/>
                        </a:lnTo>
                        <a:lnTo>
                          <a:pt x="2439" y="1103"/>
                        </a:lnTo>
                        <a:lnTo>
                          <a:pt x="2439" y="1105"/>
                        </a:lnTo>
                        <a:lnTo>
                          <a:pt x="2429" y="1113"/>
                        </a:lnTo>
                        <a:lnTo>
                          <a:pt x="2406" y="1119"/>
                        </a:lnTo>
                        <a:lnTo>
                          <a:pt x="2402" y="1123"/>
                        </a:lnTo>
                        <a:lnTo>
                          <a:pt x="2395" y="1132"/>
                        </a:lnTo>
                        <a:lnTo>
                          <a:pt x="2385" y="1149"/>
                        </a:lnTo>
                        <a:lnTo>
                          <a:pt x="2381" y="1155"/>
                        </a:lnTo>
                        <a:lnTo>
                          <a:pt x="2379" y="1157"/>
                        </a:lnTo>
                        <a:lnTo>
                          <a:pt x="2379" y="1157"/>
                        </a:lnTo>
                        <a:lnTo>
                          <a:pt x="2374" y="1163"/>
                        </a:lnTo>
                        <a:lnTo>
                          <a:pt x="2370" y="1172"/>
                        </a:lnTo>
                        <a:lnTo>
                          <a:pt x="2364" y="1180"/>
                        </a:lnTo>
                        <a:lnTo>
                          <a:pt x="2358" y="1182"/>
                        </a:lnTo>
                        <a:lnTo>
                          <a:pt x="2354" y="1186"/>
                        </a:lnTo>
                        <a:lnTo>
                          <a:pt x="2356" y="1195"/>
                        </a:lnTo>
                        <a:lnTo>
                          <a:pt x="2354" y="1209"/>
                        </a:lnTo>
                        <a:lnTo>
                          <a:pt x="2352" y="1220"/>
                        </a:lnTo>
                        <a:lnTo>
                          <a:pt x="2345" y="1232"/>
                        </a:lnTo>
                        <a:lnTo>
                          <a:pt x="2343" y="1232"/>
                        </a:lnTo>
                        <a:lnTo>
                          <a:pt x="2341" y="1232"/>
                        </a:lnTo>
                        <a:lnTo>
                          <a:pt x="2339" y="1232"/>
                        </a:lnTo>
                        <a:lnTo>
                          <a:pt x="2339" y="1236"/>
                        </a:lnTo>
                        <a:lnTo>
                          <a:pt x="2339" y="1240"/>
                        </a:lnTo>
                        <a:lnTo>
                          <a:pt x="2335" y="1242"/>
                        </a:lnTo>
                        <a:lnTo>
                          <a:pt x="2327" y="1249"/>
                        </a:lnTo>
                        <a:lnTo>
                          <a:pt x="2306" y="1293"/>
                        </a:lnTo>
                        <a:lnTo>
                          <a:pt x="2304" y="1295"/>
                        </a:lnTo>
                        <a:lnTo>
                          <a:pt x="2301" y="1293"/>
                        </a:lnTo>
                        <a:lnTo>
                          <a:pt x="2297" y="1297"/>
                        </a:lnTo>
                        <a:lnTo>
                          <a:pt x="2293" y="1299"/>
                        </a:lnTo>
                        <a:lnTo>
                          <a:pt x="2270" y="1326"/>
                        </a:lnTo>
                        <a:lnTo>
                          <a:pt x="2264" y="1328"/>
                        </a:lnTo>
                        <a:lnTo>
                          <a:pt x="2262" y="1324"/>
                        </a:lnTo>
                        <a:lnTo>
                          <a:pt x="2258" y="1326"/>
                        </a:lnTo>
                        <a:lnTo>
                          <a:pt x="2239" y="1339"/>
                        </a:lnTo>
                        <a:lnTo>
                          <a:pt x="2232" y="1347"/>
                        </a:lnTo>
                        <a:lnTo>
                          <a:pt x="2226" y="1359"/>
                        </a:lnTo>
                        <a:lnTo>
                          <a:pt x="2226" y="1364"/>
                        </a:lnTo>
                        <a:lnTo>
                          <a:pt x="2220" y="1376"/>
                        </a:lnTo>
                        <a:lnTo>
                          <a:pt x="2212" y="1389"/>
                        </a:lnTo>
                        <a:lnTo>
                          <a:pt x="2203" y="1397"/>
                        </a:lnTo>
                        <a:lnTo>
                          <a:pt x="2199" y="1405"/>
                        </a:lnTo>
                        <a:lnTo>
                          <a:pt x="2197" y="1412"/>
                        </a:lnTo>
                        <a:lnTo>
                          <a:pt x="2189" y="1412"/>
                        </a:lnTo>
                        <a:lnTo>
                          <a:pt x="2197" y="1412"/>
                        </a:lnTo>
                        <a:lnTo>
                          <a:pt x="2191" y="1431"/>
                        </a:lnTo>
                        <a:lnTo>
                          <a:pt x="2185" y="1437"/>
                        </a:lnTo>
                        <a:lnTo>
                          <a:pt x="2184" y="1443"/>
                        </a:lnTo>
                        <a:lnTo>
                          <a:pt x="2176" y="1455"/>
                        </a:lnTo>
                        <a:lnTo>
                          <a:pt x="2174" y="1472"/>
                        </a:lnTo>
                        <a:lnTo>
                          <a:pt x="2170" y="1478"/>
                        </a:lnTo>
                        <a:lnTo>
                          <a:pt x="2162" y="1483"/>
                        </a:lnTo>
                        <a:lnTo>
                          <a:pt x="2143" y="1495"/>
                        </a:lnTo>
                        <a:lnTo>
                          <a:pt x="2132" y="1499"/>
                        </a:lnTo>
                        <a:lnTo>
                          <a:pt x="2122" y="1497"/>
                        </a:lnTo>
                        <a:lnTo>
                          <a:pt x="2103" y="1489"/>
                        </a:lnTo>
                        <a:lnTo>
                          <a:pt x="2090" y="1474"/>
                        </a:lnTo>
                        <a:lnTo>
                          <a:pt x="2086" y="1470"/>
                        </a:lnTo>
                        <a:lnTo>
                          <a:pt x="2078" y="1468"/>
                        </a:lnTo>
                        <a:lnTo>
                          <a:pt x="2070" y="1472"/>
                        </a:lnTo>
                        <a:lnTo>
                          <a:pt x="2078" y="1474"/>
                        </a:lnTo>
                        <a:lnTo>
                          <a:pt x="2086" y="1476"/>
                        </a:lnTo>
                        <a:lnTo>
                          <a:pt x="2091" y="1479"/>
                        </a:lnTo>
                        <a:lnTo>
                          <a:pt x="2103" y="1493"/>
                        </a:lnTo>
                        <a:lnTo>
                          <a:pt x="2114" y="1501"/>
                        </a:lnTo>
                        <a:lnTo>
                          <a:pt x="2122" y="1504"/>
                        </a:lnTo>
                        <a:lnTo>
                          <a:pt x="2136" y="1502"/>
                        </a:lnTo>
                        <a:lnTo>
                          <a:pt x="2147" y="1499"/>
                        </a:lnTo>
                        <a:lnTo>
                          <a:pt x="2161" y="1491"/>
                        </a:lnTo>
                        <a:lnTo>
                          <a:pt x="2168" y="1485"/>
                        </a:lnTo>
                        <a:lnTo>
                          <a:pt x="2172" y="1481"/>
                        </a:lnTo>
                        <a:lnTo>
                          <a:pt x="2182" y="1478"/>
                        </a:lnTo>
                        <a:lnTo>
                          <a:pt x="2184" y="1479"/>
                        </a:lnTo>
                        <a:lnTo>
                          <a:pt x="2180" y="1487"/>
                        </a:lnTo>
                        <a:lnTo>
                          <a:pt x="2180" y="1491"/>
                        </a:lnTo>
                        <a:lnTo>
                          <a:pt x="2180" y="1493"/>
                        </a:lnTo>
                        <a:lnTo>
                          <a:pt x="2178" y="1495"/>
                        </a:lnTo>
                        <a:lnTo>
                          <a:pt x="2178" y="1497"/>
                        </a:lnTo>
                        <a:lnTo>
                          <a:pt x="2178" y="1499"/>
                        </a:lnTo>
                        <a:lnTo>
                          <a:pt x="2180" y="1516"/>
                        </a:lnTo>
                        <a:lnTo>
                          <a:pt x="2180" y="1518"/>
                        </a:lnTo>
                        <a:lnTo>
                          <a:pt x="2182" y="1526"/>
                        </a:lnTo>
                        <a:lnTo>
                          <a:pt x="2185" y="1539"/>
                        </a:lnTo>
                        <a:lnTo>
                          <a:pt x="2185" y="1550"/>
                        </a:lnTo>
                        <a:lnTo>
                          <a:pt x="2182" y="1556"/>
                        </a:lnTo>
                        <a:lnTo>
                          <a:pt x="2178" y="1560"/>
                        </a:lnTo>
                        <a:lnTo>
                          <a:pt x="2159" y="1570"/>
                        </a:lnTo>
                        <a:lnTo>
                          <a:pt x="2141" y="1579"/>
                        </a:lnTo>
                        <a:lnTo>
                          <a:pt x="2128" y="1579"/>
                        </a:lnTo>
                        <a:lnTo>
                          <a:pt x="2118" y="1585"/>
                        </a:lnTo>
                        <a:lnTo>
                          <a:pt x="2107" y="1587"/>
                        </a:lnTo>
                        <a:lnTo>
                          <a:pt x="2088" y="1589"/>
                        </a:lnTo>
                        <a:lnTo>
                          <a:pt x="2080" y="1591"/>
                        </a:lnTo>
                        <a:lnTo>
                          <a:pt x="2067" y="1598"/>
                        </a:lnTo>
                        <a:lnTo>
                          <a:pt x="2049" y="1602"/>
                        </a:lnTo>
                        <a:lnTo>
                          <a:pt x="2040" y="1606"/>
                        </a:lnTo>
                        <a:lnTo>
                          <a:pt x="2036" y="1610"/>
                        </a:lnTo>
                        <a:lnTo>
                          <a:pt x="2026" y="1618"/>
                        </a:lnTo>
                        <a:lnTo>
                          <a:pt x="2017" y="1631"/>
                        </a:lnTo>
                        <a:lnTo>
                          <a:pt x="2011" y="1633"/>
                        </a:lnTo>
                        <a:lnTo>
                          <a:pt x="2003" y="1641"/>
                        </a:lnTo>
                        <a:lnTo>
                          <a:pt x="1999" y="1643"/>
                        </a:lnTo>
                        <a:lnTo>
                          <a:pt x="1994" y="1650"/>
                        </a:lnTo>
                        <a:lnTo>
                          <a:pt x="1992" y="1658"/>
                        </a:lnTo>
                        <a:lnTo>
                          <a:pt x="1990" y="1668"/>
                        </a:lnTo>
                        <a:lnTo>
                          <a:pt x="1992" y="1673"/>
                        </a:lnTo>
                        <a:lnTo>
                          <a:pt x="2001" y="1683"/>
                        </a:lnTo>
                        <a:lnTo>
                          <a:pt x="2009" y="1681"/>
                        </a:lnTo>
                        <a:lnTo>
                          <a:pt x="2011" y="1685"/>
                        </a:lnTo>
                        <a:lnTo>
                          <a:pt x="2011" y="1687"/>
                        </a:lnTo>
                        <a:lnTo>
                          <a:pt x="2009" y="1689"/>
                        </a:lnTo>
                        <a:lnTo>
                          <a:pt x="2003" y="1689"/>
                        </a:lnTo>
                        <a:lnTo>
                          <a:pt x="1999" y="1694"/>
                        </a:lnTo>
                        <a:lnTo>
                          <a:pt x="1992" y="1696"/>
                        </a:lnTo>
                        <a:lnTo>
                          <a:pt x="1986" y="1702"/>
                        </a:lnTo>
                        <a:lnTo>
                          <a:pt x="1980" y="1708"/>
                        </a:lnTo>
                        <a:lnTo>
                          <a:pt x="1980" y="1714"/>
                        </a:lnTo>
                        <a:lnTo>
                          <a:pt x="1980" y="1719"/>
                        </a:lnTo>
                        <a:lnTo>
                          <a:pt x="1982" y="1725"/>
                        </a:lnTo>
                        <a:lnTo>
                          <a:pt x="1986" y="1733"/>
                        </a:lnTo>
                        <a:lnTo>
                          <a:pt x="1984" y="1735"/>
                        </a:lnTo>
                        <a:lnTo>
                          <a:pt x="1982" y="1735"/>
                        </a:lnTo>
                        <a:lnTo>
                          <a:pt x="1980" y="1733"/>
                        </a:lnTo>
                        <a:lnTo>
                          <a:pt x="1976" y="1725"/>
                        </a:lnTo>
                        <a:lnTo>
                          <a:pt x="1976" y="1723"/>
                        </a:lnTo>
                        <a:lnTo>
                          <a:pt x="1972" y="1721"/>
                        </a:lnTo>
                        <a:lnTo>
                          <a:pt x="1969" y="1719"/>
                        </a:lnTo>
                        <a:lnTo>
                          <a:pt x="1963" y="1717"/>
                        </a:lnTo>
                        <a:lnTo>
                          <a:pt x="1953" y="1719"/>
                        </a:lnTo>
                        <a:lnTo>
                          <a:pt x="1946" y="1717"/>
                        </a:lnTo>
                        <a:lnTo>
                          <a:pt x="1928" y="1714"/>
                        </a:lnTo>
                        <a:lnTo>
                          <a:pt x="1907" y="1712"/>
                        </a:lnTo>
                        <a:lnTo>
                          <a:pt x="1898" y="1714"/>
                        </a:lnTo>
                        <a:lnTo>
                          <a:pt x="1888" y="1710"/>
                        </a:lnTo>
                        <a:lnTo>
                          <a:pt x="1880" y="1710"/>
                        </a:lnTo>
                        <a:lnTo>
                          <a:pt x="1844" y="1714"/>
                        </a:lnTo>
                        <a:lnTo>
                          <a:pt x="1836" y="1714"/>
                        </a:lnTo>
                        <a:lnTo>
                          <a:pt x="1813" y="1712"/>
                        </a:lnTo>
                        <a:lnTo>
                          <a:pt x="1798" y="1714"/>
                        </a:lnTo>
                        <a:lnTo>
                          <a:pt x="1794" y="1710"/>
                        </a:lnTo>
                        <a:lnTo>
                          <a:pt x="1784" y="1706"/>
                        </a:lnTo>
                        <a:lnTo>
                          <a:pt x="1784" y="1692"/>
                        </a:lnTo>
                        <a:lnTo>
                          <a:pt x="1786" y="1691"/>
                        </a:lnTo>
                        <a:lnTo>
                          <a:pt x="1788" y="1685"/>
                        </a:lnTo>
                        <a:lnTo>
                          <a:pt x="1794" y="1683"/>
                        </a:lnTo>
                        <a:lnTo>
                          <a:pt x="1796" y="1681"/>
                        </a:lnTo>
                        <a:lnTo>
                          <a:pt x="1798" y="1671"/>
                        </a:lnTo>
                        <a:lnTo>
                          <a:pt x="1802" y="1669"/>
                        </a:lnTo>
                        <a:lnTo>
                          <a:pt x="1804" y="1664"/>
                        </a:lnTo>
                        <a:lnTo>
                          <a:pt x="1802" y="1656"/>
                        </a:lnTo>
                        <a:lnTo>
                          <a:pt x="1798" y="1652"/>
                        </a:lnTo>
                        <a:lnTo>
                          <a:pt x="1792" y="1654"/>
                        </a:lnTo>
                        <a:lnTo>
                          <a:pt x="1786" y="1660"/>
                        </a:lnTo>
                        <a:lnTo>
                          <a:pt x="1777" y="1660"/>
                        </a:lnTo>
                        <a:lnTo>
                          <a:pt x="1773" y="1662"/>
                        </a:lnTo>
                        <a:lnTo>
                          <a:pt x="1767" y="1664"/>
                        </a:lnTo>
                        <a:lnTo>
                          <a:pt x="1763" y="1668"/>
                        </a:lnTo>
                        <a:lnTo>
                          <a:pt x="1761" y="1669"/>
                        </a:lnTo>
                        <a:lnTo>
                          <a:pt x="1759" y="1675"/>
                        </a:lnTo>
                        <a:lnTo>
                          <a:pt x="1761" y="1679"/>
                        </a:lnTo>
                        <a:lnTo>
                          <a:pt x="1763" y="1687"/>
                        </a:lnTo>
                        <a:lnTo>
                          <a:pt x="1767" y="1692"/>
                        </a:lnTo>
                        <a:lnTo>
                          <a:pt x="1775" y="1696"/>
                        </a:lnTo>
                        <a:lnTo>
                          <a:pt x="1777" y="1700"/>
                        </a:lnTo>
                        <a:lnTo>
                          <a:pt x="1773" y="1708"/>
                        </a:lnTo>
                        <a:lnTo>
                          <a:pt x="1767" y="1712"/>
                        </a:lnTo>
                        <a:lnTo>
                          <a:pt x="1761" y="1714"/>
                        </a:lnTo>
                        <a:lnTo>
                          <a:pt x="1736" y="1715"/>
                        </a:lnTo>
                        <a:lnTo>
                          <a:pt x="1721" y="1721"/>
                        </a:lnTo>
                        <a:lnTo>
                          <a:pt x="1710" y="1721"/>
                        </a:lnTo>
                        <a:lnTo>
                          <a:pt x="1700" y="1725"/>
                        </a:lnTo>
                        <a:lnTo>
                          <a:pt x="1690" y="1723"/>
                        </a:lnTo>
                        <a:lnTo>
                          <a:pt x="1679" y="1723"/>
                        </a:lnTo>
                        <a:lnTo>
                          <a:pt x="1642" y="1725"/>
                        </a:lnTo>
                        <a:lnTo>
                          <a:pt x="1627" y="1727"/>
                        </a:lnTo>
                        <a:lnTo>
                          <a:pt x="1627" y="1725"/>
                        </a:lnTo>
                        <a:lnTo>
                          <a:pt x="1633" y="1721"/>
                        </a:lnTo>
                        <a:lnTo>
                          <a:pt x="1644" y="1721"/>
                        </a:lnTo>
                        <a:lnTo>
                          <a:pt x="1646" y="1719"/>
                        </a:lnTo>
                        <a:lnTo>
                          <a:pt x="1644" y="1719"/>
                        </a:lnTo>
                        <a:lnTo>
                          <a:pt x="1644" y="1717"/>
                        </a:lnTo>
                        <a:lnTo>
                          <a:pt x="1644" y="1715"/>
                        </a:lnTo>
                        <a:lnTo>
                          <a:pt x="1658" y="1721"/>
                        </a:lnTo>
                        <a:lnTo>
                          <a:pt x="1685" y="1719"/>
                        </a:lnTo>
                        <a:lnTo>
                          <a:pt x="1698" y="1721"/>
                        </a:lnTo>
                        <a:lnTo>
                          <a:pt x="1700" y="1719"/>
                        </a:lnTo>
                        <a:lnTo>
                          <a:pt x="1700" y="1717"/>
                        </a:lnTo>
                        <a:lnTo>
                          <a:pt x="1685" y="1712"/>
                        </a:lnTo>
                        <a:lnTo>
                          <a:pt x="1677" y="1700"/>
                        </a:lnTo>
                        <a:lnTo>
                          <a:pt x="1673" y="1698"/>
                        </a:lnTo>
                        <a:lnTo>
                          <a:pt x="1660" y="1696"/>
                        </a:lnTo>
                        <a:lnTo>
                          <a:pt x="1652" y="1692"/>
                        </a:lnTo>
                        <a:lnTo>
                          <a:pt x="1642" y="1694"/>
                        </a:lnTo>
                        <a:lnTo>
                          <a:pt x="1635" y="1694"/>
                        </a:lnTo>
                        <a:lnTo>
                          <a:pt x="1621" y="1700"/>
                        </a:lnTo>
                        <a:lnTo>
                          <a:pt x="1619" y="1698"/>
                        </a:lnTo>
                        <a:lnTo>
                          <a:pt x="1619" y="1692"/>
                        </a:lnTo>
                        <a:lnTo>
                          <a:pt x="1617" y="1692"/>
                        </a:lnTo>
                        <a:lnTo>
                          <a:pt x="1612" y="1704"/>
                        </a:lnTo>
                        <a:lnTo>
                          <a:pt x="1606" y="1710"/>
                        </a:lnTo>
                        <a:lnTo>
                          <a:pt x="1600" y="1710"/>
                        </a:lnTo>
                        <a:lnTo>
                          <a:pt x="1598" y="1714"/>
                        </a:lnTo>
                        <a:lnTo>
                          <a:pt x="1589" y="1714"/>
                        </a:lnTo>
                        <a:lnTo>
                          <a:pt x="1587" y="1710"/>
                        </a:lnTo>
                        <a:lnTo>
                          <a:pt x="1591" y="1706"/>
                        </a:lnTo>
                        <a:lnTo>
                          <a:pt x="1589" y="1702"/>
                        </a:lnTo>
                        <a:lnTo>
                          <a:pt x="1581" y="1702"/>
                        </a:lnTo>
                        <a:lnTo>
                          <a:pt x="1570" y="1704"/>
                        </a:lnTo>
                        <a:lnTo>
                          <a:pt x="1564" y="1702"/>
                        </a:lnTo>
                        <a:lnTo>
                          <a:pt x="1564" y="1700"/>
                        </a:lnTo>
                        <a:lnTo>
                          <a:pt x="1571" y="1696"/>
                        </a:lnTo>
                        <a:lnTo>
                          <a:pt x="1571" y="1691"/>
                        </a:lnTo>
                        <a:lnTo>
                          <a:pt x="1568" y="1689"/>
                        </a:lnTo>
                        <a:lnTo>
                          <a:pt x="1562" y="1692"/>
                        </a:lnTo>
                        <a:lnTo>
                          <a:pt x="1558" y="1691"/>
                        </a:lnTo>
                        <a:lnTo>
                          <a:pt x="1554" y="1691"/>
                        </a:lnTo>
                        <a:lnTo>
                          <a:pt x="1552" y="1702"/>
                        </a:lnTo>
                        <a:lnTo>
                          <a:pt x="1550" y="1704"/>
                        </a:lnTo>
                        <a:lnTo>
                          <a:pt x="1545" y="1704"/>
                        </a:lnTo>
                        <a:lnTo>
                          <a:pt x="1541" y="1704"/>
                        </a:lnTo>
                        <a:lnTo>
                          <a:pt x="1529" y="1708"/>
                        </a:lnTo>
                        <a:lnTo>
                          <a:pt x="1512" y="1706"/>
                        </a:lnTo>
                        <a:lnTo>
                          <a:pt x="1508" y="1708"/>
                        </a:lnTo>
                        <a:lnTo>
                          <a:pt x="1500" y="1735"/>
                        </a:lnTo>
                        <a:lnTo>
                          <a:pt x="1502" y="1737"/>
                        </a:lnTo>
                        <a:lnTo>
                          <a:pt x="1506" y="1739"/>
                        </a:lnTo>
                        <a:lnTo>
                          <a:pt x="1514" y="1733"/>
                        </a:lnTo>
                        <a:lnTo>
                          <a:pt x="1518" y="1733"/>
                        </a:lnTo>
                        <a:lnTo>
                          <a:pt x="1518" y="1735"/>
                        </a:lnTo>
                        <a:lnTo>
                          <a:pt x="1518" y="1737"/>
                        </a:lnTo>
                        <a:lnTo>
                          <a:pt x="1510" y="1740"/>
                        </a:lnTo>
                        <a:lnTo>
                          <a:pt x="1508" y="1742"/>
                        </a:lnTo>
                        <a:lnTo>
                          <a:pt x="1510" y="1744"/>
                        </a:lnTo>
                        <a:lnTo>
                          <a:pt x="1510" y="1750"/>
                        </a:lnTo>
                        <a:lnTo>
                          <a:pt x="1512" y="1750"/>
                        </a:lnTo>
                        <a:lnTo>
                          <a:pt x="1518" y="1744"/>
                        </a:lnTo>
                        <a:lnTo>
                          <a:pt x="1520" y="1742"/>
                        </a:lnTo>
                        <a:lnTo>
                          <a:pt x="1523" y="1742"/>
                        </a:lnTo>
                        <a:lnTo>
                          <a:pt x="1527" y="1748"/>
                        </a:lnTo>
                        <a:lnTo>
                          <a:pt x="1533" y="1750"/>
                        </a:lnTo>
                        <a:lnTo>
                          <a:pt x="1535" y="1756"/>
                        </a:lnTo>
                        <a:lnTo>
                          <a:pt x="1533" y="1758"/>
                        </a:lnTo>
                        <a:lnTo>
                          <a:pt x="1525" y="1760"/>
                        </a:lnTo>
                        <a:lnTo>
                          <a:pt x="1518" y="1769"/>
                        </a:lnTo>
                        <a:lnTo>
                          <a:pt x="1518" y="1769"/>
                        </a:lnTo>
                        <a:lnTo>
                          <a:pt x="1514" y="1769"/>
                        </a:lnTo>
                        <a:lnTo>
                          <a:pt x="1504" y="1763"/>
                        </a:lnTo>
                        <a:lnTo>
                          <a:pt x="1499" y="1765"/>
                        </a:lnTo>
                        <a:lnTo>
                          <a:pt x="1497" y="1765"/>
                        </a:lnTo>
                        <a:lnTo>
                          <a:pt x="1497" y="1765"/>
                        </a:lnTo>
                        <a:lnTo>
                          <a:pt x="1497" y="1767"/>
                        </a:lnTo>
                        <a:lnTo>
                          <a:pt x="1495" y="1769"/>
                        </a:lnTo>
                        <a:lnTo>
                          <a:pt x="1485" y="1767"/>
                        </a:lnTo>
                        <a:lnTo>
                          <a:pt x="1479" y="1769"/>
                        </a:lnTo>
                        <a:lnTo>
                          <a:pt x="1477" y="1769"/>
                        </a:lnTo>
                        <a:lnTo>
                          <a:pt x="1475" y="1765"/>
                        </a:lnTo>
                        <a:lnTo>
                          <a:pt x="1472" y="1765"/>
                        </a:lnTo>
                        <a:lnTo>
                          <a:pt x="1470" y="1765"/>
                        </a:lnTo>
                        <a:lnTo>
                          <a:pt x="1468" y="1762"/>
                        </a:lnTo>
                        <a:lnTo>
                          <a:pt x="1462" y="1762"/>
                        </a:lnTo>
                        <a:lnTo>
                          <a:pt x="1458" y="1763"/>
                        </a:lnTo>
                        <a:lnTo>
                          <a:pt x="1449" y="1767"/>
                        </a:lnTo>
                        <a:lnTo>
                          <a:pt x="1437" y="1775"/>
                        </a:lnTo>
                        <a:lnTo>
                          <a:pt x="1435" y="1777"/>
                        </a:lnTo>
                        <a:lnTo>
                          <a:pt x="1439" y="1779"/>
                        </a:lnTo>
                        <a:lnTo>
                          <a:pt x="1441" y="1781"/>
                        </a:lnTo>
                        <a:lnTo>
                          <a:pt x="1439" y="1783"/>
                        </a:lnTo>
                        <a:lnTo>
                          <a:pt x="1435" y="1785"/>
                        </a:lnTo>
                        <a:lnTo>
                          <a:pt x="1433" y="1788"/>
                        </a:lnTo>
                        <a:lnTo>
                          <a:pt x="1428" y="1786"/>
                        </a:lnTo>
                        <a:lnTo>
                          <a:pt x="1424" y="1792"/>
                        </a:lnTo>
                        <a:lnTo>
                          <a:pt x="1418" y="1790"/>
                        </a:lnTo>
                        <a:lnTo>
                          <a:pt x="1416" y="1794"/>
                        </a:lnTo>
                        <a:lnTo>
                          <a:pt x="1412" y="1794"/>
                        </a:lnTo>
                        <a:lnTo>
                          <a:pt x="1408" y="1796"/>
                        </a:lnTo>
                        <a:lnTo>
                          <a:pt x="1410" y="1802"/>
                        </a:lnTo>
                        <a:lnTo>
                          <a:pt x="1404" y="1806"/>
                        </a:lnTo>
                        <a:lnTo>
                          <a:pt x="1393" y="1800"/>
                        </a:lnTo>
                        <a:lnTo>
                          <a:pt x="1385" y="1802"/>
                        </a:lnTo>
                        <a:lnTo>
                          <a:pt x="1378" y="1796"/>
                        </a:lnTo>
                        <a:lnTo>
                          <a:pt x="1374" y="1796"/>
                        </a:lnTo>
                        <a:lnTo>
                          <a:pt x="1374" y="1806"/>
                        </a:lnTo>
                        <a:lnTo>
                          <a:pt x="1368" y="1817"/>
                        </a:lnTo>
                        <a:lnTo>
                          <a:pt x="1368" y="1823"/>
                        </a:lnTo>
                        <a:lnTo>
                          <a:pt x="1372" y="1827"/>
                        </a:lnTo>
                        <a:lnTo>
                          <a:pt x="1370" y="1833"/>
                        </a:lnTo>
                        <a:lnTo>
                          <a:pt x="1372" y="1840"/>
                        </a:lnTo>
                        <a:lnTo>
                          <a:pt x="1370" y="1850"/>
                        </a:lnTo>
                        <a:lnTo>
                          <a:pt x="1366" y="1854"/>
                        </a:lnTo>
                        <a:lnTo>
                          <a:pt x="1345" y="1854"/>
                        </a:lnTo>
                        <a:lnTo>
                          <a:pt x="1339" y="1848"/>
                        </a:lnTo>
                        <a:lnTo>
                          <a:pt x="1328" y="1844"/>
                        </a:lnTo>
                        <a:lnTo>
                          <a:pt x="1324" y="1842"/>
                        </a:lnTo>
                        <a:lnTo>
                          <a:pt x="1295" y="1833"/>
                        </a:lnTo>
                        <a:lnTo>
                          <a:pt x="1280" y="1833"/>
                        </a:lnTo>
                        <a:lnTo>
                          <a:pt x="1268" y="1836"/>
                        </a:lnTo>
                        <a:lnTo>
                          <a:pt x="1255" y="1846"/>
                        </a:lnTo>
                        <a:lnTo>
                          <a:pt x="1255" y="1846"/>
                        </a:lnTo>
                        <a:lnTo>
                          <a:pt x="1253" y="1840"/>
                        </a:lnTo>
                        <a:lnTo>
                          <a:pt x="1247" y="1842"/>
                        </a:lnTo>
                        <a:lnTo>
                          <a:pt x="1241" y="1850"/>
                        </a:lnTo>
                        <a:lnTo>
                          <a:pt x="1241" y="1856"/>
                        </a:lnTo>
                        <a:lnTo>
                          <a:pt x="1234" y="1861"/>
                        </a:lnTo>
                        <a:lnTo>
                          <a:pt x="1232" y="1869"/>
                        </a:lnTo>
                        <a:lnTo>
                          <a:pt x="1224" y="1873"/>
                        </a:lnTo>
                        <a:lnTo>
                          <a:pt x="1218" y="1875"/>
                        </a:lnTo>
                        <a:lnTo>
                          <a:pt x="1213" y="1881"/>
                        </a:lnTo>
                        <a:lnTo>
                          <a:pt x="1209" y="1879"/>
                        </a:lnTo>
                        <a:lnTo>
                          <a:pt x="1205" y="1877"/>
                        </a:lnTo>
                        <a:lnTo>
                          <a:pt x="1203" y="1871"/>
                        </a:lnTo>
                        <a:lnTo>
                          <a:pt x="1203" y="1867"/>
                        </a:lnTo>
                        <a:lnTo>
                          <a:pt x="1203" y="1865"/>
                        </a:lnTo>
                        <a:lnTo>
                          <a:pt x="1201" y="1865"/>
                        </a:lnTo>
                        <a:lnTo>
                          <a:pt x="1195" y="1865"/>
                        </a:lnTo>
                        <a:lnTo>
                          <a:pt x="1193" y="1867"/>
                        </a:lnTo>
                        <a:lnTo>
                          <a:pt x="1193" y="1871"/>
                        </a:lnTo>
                        <a:lnTo>
                          <a:pt x="1197" y="1879"/>
                        </a:lnTo>
                        <a:lnTo>
                          <a:pt x="1197" y="1882"/>
                        </a:lnTo>
                        <a:lnTo>
                          <a:pt x="1195" y="1884"/>
                        </a:lnTo>
                        <a:lnTo>
                          <a:pt x="1172" y="1890"/>
                        </a:lnTo>
                        <a:lnTo>
                          <a:pt x="1147" y="1902"/>
                        </a:lnTo>
                        <a:lnTo>
                          <a:pt x="1124" y="1917"/>
                        </a:lnTo>
                        <a:lnTo>
                          <a:pt x="1103" y="1925"/>
                        </a:lnTo>
                        <a:lnTo>
                          <a:pt x="1082" y="1942"/>
                        </a:lnTo>
                        <a:lnTo>
                          <a:pt x="1080" y="1953"/>
                        </a:lnTo>
                        <a:lnTo>
                          <a:pt x="1076" y="1957"/>
                        </a:lnTo>
                        <a:lnTo>
                          <a:pt x="1073" y="1959"/>
                        </a:lnTo>
                        <a:lnTo>
                          <a:pt x="1065" y="1959"/>
                        </a:lnTo>
                        <a:lnTo>
                          <a:pt x="1061" y="1969"/>
                        </a:lnTo>
                        <a:lnTo>
                          <a:pt x="1046" y="1978"/>
                        </a:lnTo>
                        <a:lnTo>
                          <a:pt x="1038" y="1988"/>
                        </a:lnTo>
                        <a:lnTo>
                          <a:pt x="1026" y="1990"/>
                        </a:lnTo>
                        <a:lnTo>
                          <a:pt x="1023" y="1994"/>
                        </a:lnTo>
                        <a:lnTo>
                          <a:pt x="1013" y="2001"/>
                        </a:lnTo>
                        <a:lnTo>
                          <a:pt x="1007" y="2001"/>
                        </a:lnTo>
                        <a:lnTo>
                          <a:pt x="1002" y="2005"/>
                        </a:lnTo>
                        <a:lnTo>
                          <a:pt x="994" y="2003"/>
                        </a:lnTo>
                        <a:lnTo>
                          <a:pt x="973" y="2013"/>
                        </a:lnTo>
                        <a:lnTo>
                          <a:pt x="934" y="2040"/>
                        </a:lnTo>
                        <a:lnTo>
                          <a:pt x="921" y="2044"/>
                        </a:lnTo>
                        <a:lnTo>
                          <a:pt x="915" y="2049"/>
                        </a:lnTo>
                        <a:lnTo>
                          <a:pt x="909" y="2053"/>
                        </a:lnTo>
                        <a:lnTo>
                          <a:pt x="906" y="2059"/>
                        </a:lnTo>
                        <a:lnTo>
                          <a:pt x="902" y="2057"/>
                        </a:lnTo>
                        <a:lnTo>
                          <a:pt x="900" y="2057"/>
                        </a:lnTo>
                        <a:lnTo>
                          <a:pt x="900" y="2059"/>
                        </a:lnTo>
                        <a:lnTo>
                          <a:pt x="900" y="2067"/>
                        </a:lnTo>
                        <a:lnTo>
                          <a:pt x="904" y="2069"/>
                        </a:lnTo>
                        <a:lnTo>
                          <a:pt x="907" y="2065"/>
                        </a:lnTo>
                        <a:lnTo>
                          <a:pt x="909" y="2061"/>
                        </a:lnTo>
                        <a:lnTo>
                          <a:pt x="917" y="2051"/>
                        </a:lnTo>
                        <a:lnTo>
                          <a:pt x="923" y="2049"/>
                        </a:lnTo>
                        <a:lnTo>
                          <a:pt x="925" y="2049"/>
                        </a:lnTo>
                        <a:lnTo>
                          <a:pt x="923" y="2053"/>
                        </a:lnTo>
                        <a:lnTo>
                          <a:pt x="917" y="2057"/>
                        </a:lnTo>
                        <a:lnTo>
                          <a:pt x="913" y="2069"/>
                        </a:lnTo>
                        <a:lnTo>
                          <a:pt x="911" y="2070"/>
                        </a:lnTo>
                        <a:lnTo>
                          <a:pt x="902" y="2074"/>
                        </a:lnTo>
                        <a:lnTo>
                          <a:pt x="902" y="2074"/>
                        </a:lnTo>
                        <a:lnTo>
                          <a:pt x="900" y="2078"/>
                        </a:lnTo>
                        <a:lnTo>
                          <a:pt x="902" y="2080"/>
                        </a:lnTo>
                        <a:lnTo>
                          <a:pt x="904" y="2082"/>
                        </a:lnTo>
                        <a:lnTo>
                          <a:pt x="911" y="2076"/>
                        </a:lnTo>
                        <a:lnTo>
                          <a:pt x="915" y="2076"/>
                        </a:lnTo>
                        <a:lnTo>
                          <a:pt x="915" y="2078"/>
                        </a:lnTo>
                        <a:lnTo>
                          <a:pt x="915" y="2082"/>
                        </a:lnTo>
                        <a:lnTo>
                          <a:pt x="909" y="2095"/>
                        </a:lnTo>
                        <a:lnTo>
                          <a:pt x="881" y="2120"/>
                        </a:lnTo>
                        <a:lnTo>
                          <a:pt x="888" y="2111"/>
                        </a:lnTo>
                        <a:lnTo>
                          <a:pt x="888" y="2109"/>
                        </a:lnTo>
                        <a:lnTo>
                          <a:pt x="883" y="2107"/>
                        </a:lnTo>
                        <a:lnTo>
                          <a:pt x="877" y="2109"/>
                        </a:lnTo>
                        <a:lnTo>
                          <a:pt x="871" y="2109"/>
                        </a:lnTo>
                        <a:lnTo>
                          <a:pt x="871" y="2105"/>
                        </a:lnTo>
                        <a:lnTo>
                          <a:pt x="873" y="2094"/>
                        </a:lnTo>
                        <a:lnTo>
                          <a:pt x="867" y="2076"/>
                        </a:lnTo>
                        <a:lnTo>
                          <a:pt x="867" y="2069"/>
                        </a:lnTo>
                        <a:lnTo>
                          <a:pt x="867" y="2065"/>
                        </a:lnTo>
                        <a:lnTo>
                          <a:pt x="865" y="2065"/>
                        </a:lnTo>
                        <a:lnTo>
                          <a:pt x="861" y="2063"/>
                        </a:lnTo>
                        <a:lnTo>
                          <a:pt x="846" y="2072"/>
                        </a:lnTo>
                        <a:lnTo>
                          <a:pt x="842" y="2072"/>
                        </a:lnTo>
                        <a:lnTo>
                          <a:pt x="838" y="2069"/>
                        </a:lnTo>
                        <a:lnTo>
                          <a:pt x="827" y="2065"/>
                        </a:lnTo>
                        <a:lnTo>
                          <a:pt x="825" y="2067"/>
                        </a:lnTo>
                        <a:lnTo>
                          <a:pt x="817" y="2074"/>
                        </a:lnTo>
                        <a:lnTo>
                          <a:pt x="813" y="2076"/>
                        </a:lnTo>
                        <a:lnTo>
                          <a:pt x="808" y="2078"/>
                        </a:lnTo>
                        <a:lnTo>
                          <a:pt x="792" y="2069"/>
                        </a:lnTo>
                        <a:lnTo>
                          <a:pt x="789" y="2063"/>
                        </a:lnTo>
                        <a:lnTo>
                          <a:pt x="792" y="2057"/>
                        </a:lnTo>
                        <a:lnTo>
                          <a:pt x="794" y="2049"/>
                        </a:lnTo>
                        <a:lnTo>
                          <a:pt x="798" y="2044"/>
                        </a:lnTo>
                        <a:lnTo>
                          <a:pt x="796" y="2034"/>
                        </a:lnTo>
                        <a:lnTo>
                          <a:pt x="798" y="2028"/>
                        </a:lnTo>
                        <a:lnTo>
                          <a:pt x="808" y="2011"/>
                        </a:lnTo>
                        <a:lnTo>
                          <a:pt x="810" y="2005"/>
                        </a:lnTo>
                        <a:lnTo>
                          <a:pt x="806" y="2001"/>
                        </a:lnTo>
                        <a:lnTo>
                          <a:pt x="790" y="1998"/>
                        </a:lnTo>
                        <a:lnTo>
                          <a:pt x="789" y="1996"/>
                        </a:lnTo>
                        <a:lnTo>
                          <a:pt x="789" y="1992"/>
                        </a:lnTo>
                        <a:lnTo>
                          <a:pt x="775" y="1996"/>
                        </a:lnTo>
                        <a:lnTo>
                          <a:pt x="767" y="1996"/>
                        </a:lnTo>
                        <a:lnTo>
                          <a:pt x="752" y="1994"/>
                        </a:lnTo>
                        <a:lnTo>
                          <a:pt x="741" y="1994"/>
                        </a:lnTo>
                        <a:lnTo>
                          <a:pt x="733" y="1990"/>
                        </a:lnTo>
                        <a:lnTo>
                          <a:pt x="727" y="1988"/>
                        </a:lnTo>
                        <a:lnTo>
                          <a:pt x="714" y="1996"/>
                        </a:lnTo>
                        <a:lnTo>
                          <a:pt x="677" y="1996"/>
                        </a:lnTo>
                        <a:lnTo>
                          <a:pt x="671" y="1990"/>
                        </a:lnTo>
                        <a:lnTo>
                          <a:pt x="670" y="1984"/>
                        </a:lnTo>
                        <a:lnTo>
                          <a:pt x="668" y="1969"/>
                        </a:lnTo>
                        <a:lnTo>
                          <a:pt x="670" y="1959"/>
                        </a:lnTo>
                        <a:lnTo>
                          <a:pt x="671" y="1955"/>
                        </a:lnTo>
                        <a:lnTo>
                          <a:pt x="679" y="1946"/>
                        </a:lnTo>
                        <a:lnTo>
                          <a:pt x="691" y="1932"/>
                        </a:lnTo>
                        <a:lnTo>
                          <a:pt x="691" y="1928"/>
                        </a:lnTo>
                        <a:lnTo>
                          <a:pt x="687" y="1925"/>
                        </a:lnTo>
                        <a:lnTo>
                          <a:pt x="677" y="1917"/>
                        </a:lnTo>
                        <a:lnTo>
                          <a:pt x="673" y="1911"/>
                        </a:lnTo>
                        <a:lnTo>
                          <a:pt x="671" y="1905"/>
                        </a:lnTo>
                        <a:lnTo>
                          <a:pt x="668" y="1900"/>
                        </a:lnTo>
                        <a:lnTo>
                          <a:pt x="668" y="1888"/>
                        </a:lnTo>
                        <a:lnTo>
                          <a:pt x="666" y="1886"/>
                        </a:lnTo>
                        <a:lnTo>
                          <a:pt x="658" y="1879"/>
                        </a:lnTo>
                        <a:lnTo>
                          <a:pt x="643" y="1861"/>
                        </a:lnTo>
                        <a:lnTo>
                          <a:pt x="639" y="1854"/>
                        </a:lnTo>
                        <a:lnTo>
                          <a:pt x="641" y="1844"/>
                        </a:lnTo>
                        <a:lnTo>
                          <a:pt x="627" y="1829"/>
                        </a:lnTo>
                        <a:lnTo>
                          <a:pt x="627" y="1823"/>
                        </a:lnTo>
                        <a:lnTo>
                          <a:pt x="631" y="1821"/>
                        </a:lnTo>
                        <a:lnTo>
                          <a:pt x="633" y="1817"/>
                        </a:lnTo>
                        <a:lnTo>
                          <a:pt x="633" y="1808"/>
                        </a:lnTo>
                        <a:lnTo>
                          <a:pt x="635" y="1800"/>
                        </a:lnTo>
                        <a:lnTo>
                          <a:pt x="635" y="1794"/>
                        </a:lnTo>
                        <a:lnTo>
                          <a:pt x="633" y="1792"/>
                        </a:lnTo>
                        <a:lnTo>
                          <a:pt x="627" y="1781"/>
                        </a:lnTo>
                        <a:lnTo>
                          <a:pt x="625" y="1771"/>
                        </a:lnTo>
                        <a:lnTo>
                          <a:pt x="625" y="1769"/>
                        </a:lnTo>
                        <a:lnTo>
                          <a:pt x="623" y="1763"/>
                        </a:lnTo>
                        <a:lnTo>
                          <a:pt x="625" y="1756"/>
                        </a:lnTo>
                        <a:lnTo>
                          <a:pt x="629" y="1746"/>
                        </a:lnTo>
                        <a:lnTo>
                          <a:pt x="627" y="1740"/>
                        </a:lnTo>
                        <a:lnTo>
                          <a:pt x="623" y="1733"/>
                        </a:lnTo>
                        <a:lnTo>
                          <a:pt x="623" y="1715"/>
                        </a:lnTo>
                        <a:lnTo>
                          <a:pt x="620" y="1700"/>
                        </a:lnTo>
                        <a:lnTo>
                          <a:pt x="608" y="1685"/>
                        </a:lnTo>
                        <a:lnTo>
                          <a:pt x="604" y="1681"/>
                        </a:lnTo>
                        <a:lnTo>
                          <a:pt x="597" y="1681"/>
                        </a:lnTo>
                        <a:lnTo>
                          <a:pt x="591" y="1677"/>
                        </a:lnTo>
                        <a:lnTo>
                          <a:pt x="577" y="1671"/>
                        </a:lnTo>
                        <a:lnTo>
                          <a:pt x="566" y="1660"/>
                        </a:lnTo>
                        <a:lnTo>
                          <a:pt x="562" y="1654"/>
                        </a:lnTo>
                        <a:lnTo>
                          <a:pt x="552" y="1644"/>
                        </a:lnTo>
                        <a:lnTo>
                          <a:pt x="549" y="1644"/>
                        </a:lnTo>
                        <a:lnTo>
                          <a:pt x="543" y="1644"/>
                        </a:lnTo>
                        <a:lnTo>
                          <a:pt x="537" y="1646"/>
                        </a:lnTo>
                        <a:lnTo>
                          <a:pt x="524" y="1650"/>
                        </a:lnTo>
                        <a:lnTo>
                          <a:pt x="506" y="1648"/>
                        </a:lnTo>
                        <a:lnTo>
                          <a:pt x="497" y="1648"/>
                        </a:lnTo>
                        <a:lnTo>
                          <a:pt x="485" y="1646"/>
                        </a:lnTo>
                        <a:lnTo>
                          <a:pt x="472" y="1646"/>
                        </a:lnTo>
                        <a:lnTo>
                          <a:pt x="458" y="1641"/>
                        </a:lnTo>
                        <a:lnTo>
                          <a:pt x="445" y="1641"/>
                        </a:lnTo>
                        <a:lnTo>
                          <a:pt x="439" y="1639"/>
                        </a:lnTo>
                        <a:lnTo>
                          <a:pt x="434" y="1639"/>
                        </a:lnTo>
                        <a:lnTo>
                          <a:pt x="426" y="1644"/>
                        </a:lnTo>
                        <a:lnTo>
                          <a:pt x="418" y="1641"/>
                        </a:lnTo>
                        <a:lnTo>
                          <a:pt x="410" y="1635"/>
                        </a:lnTo>
                        <a:lnTo>
                          <a:pt x="407" y="1627"/>
                        </a:lnTo>
                        <a:lnTo>
                          <a:pt x="405" y="1623"/>
                        </a:lnTo>
                        <a:lnTo>
                          <a:pt x="401" y="1621"/>
                        </a:lnTo>
                        <a:lnTo>
                          <a:pt x="391" y="1620"/>
                        </a:lnTo>
                        <a:lnTo>
                          <a:pt x="380" y="1616"/>
                        </a:lnTo>
                        <a:lnTo>
                          <a:pt x="370" y="1614"/>
                        </a:lnTo>
                        <a:lnTo>
                          <a:pt x="364" y="1608"/>
                        </a:lnTo>
                        <a:lnTo>
                          <a:pt x="359" y="1608"/>
                        </a:lnTo>
                        <a:lnTo>
                          <a:pt x="355" y="1610"/>
                        </a:lnTo>
                        <a:lnTo>
                          <a:pt x="349" y="1608"/>
                        </a:lnTo>
                        <a:lnTo>
                          <a:pt x="339" y="1600"/>
                        </a:lnTo>
                        <a:lnTo>
                          <a:pt x="336" y="1595"/>
                        </a:lnTo>
                        <a:lnTo>
                          <a:pt x="328" y="1593"/>
                        </a:lnTo>
                        <a:lnTo>
                          <a:pt x="326" y="1595"/>
                        </a:lnTo>
                        <a:lnTo>
                          <a:pt x="316" y="1593"/>
                        </a:lnTo>
                        <a:lnTo>
                          <a:pt x="309" y="1589"/>
                        </a:lnTo>
                        <a:lnTo>
                          <a:pt x="299" y="1589"/>
                        </a:lnTo>
                        <a:lnTo>
                          <a:pt x="293" y="1591"/>
                        </a:lnTo>
                        <a:lnTo>
                          <a:pt x="288" y="1593"/>
                        </a:lnTo>
                        <a:lnTo>
                          <a:pt x="282" y="1595"/>
                        </a:lnTo>
                        <a:lnTo>
                          <a:pt x="270" y="1591"/>
                        </a:lnTo>
                        <a:lnTo>
                          <a:pt x="253" y="1591"/>
                        </a:lnTo>
                        <a:lnTo>
                          <a:pt x="245" y="1583"/>
                        </a:lnTo>
                        <a:lnTo>
                          <a:pt x="228" y="1583"/>
                        </a:lnTo>
                        <a:lnTo>
                          <a:pt x="209" y="1570"/>
                        </a:lnTo>
                        <a:lnTo>
                          <a:pt x="201" y="1566"/>
                        </a:lnTo>
                        <a:lnTo>
                          <a:pt x="197" y="1568"/>
                        </a:lnTo>
                        <a:lnTo>
                          <a:pt x="182" y="1566"/>
                        </a:lnTo>
                        <a:lnTo>
                          <a:pt x="176" y="1568"/>
                        </a:lnTo>
                        <a:lnTo>
                          <a:pt x="173" y="1573"/>
                        </a:lnTo>
                        <a:lnTo>
                          <a:pt x="171" y="1585"/>
                        </a:lnTo>
                        <a:lnTo>
                          <a:pt x="167" y="1589"/>
                        </a:lnTo>
                        <a:lnTo>
                          <a:pt x="165" y="1589"/>
                        </a:lnTo>
                        <a:lnTo>
                          <a:pt x="161" y="1589"/>
                        </a:lnTo>
                        <a:lnTo>
                          <a:pt x="159" y="1585"/>
                        </a:lnTo>
                        <a:lnTo>
                          <a:pt x="155" y="1581"/>
                        </a:lnTo>
                        <a:lnTo>
                          <a:pt x="151" y="1581"/>
                        </a:lnTo>
                        <a:lnTo>
                          <a:pt x="142" y="1587"/>
                        </a:lnTo>
                        <a:lnTo>
                          <a:pt x="136" y="1587"/>
                        </a:lnTo>
                        <a:lnTo>
                          <a:pt x="126" y="1583"/>
                        </a:lnTo>
                        <a:lnTo>
                          <a:pt x="113" y="1585"/>
                        </a:lnTo>
                        <a:lnTo>
                          <a:pt x="111" y="1583"/>
                        </a:lnTo>
                        <a:lnTo>
                          <a:pt x="105" y="1577"/>
                        </a:lnTo>
                        <a:lnTo>
                          <a:pt x="100" y="1573"/>
                        </a:lnTo>
                        <a:lnTo>
                          <a:pt x="96" y="1573"/>
                        </a:lnTo>
                        <a:lnTo>
                          <a:pt x="86" y="1579"/>
                        </a:lnTo>
                        <a:lnTo>
                          <a:pt x="71" y="1579"/>
                        </a:lnTo>
                        <a:lnTo>
                          <a:pt x="50" y="1577"/>
                        </a:lnTo>
                        <a:lnTo>
                          <a:pt x="46" y="1575"/>
                        </a:lnTo>
                        <a:lnTo>
                          <a:pt x="40" y="1572"/>
                        </a:lnTo>
                        <a:lnTo>
                          <a:pt x="36" y="1570"/>
                        </a:lnTo>
                        <a:lnTo>
                          <a:pt x="13" y="1579"/>
                        </a:lnTo>
                        <a:lnTo>
                          <a:pt x="8" y="1581"/>
                        </a:lnTo>
                        <a:lnTo>
                          <a:pt x="0" y="1581"/>
                        </a:lnTo>
                        <a:lnTo>
                          <a:pt x="0" y="1581"/>
                        </a:lnTo>
                        <a:lnTo>
                          <a:pt x="4" y="1575"/>
                        </a:lnTo>
                        <a:lnTo>
                          <a:pt x="4" y="1572"/>
                        </a:lnTo>
                        <a:lnTo>
                          <a:pt x="9" y="1566"/>
                        </a:lnTo>
                        <a:lnTo>
                          <a:pt x="36" y="1549"/>
                        </a:lnTo>
                        <a:lnTo>
                          <a:pt x="50" y="1545"/>
                        </a:lnTo>
                        <a:lnTo>
                          <a:pt x="67" y="1529"/>
                        </a:lnTo>
                        <a:lnTo>
                          <a:pt x="82" y="1518"/>
                        </a:lnTo>
                        <a:lnTo>
                          <a:pt x="98" y="1510"/>
                        </a:lnTo>
                        <a:lnTo>
                          <a:pt x="111" y="1502"/>
                        </a:lnTo>
                        <a:lnTo>
                          <a:pt x="121" y="1491"/>
                        </a:lnTo>
                        <a:lnTo>
                          <a:pt x="132" y="1485"/>
                        </a:lnTo>
                        <a:lnTo>
                          <a:pt x="140" y="1474"/>
                        </a:lnTo>
                        <a:lnTo>
                          <a:pt x="148" y="1449"/>
                        </a:lnTo>
                        <a:lnTo>
                          <a:pt x="173" y="1420"/>
                        </a:lnTo>
                        <a:lnTo>
                          <a:pt x="192" y="1407"/>
                        </a:lnTo>
                        <a:lnTo>
                          <a:pt x="186" y="1372"/>
                        </a:lnTo>
                        <a:lnTo>
                          <a:pt x="188" y="1366"/>
                        </a:lnTo>
                        <a:lnTo>
                          <a:pt x="201" y="1366"/>
                        </a:lnTo>
                        <a:lnTo>
                          <a:pt x="211" y="1362"/>
                        </a:lnTo>
                        <a:lnTo>
                          <a:pt x="230" y="1334"/>
                        </a:lnTo>
                        <a:lnTo>
                          <a:pt x="232" y="1297"/>
                        </a:lnTo>
                        <a:lnTo>
                          <a:pt x="247" y="1280"/>
                        </a:lnTo>
                        <a:lnTo>
                          <a:pt x="253" y="1266"/>
                        </a:lnTo>
                        <a:lnTo>
                          <a:pt x="265" y="1261"/>
                        </a:lnTo>
                        <a:lnTo>
                          <a:pt x="268" y="1257"/>
                        </a:lnTo>
                        <a:lnTo>
                          <a:pt x="270" y="1249"/>
                        </a:lnTo>
                        <a:lnTo>
                          <a:pt x="272" y="1224"/>
                        </a:lnTo>
                        <a:lnTo>
                          <a:pt x="272" y="1213"/>
                        </a:lnTo>
                        <a:lnTo>
                          <a:pt x="274" y="1207"/>
                        </a:lnTo>
                        <a:lnTo>
                          <a:pt x="276" y="1203"/>
                        </a:lnTo>
                        <a:lnTo>
                          <a:pt x="290" y="1190"/>
                        </a:lnTo>
                        <a:lnTo>
                          <a:pt x="292" y="1188"/>
                        </a:lnTo>
                        <a:lnTo>
                          <a:pt x="295" y="1186"/>
                        </a:lnTo>
                        <a:lnTo>
                          <a:pt x="299" y="1174"/>
                        </a:lnTo>
                        <a:lnTo>
                          <a:pt x="313" y="1169"/>
                        </a:lnTo>
                        <a:lnTo>
                          <a:pt x="318" y="1157"/>
                        </a:lnTo>
                        <a:lnTo>
                          <a:pt x="332" y="1142"/>
                        </a:lnTo>
                        <a:lnTo>
                          <a:pt x="334" y="1140"/>
                        </a:lnTo>
                        <a:lnTo>
                          <a:pt x="343" y="1138"/>
                        </a:lnTo>
                        <a:lnTo>
                          <a:pt x="357" y="1136"/>
                        </a:lnTo>
                        <a:lnTo>
                          <a:pt x="368" y="1130"/>
                        </a:lnTo>
                        <a:lnTo>
                          <a:pt x="376" y="1121"/>
                        </a:lnTo>
                        <a:lnTo>
                          <a:pt x="382" y="1109"/>
                        </a:lnTo>
                        <a:lnTo>
                          <a:pt x="387" y="1096"/>
                        </a:lnTo>
                        <a:lnTo>
                          <a:pt x="387" y="1096"/>
                        </a:lnTo>
                        <a:lnTo>
                          <a:pt x="387" y="1094"/>
                        </a:lnTo>
                        <a:lnTo>
                          <a:pt x="391" y="1071"/>
                        </a:lnTo>
                        <a:lnTo>
                          <a:pt x="391" y="1048"/>
                        </a:lnTo>
                        <a:lnTo>
                          <a:pt x="391" y="1044"/>
                        </a:lnTo>
                        <a:lnTo>
                          <a:pt x="389" y="1032"/>
                        </a:lnTo>
                        <a:lnTo>
                          <a:pt x="386" y="1027"/>
                        </a:lnTo>
                        <a:lnTo>
                          <a:pt x="387" y="1017"/>
                        </a:lnTo>
                        <a:lnTo>
                          <a:pt x="391" y="1009"/>
                        </a:lnTo>
                        <a:lnTo>
                          <a:pt x="399" y="998"/>
                        </a:lnTo>
                        <a:lnTo>
                          <a:pt x="407" y="994"/>
                        </a:lnTo>
                        <a:lnTo>
                          <a:pt x="407" y="992"/>
                        </a:lnTo>
                        <a:lnTo>
                          <a:pt x="407" y="986"/>
                        </a:lnTo>
                        <a:lnTo>
                          <a:pt x="405" y="981"/>
                        </a:lnTo>
                        <a:lnTo>
                          <a:pt x="407" y="975"/>
                        </a:lnTo>
                        <a:lnTo>
                          <a:pt x="407" y="975"/>
                        </a:lnTo>
                        <a:lnTo>
                          <a:pt x="407" y="975"/>
                        </a:lnTo>
                        <a:lnTo>
                          <a:pt x="418" y="971"/>
                        </a:lnTo>
                        <a:lnTo>
                          <a:pt x="418" y="959"/>
                        </a:lnTo>
                        <a:lnTo>
                          <a:pt x="424" y="954"/>
                        </a:lnTo>
                        <a:lnTo>
                          <a:pt x="428" y="942"/>
                        </a:lnTo>
                        <a:lnTo>
                          <a:pt x="439" y="931"/>
                        </a:lnTo>
                        <a:lnTo>
                          <a:pt x="443" y="923"/>
                        </a:lnTo>
                        <a:lnTo>
                          <a:pt x="447" y="919"/>
                        </a:lnTo>
                        <a:lnTo>
                          <a:pt x="453" y="917"/>
                        </a:lnTo>
                        <a:lnTo>
                          <a:pt x="457" y="911"/>
                        </a:lnTo>
                        <a:lnTo>
                          <a:pt x="460" y="910"/>
                        </a:lnTo>
                        <a:lnTo>
                          <a:pt x="470" y="910"/>
                        </a:lnTo>
                        <a:lnTo>
                          <a:pt x="476" y="908"/>
                        </a:lnTo>
                        <a:lnTo>
                          <a:pt x="485" y="896"/>
                        </a:lnTo>
                        <a:lnTo>
                          <a:pt x="489" y="887"/>
                        </a:lnTo>
                        <a:lnTo>
                          <a:pt x="489" y="875"/>
                        </a:lnTo>
                        <a:lnTo>
                          <a:pt x="499" y="860"/>
                        </a:lnTo>
                        <a:lnTo>
                          <a:pt x="501" y="854"/>
                        </a:lnTo>
                        <a:lnTo>
                          <a:pt x="508" y="850"/>
                        </a:lnTo>
                        <a:lnTo>
                          <a:pt x="514" y="844"/>
                        </a:lnTo>
                        <a:lnTo>
                          <a:pt x="520" y="829"/>
                        </a:lnTo>
                        <a:lnTo>
                          <a:pt x="528" y="825"/>
                        </a:lnTo>
                        <a:lnTo>
                          <a:pt x="531" y="825"/>
                        </a:lnTo>
                        <a:lnTo>
                          <a:pt x="537" y="821"/>
                        </a:lnTo>
                        <a:lnTo>
                          <a:pt x="562" y="823"/>
                        </a:lnTo>
                        <a:lnTo>
                          <a:pt x="570" y="819"/>
                        </a:lnTo>
                        <a:lnTo>
                          <a:pt x="574" y="814"/>
                        </a:lnTo>
                        <a:lnTo>
                          <a:pt x="577" y="812"/>
                        </a:lnTo>
                        <a:lnTo>
                          <a:pt x="591" y="814"/>
                        </a:lnTo>
                        <a:lnTo>
                          <a:pt x="599" y="812"/>
                        </a:lnTo>
                        <a:lnTo>
                          <a:pt x="610" y="814"/>
                        </a:lnTo>
                        <a:lnTo>
                          <a:pt x="627" y="814"/>
                        </a:lnTo>
                        <a:lnTo>
                          <a:pt x="631" y="812"/>
                        </a:lnTo>
                        <a:lnTo>
                          <a:pt x="635" y="810"/>
                        </a:lnTo>
                        <a:lnTo>
                          <a:pt x="641" y="810"/>
                        </a:lnTo>
                        <a:lnTo>
                          <a:pt x="645" y="810"/>
                        </a:lnTo>
                        <a:lnTo>
                          <a:pt x="648" y="808"/>
                        </a:lnTo>
                        <a:lnTo>
                          <a:pt x="650" y="806"/>
                        </a:lnTo>
                        <a:lnTo>
                          <a:pt x="648" y="802"/>
                        </a:lnTo>
                        <a:lnTo>
                          <a:pt x="652" y="798"/>
                        </a:lnTo>
                        <a:lnTo>
                          <a:pt x="662" y="798"/>
                        </a:lnTo>
                        <a:lnTo>
                          <a:pt x="664" y="793"/>
                        </a:lnTo>
                        <a:lnTo>
                          <a:pt x="668" y="791"/>
                        </a:lnTo>
                        <a:lnTo>
                          <a:pt x="671" y="791"/>
                        </a:lnTo>
                        <a:lnTo>
                          <a:pt x="675" y="796"/>
                        </a:lnTo>
                        <a:lnTo>
                          <a:pt x="679" y="802"/>
                        </a:lnTo>
                        <a:lnTo>
                          <a:pt x="683" y="804"/>
                        </a:lnTo>
                        <a:lnTo>
                          <a:pt x="689" y="814"/>
                        </a:lnTo>
                        <a:lnTo>
                          <a:pt x="693" y="816"/>
                        </a:lnTo>
                        <a:lnTo>
                          <a:pt x="698" y="816"/>
                        </a:lnTo>
                        <a:lnTo>
                          <a:pt x="700" y="814"/>
                        </a:lnTo>
                        <a:lnTo>
                          <a:pt x="704" y="806"/>
                        </a:lnTo>
                        <a:lnTo>
                          <a:pt x="712" y="804"/>
                        </a:lnTo>
                        <a:lnTo>
                          <a:pt x="718" y="800"/>
                        </a:lnTo>
                        <a:lnTo>
                          <a:pt x="723" y="791"/>
                        </a:lnTo>
                        <a:lnTo>
                          <a:pt x="727" y="781"/>
                        </a:lnTo>
                        <a:lnTo>
                          <a:pt x="733" y="777"/>
                        </a:lnTo>
                        <a:lnTo>
                          <a:pt x="737" y="773"/>
                        </a:lnTo>
                        <a:lnTo>
                          <a:pt x="758" y="773"/>
                        </a:lnTo>
                        <a:lnTo>
                          <a:pt x="760" y="766"/>
                        </a:lnTo>
                        <a:lnTo>
                          <a:pt x="769" y="764"/>
                        </a:lnTo>
                        <a:lnTo>
                          <a:pt x="777" y="762"/>
                        </a:lnTo>
                        <a:lnTo>
                          <a:pt x="783" y="760"/>
                        </a:lnTo>
                        <a:lnTo>
                          <a:pt x="790" y="764"/>
                        </a:lnTo>
                        <a:lnTo>
                          <a:pt x="798" y="766"/>
                        </a:lnTo>
                        <a:lnTo>
                          <a:pt x="804" y="766"/>
                        </a:lnTo>
                        <a:lnTo>
                          <a:pt x="813" y="766"/>
                        </a:lnTo>
                        <a:lnTo>
                          <a:pt x="821" y="766"/>
                        </a:lnTo>
                        <a:lnTo>
                          <a:pt x="836" y="764"/>
                        </a:lnTo>
                        <a:lnTo>
                          <a:pt x="844" y="764"/>
                        </a:lnTo>
                        <a:lnTo>
                          <a:pt x="850" y="768"/>
                        </a:lnTo>
                        <a:lnTo>
                          <a:pt x="865" y="771"/>
                        </a:lnTo>
                        <a:lnTo>
                          <a:pt x="875" y="771"/>
                        </a:lnTo>
                        <a:lnTo>
                          <a:pt x="879" y="773"/>
                        </a:lnTo>
                        <a:lnTo>
                          <a:pt x="892" y="773"/>
                        </a:lnTo>
                        <a:lnTo>
                          <a:pt x="898" y="769"/>
                        </a:lnTo>
                        <a:lnTo>
                          <a:pt x="906" y="769"/>
                        </a:lnTo>
                        <a:lnTo>
                          <a:pt x="927" y="779"/>
                        </a:lnTo>
                        <a:lnTo>
                          <a:pt x="932" y="781"/>
                        </a:lnTo>
                        <a:lnTo>
                          <a:pt x="936" y="787"/>
                        </a:lnTo>
                        <a:lnTo>
                          <a:pt x="940" y="787"/>
                        </a:lnTo>
                        <a:lnTo>
                          <a:pt x="946" y="791"/>
                        </a:lnTo>
                        <a:lnTo>
                          <a:pt x="952" y="796"/>
                        </a:lnTo>
                        <a:lnTo>
                          <a:pt x="957" y="798"/>
                        </a:lnTo>
                        <a:lnTo>
                          <a:pt x="961" y="796"/>
                        </a:lnTo>
                        <a:lnTo>
                          <a:pt x="963" y="793"/>
                        </a:lnTo>
                        <a:lnTo>
                          <a:pt x="969" y="794"/>
                        </a:lnTo>
                        <a:lnTo>
                          <a:pt x="973" y="789"/>
                        </a:lnTo>
                        <a:lnTo>
                          <a:pt x="978" y="789"/>
                        </a:lnTo>
                        <a:lnTo>
                          <a:pt x="978" y="785"/>
                        </a:lnTo>
                        <a:lnTo>
                          <a:pt x="984" y="783"/>
                        </a:lnTo>
                        <a:lnTo>
                          <a:pt x="988" y="783"/>
                        </a:lnTo>
                        <a:lnTo>
                          <a:pt x="990" y="783"/>
                        </a:lnTo>
                        <a:lnTo>
                          <a:pt x="994" y="777"/>
                        </a:lnTo>
                        <a:lnTo>
                          <a:pt x="1003" y="775"/>
                        </a:lnTo>
                        <a:lnTo>
                          <a:pt x="1019" y="768"/>
                        </a:lnTo>
                        <a:lnTo>
                          <a:pt x="1017" y="762"/>
                        </a:lnTo>
                        <a:lnTo>
                          <a:pt x="1017" y="758"/>
                        </a:lnTo>
                        <a:lnTo>
                          <a:pt x="1019" y="754"/>
                        </a:lnTo>
                        <a:lnTo>
                          <a:pt x="1023" y="750"/>
                        </a:lnTo>
                        <a:lnTo>
                          <a:pt x="1025" y="748"/>
                        </a:lnTo>
                        <a:lnTo>
                          <a:pt x="1032" y="746"/>
                        </a:lnTo>
                        <a:lnTo>
                          <a:pt x="1036" y="748"/>
                        </a:lnTo>
                        <a:lnTo>
                          <a:pt x="1042" y="739"/>
                        </a:lnTo>
                        <a:lnTo>
                          <a:pt x="1046" y="739"/>
                        </a:lnTo>
                        <a:lnTo>
                          <a:pt x="1061" y="731"/>
                        </a:lnTo>
                        <a:lnTo>
                          <a:pt x="1065" y="727"/>
                        </a:lnTo>
                        <a:lnTo>
                          <a:pt x="1069" y="720"/>
                        </a:lnTo>
                        <a:lnTo>
                          <a:pt x="1076" y="718"/>
                        </a:lnTo>
                        <a:lnTo>
                          <a:pt x="1078" y="714"/>
                        </a:lnTo>
                        <a:lnTo>
                          <a:pt x="1078" y="710"/>
                        </a:lnTo>
                        <a:lnTo>
                          <a:pt x="1069" y="685"/>
                        </a:lnTo>
                        <a:lnTo>
                          <a:pt x="1067" y="675"/>
                        </a:lnTo>
                        <a:lnTo>
                          <a:pt x="1074" y="668"/>
                        </a:lnTo>
                        <a:lnTo>
                          <a:pt x="1073" y="660"/>
                        </a:lnTo>
                        <a:lnTo>
                          <a:pt x="1073" y="656"/>
                        </a:lnTo>
                        <a:lnTo>
                          <a:pt x="1078" y="649"/>
                        </a:lnTo>
                        <a:lnTo>
                          <a:pt x="1086" y="645"/>
                        </a:lnTo>
                        <a:lnTo>
                          <a:pt x="1090" y="641"/>
                        </a:lnTo>
                        <a:lnTo>
                          <a:pt x="1092" y="633"/>
                        </a:lnTo>
                        <a:lnTo>
                          <a:pt x="1092" y="627"/>
                        </a:lnTo>
                        <a:lnTo>
                          <a:pt x="1084" y="620"/>
                        </a:lnTo>
                        <a:lnTo>
                          <a:pt x="1073" y="612"/>
                        </a:lnTo>
                        <a:lnTo>
                          <a:pt x="1059" y="614"/>
                        </a:lnTo>
                        <a:lnTo>
                          <a:pt x="1055" y="612"/>
                        </a:lnTo>
                        <a:lnTo>
                          <a:pt x="1049" y="604"/>
                        </a:lnTo>
                        <a:lnTo>
                          <a:pt x="1051" y="595"/>
                        </a:lnTo>
                        <a:lnTo>
                          <a:pt x="1053" y="589"/>
                        </a:lnTo>
                        <a:lnTo>
                          <a:pt x="1055" y="580"/>
                        </a:lnTo>
                        <a:lnTo>
                          <a:pt x="1057" y="570"/>
                        </a:lnTo>
                        <a:lnTo>
                          <a:pt x="1061" y="566"/>
                        </a:lnTo>
                        <a:lnTo>
                          <a:pt x="1063" y="562"/>
                        </a:lnTo>
                        <a:lnTo>
                          <a:pt x="1069" y="560"/>
                        </a:lnTo>
                        <a:lnTo>
                          <a:pt x="1074" y="547"/>
                        </a:lnTo>
                        <a:lnTo>
                          <a:pt x="1076" y="547"/>
                        </a:lnTo>
                        <a:lnTo>
                          <a:pt x="1080" y="547"/>
                        </a:lnTo>
                        <a:lnTo>
                          <a:pt x="1084" y="547"/>
                        </a:lnTo>
                        <a:lnTo>
                          <a:pt x="1088" y="543"/>
                        </a:lnTo>
                        <a:lnTo>
                          <a:pt x="1090" y="535"/>
                        </a:lnTo>
                        <a:lnTo>
                          <a:pt x="1099" y="532"/>
                        </a:lnTo>
                        <a:lnTo>
                          <a:pt x="1103" y="526"/>
                        </a:lnTo>
                        <a:lnTo>
                          <a:pt x="1111" y="524"/>
                        </a:lnTo>
                        <a:lnTo>
                          <a:pt x="1115" y="518"/>
                        </a:lnTo>
                        <a:lnTo>
                          <a:pt x="1117" y="514"/>
                        </a:lnTo>
                        <a:lnTo>
                          <a:pt x="1115" y="505"/>
                        </a:lnTo>
                        <a:lnTo>
                          <a:pt x="1107" y="493"/>
                        </a:lnTo>
                        <a:lnTo>
                          <a:pt x="1105" y="484"/>
                        </a:lnTo>
                        <a:lnTo>
                          <a:pt x="1099" y="476"/>
                        </a:lnTo>
                        <a:lnTo>
                          <a:pt x="1099" y="462"/>
                        </a:lnTo>
                        <a:lnTo>
                          <a:pt x="1096" y="455"/>
                        </a:lnTo>
                        <a:lnTo>
                          <a:pt x="1088" y="445"/>
                        </a:lnTo>
                        <a:lnTo>
                          <a:pt x="1076" y="438"/>
                        </a:lnTo>
                        <a:lnTo>
                          <a:pt x="1067" y="430"/>
                        </a:lnTo>
                        <a:lnTo>
                          <a:pt x="1063" y="422"/>
                        </a:lnTo>
                        <a:lnTo>
                          <a:pt x="1061" y="416"/>
                        </a:lnTo>
                        <a:lnTo>
                          <a:pt x="1061" y="407"/>
                        </a:lnTo>
                        <a:lnTo>
                          <a:pt x="1065" y="395"/>
                        </a:lnTo>
                        <a:lnTo>
                          <a:pt x="1080" y="380"/>
                        </a:lnTo>
                        <a:lnTo>
                          <a:pt x="1082" y="378"/>
                        </a:lnTo>
                        <a:lnTo>
                          <a:pt x="1080" y="372"/>
                        </a:lnTo>
                        <a:lnTo>
                          <a:pt x="1086" y="363"/>
                        </a:lnTo>
                        <a:lnTo>
                          <a:pt x="1084" y="355"/>
                        </a:lnTo>
                        <a:lnTo>
                          <a:pt x="1088" y="340"/>
                        </a:lnTo>
                        <a:lnTo>
                          <a:pt x="1099" y="326"/>
                        </a:lnTo>
                        <a:lnTo>
                          <a:pt x="1103" y="326"/>
                        </a:lnTo>
                        <a:lnTo>
                          <a:pt x="1111" y="326"/>
                        </a:lnTo>
                        <a:lnTo>
                          <a:pt x="1119" y="319"/>
                        </a:lnTo>
                        <a:lnTo>
                          <a:pt x="1126" y="315"/>
                        </a:lnTo>
                        <a:lnTo>
                          <a:pt x="1149" y="311"/>
                        </a:lnTo>
                        <a:lnTo>
                          <a:pt x="1149" y="309"/>
                        </a:lnTo>
                        <a:lnTo>
                          <a:pt x="1170" y="307"/>
                        </a:lnTo>
                        <a:lnTo>
                          <a:pt x="1182" y="303"/>
                        </a:lnTo>
                        <a:lnTo>
                          <a:pt x="1186" y="299"/>
                        </a:lnTo>
                        <a:lnTo>
                          <a:pt x="1184" y="296"/>
                        </a:lnTo>
                        <a:lnTo>
                          <a:pt x="1180" y="278"/>
                        </a:lnTo>
                        <a:lnTo>
                          <a:pt x="1174" y="265"/>
                        </a:lnTo>
                        <a:lnTo>
                          <a:pt x="1174" y="249"/>
                        </a:lnTo>
                        <a:lnTo>
                          <a:pt x="1168" y="236"/>
                        </a:lnTo>
                        <a:lnTo>
                          <a:pt x="1168" y="225"/>
                        </a:lnTo>
                        <a:lnTo>
                          <a:pt x="1170" y="213"/>
                        </a:lnTo>
                        <a:lnTo>
                          <a:pt x="1180" y="205"/>
                        </a:lnTo>
                        <a:lnTo>
                          <a:pt x="1182" y="200"/>
                        </a:lnTo>
                        <a:lnTo>
                          <a:pt x="1182" y="190"/>
                        </a:lnTo>
                        <a:lnTo>
                          <a:pt x="1178" y="190"/>
                        </a:lnTo>
                        <a:lnTo>
                          <a:pt x="1172" y="182"/>
                        </a:lnTo>
                        <a:lnTo>
                          <a:pt x="1167" y="173"/>
                        </a:lnTo>
                        <a:lnTo>
                          <a:pt x="1168" y="167"/>
                        </a:lnTo>
                        <a:lnTo>
                          <a:pt x="1178" y="159"/>
                        </a:lnTo>
                        <a:lnTo>
                          <a:pt x="1178" y="157"/>
                        </a:lnTo>
                        <a:lnTo>
                          <a:pt x="1174" y="142"/>
                        </a:lnTo>
                        <a:lnTo>
                          <a:pt x="1174" y="140"/>
                        </a:lnTo>
                        <a:lnTo>
                          <a:pt x="1178" y="136"/>
                        </a:lnTo>
                        <a:lnTo>
                          <a:pt x="1193" y="134"/>
                        </a:lnTo>
                        <a:lnTo>
                          <a:pt x="1205" y="136"/>
                        </a:lnTo>
                        <a:lnTo>
                          <a:pt x="1218" y="144"/>
                        </a:lnTo>
                        <a:lnTo>
                          <a:pt x="1226" y="148"/>
                        </a:lnTo>
                        <a:lnTo>
                          <a:pt x="1230" y="150"/>
                        </a:lnTo>
                        <a:lnTo>
                          <a:pt x="1239" y="150"/>
                        </a:lnTo>
                        <a:lnTo>
                          <a:pt x="1245" y="146"/>
                        </a:lnTo>
                        <a:lnTo>
                          <a:pt x="1247" y="142"/>
                        </a:lnTo>
                        <a:lnTo>
                          <a:pt x="1249" y="136"/>
                        </a:lnTo>
                        <a:lnTo>
                          <a:pt x="1245" y="129"/>
                        </a:lnTo>
                        <a:lnTo>
                          <a:pt x="1247" y="117"/>
                        </a:lnTo>
                        <a:lnTo>
                          <a:pt x="1247" y="104"/>
                        </a:lnTo>
                        <a:lnTo>
                          <a:pt x="1241" y="94"/>
                        </a:lnTo>
                        <a:lnTo>
                          <a:pt x="1255" y="77"/>
                        </a:lnTo>
                        <a:lnTo>
                          <a:pt x="1257" y="75"/>
                        </a:lnTo>
                        <a:lnTo>
                          <a:pt x="1262" y="77"/>
                        </a:lnTo>
                        <a:lnTo>
                          <a:pt x="1266" y="81"/>
                        </a:lnTo>
                        <a:lnTo>
                          <a:pt x="1286" y="98"/>
                        </a:lnTo>
                        <a:lnTo>
                          <a:pt x="1289" y="98"/>
                        </a:lnTo>
                        <a:lnTo>
                          <a:pt x="1289" y="111"/>
                        </a:lnTo>
                        <a:lnTo>
                          <a:pt x="1291" y="115"/>
                        </a:lnTo>
                        <a:lnTo>
                          <a:pt x="1305" y="123"/>
                        </a:lnTo>
                        <a:lnTo>
                          <a:pt x="1332" y="121"/>
                        </a:lnTo>
                        <a:lnTo>
                          <a:pt x="1335" y="119"/>
                        </a:lnTo>
                        <a:lnTo>
                          <a:pt x="1345" y="111"/>
                        </a:lnTo>
                        <a:lnTo>
                          <a:pt x="1345" y="111"/>
                        </a:lnTo>
                        <a:lnTo>
                          <a:pt x="1351" y="121"/>
                        </a:lnTo>
                        <a:lnTo>
                          <a:pt x="1351" y="134"/>
                        </a:lnTo>
                        <a:lnTo>
                          <a:pt x="1351" y="146"/>
                        </a:lnTo>
                        <a:lnTo>
                          <a:pt x="1343" y="154"/>
                        </a:lnTo>
                        <a:lnTo>
                          <a:pt x="1339" y="161"/>
                        </a:lnTo>
                        <a:lnTo>
                          <a:pt x="1332" y="173"/>
                        </a:lnTo>
                        <a:lnTo>
                          <a:pt x="1339" y="177"/>
                        </a:lnTo>
                        <a:lnTo>
                          <a:pt x="1343" y="175"/>
                        </a:lnTo>
                        <a:lnTo>
                          <a:pt x="1353" y="165"/>
                        </a:lnTo>
                        <a:lnTo>
                          <a:pt x="1366" y="167"/>
                        </a:lnTo>
                        <a:lnTo>
                          <a:pt x="1376" y="163"/>
                        </a:lnTo>
                        <a:lnTo>
                          <a:pt x="1395" y="159"/>
                        </a:lnTo>
                        <a:lnTo>
                          <a:pt x="1406" y="152"/>
                        </a:lnTo>
                        <a:lnTo>
                          <a:pt x="1424" y="134"/>
                        </a:lnTo>
                        <a:lnTo>
                          <a:pt x="1447" y="132"/>
                        </a:lnTo>
                        <a:lnTo>
                          <a:pt x="1460" y="125"/>
                        </a:lnTo>
                        <a:lnTo>
                          <a:pt x="1466" y="121"/>
                        </a:lnTo>
                        <a:lnTo>
                          <a:pt x="1477" y="106"/>
                        </a:lnTo>
                        <a:lnTo>
                          <a:pt x="1485" y="100"/>
                        </a:lnTo>
                        <a:lnTo>
                          <a:pt x="1502" y="92"/>
                        </a:lnTo>
                        <a:lnTo>
                          <a:pt x="1522" y="90"/>
                        </a:lnTo>
                        <a:lnTo>
                          <a:pt x="1533" y="77"/>
                        </a:lnTo>
                        <a:lnTo>
                          <a:pt x="1562" y="61"/>
                        </a:lnTo>
                        <a:lnTo>
                          <a:pt x="1570" y="54"/>
                        </a:lnTo>
                        <a:lnTo>
                          <a:pt x="1577" y="44"/>
                        </a:lnTo>
                        <a:lnTo>
                          <a:pt x="1585" y="42"/>
                        </a:lnTo>
                        <a:lnTo>
                          <a:pt x="1594" y="33"/>
                        </a:lnTo>
                        <a:lnTo>
                          <a:pt x="1604" y="31"/>
                        </a:lnTo>
                        <a:lnTo>
                          <a:pt x="1616" y="21"/>
                        </a:lnTo>
                        <a:lnTo>
                          <a:pt x="1637" y="12"/>
                        </a:lnTo>
                        <a:lnTo>
                          <a:pt x="1650" y="6"/>
                        </a:lnTo>
                        <a:lnTo>
                          <a:pt x="1660" y="2"/>
                        </a:lnTo>
                        <a:lnTo>
                          <a:pt x="1669" y="2"/>
                        </a:lnTo>
                        <a:lnTo>
                          <a:pt x="1675" y="2"/>
                        </a:lnTo>
                        <a:lnTo>
                          <a:pt x="1685" y="0"/>
                        </a:lnTo>
                        <a:lnTo>
                          <a:pt x="1710" y="8"/>
                        </a:lnTo>
                        <a:lnTo>
                          <a:pt x="1733" y="10"/>
                        </a:lnTo>
                        <a:lnTo>
                          <a:pt x="1750" y="17"/>
                        </a:lnTo>
                        <a:lnTo>
                          <a:pt x="1758" y="19"/>
                        </a:lnTo>
                        <a:lnTo>
                          <a:pt x="1763" y="17"/>
                        </a:lnTo>
                        <a:lnTo>
                          <a:pt x="1750" y="52"/>
                        </a:lnTo>
                        <a:lnTo>
                          <a:pt x="1748" y="65"/>
                        </a:lnTo>
                        <a:lnTo>
                          <a:pt x="1752" y="81"/>
                        </a:lnTo>
                        <a:lnTo>
                          <a:pt x="1756" y="84"/>
                        </a:lnTo>
                        <a:lnTo>
                          <a:pt x="1771" y="88"/>
                        </a:lnTo>
                        <a:lnTo>
                          <a:pt x="1786" y="100"/>
                        </a:lnTo>
                        <a:lnTo>
                          <a:pt x="1804" y="106"/>
                        </a:lnTo>
                        <a:lnTo>
                          <a:pt x="1809" y="115"/>
                        </a:lnTo>
                        <a:lnTo>
                          <a:pt x="1815" y="115"/>
                        </a:lnTo>
                        <a:lnTo>
                          <a:pt x="1821" y="113"/>
                        </a:lnTo>
                        <a:lnTo>
                          <a:pt x="1827" y="104"/>
                        </a:lnTo>
                        <a:lnTo>
                          <a:pt x="1830" y="102"/>
                        </a:lnTo>
                        <a:lnTo>
                          <a:pt x="1834" y="98"/>
                        </a:lnTo>
                        <a:lnTo>
                          <a:pt x="1840" y="96"/>
                        </a:lnTo>
                        <a:lnTo>
                          <a:pt x="1846" y="94"/>
                        </a:lnTo>
                        <a:lnTo>
                          <a:pt x="1852" y="94"/>
                        </a:lnTo>
                        <a:lnTo>
                          <a:pt x="1857" y="88"/>
                        </a:lnTo>
                        <a:lnTo>
                          <a:pt x="1867" y="86"/>
                        </a:lnTo>
                        <a:lnTo>
                          <a:pt x="1877" y="86"/>
                        </a:lnTo>
                        <a:lnTo>
                          <a:pt x="1886" y="92"/>
                        </a:lnTo>
                        <a:lnTo>
                          <a:pt x="1890" y="94"/>
                        </a:lnTo>
                        <a:lnTo>
                          <a:pt x="1911" y="98"/>
                        </a:lnTo>
                        <a:lnTo>
                          <a:pt x="1917" y="102"/>
                        </a:lnTo>
                        <a:lnTo>
                          <a:pt x="1921" y="102"/>
                        </a:lnTo>
                        <a:lnTo>
                          <a:pt x="1942" y="117"/>
                        </a:lnTo>
                        <a:lnTo>
                          <a:pt x="1948" y="123"/>
                        </a:lnTo>
                        <a:lnTo>
                          <a:pt x="1949" y="134"/>
                        </a:lnTo>
                        <a:lnTo>
                          <a:pt x="1971" y="148"/>
                        </a:lnTo>
                        <a:lnTo>
                          <a:pt x="1992" y="157"/>
                        </a:lnTo>
                        <a:lnTo>
                          <a:pt x="1996" y="163"/>
                        </a:lnTo>
                        <a:lnTo>
                          <a:pt x="1997" y="163"/>
                        </a:lnTo>
                        <a:lnTo>
                          <a:pt x="2003" y="167"/>
                        </a:lnTo>
                        <a:lnTo>
                          <a:pt x="2011" y="171"/>
                        </a:lnTo>
                        <a:lnTo>
                          <a:pt x="2038" y="188"/>
                        </a:lnTo>
                        <a:lnTo>
                          <a:pt x="2043" y="188"/>
                        </a:lnTo>
                        <a:lnTo>
                          <a:pt x="2049" y="184"/>
                        </a:lnTo>
                        <a:lnTo>
                          <a:pt x="2055" y="186"/>
                        </a:lnTo>
                        <a:lnTo>
                          <a:pt x="2063" y="194"/>
                        </a:lnTo>
                        <a:lnTo>
                          <a:pt x="2072" y="198"/>
                        </a:lnTo>
                        <a:lnTo>
                          <a:pt x="2091" y="200"/>
                        </a:lnTo>
                        <a:lnTo>
                          <a:pt x="2099" y="203"/>
                        </a:lnTo>
                        <a:lnTo>
                          <a:pt x="2113" y="201"/>
                        </a:lnTo>
                        <a:lnTo>
                          <a:pt x="2120" y="192"/>
                        </a:lnTo>
                        <a:lnTo>
                          <a:pt x="2134" y="192"/>
                        </a:lnTo>
                        <a:lnTo>
                          <a:pt x="2197" y="263"/>
                        </a:lnTo>
                        <a:lnTo>
                          <a:pt x="2199" y="265"/>
                        </a:lnTo>
                        <a:lnTo>
                          <a:pt x="2205" y="272"/>
                        </a:lnTo>
                        <a:lnTo>
                          <a:pt x="2209" y="280"/>
                        </a:lnTo>
                        <a:lnTo>
                          <a:pt x="2209" y="290"/>
                        </a:lnTo>
                        <a:lnTo>
                          <a:pt x="2207" y="315"/>
                        </a:lnTo>
                        <a:lnTo>
                          <a:pt x="2212" y="320"/>
                        </a:lnTo>
                        <a:lnTo>
                          <a:pt x="2222" y="322"/>
                        </a:lnTo>
                        <a:lnTo>
                          <a:pt x="2235" y="330"/>
                        </a:lnTo>
                        <a:lnTo>
                          <a:pt x="2237" y="330"/>
                        </a:lnTo>
                        <a:lnTo>
                          <a:pt x="2247" y="326"/>
                        </a:lnTo>
                        <a:lnTo>
                          <a:pt x="2264" y="322"/>
                        </a:lnTo>
                        <a:lnTo>
                          <a:pt x="2270" y="313"/>
                        </a:lnTo>
                        <a:lnTo>
                          <a:pt x="2276" y="309"/>
                        </a:lnTo>
                        <a:lnTo>
                          <a:pt x="2280" y="309"/>
                        </a:lnTo>
                        <a:lnTo>
                          <a:pt x="2285" y="317"/>
                        </a:lnTo>
                        <a:lnTo>
                          <a:pt x="2291" y="320"/>
                        </a:lnTo>
                        <a:lnTo>
                          <a:pt x="2295" y="320"/>
                        </a:lnTo>
                        <a:lnTo>
                          <a:pt x="2299" y="317"/>
                        </a:lnTo>
                        <a:lnTo>
                          <a:pt x="2303" y="315"/>
                        </a:lnTo>
                        <a:lnTo>
                          <a:pt x="2306" y="315"/>
                        </a:lnTo>
                        <a:lnTo>
                          <a:pt x="2310" y="324"/>
                        </a:lnTo>
                        <a:lnTo>
                          <a:pt x="2314" y="328"/>
                        </a:lnTo>
                        <a:lnTo>
                          <a:pt x="2320" y="328"/>
                        </a:lnTo>
                        <a:lnTo>
                          <a:pt x="2322" y="328"/>
                        </a:lnTo>
                        <a:lnTo>
                          <a:pt x="2329" y="324"/>
                        </a:lnTo>
                        <a:lnTo>
                          <a:pt x="2337" y="324"/>
                        </a:lnTo>
                        <a:lnTo>
                          <a:pt x="2343" y="326"/>
                        </a:lnTo>
                        <a:lnTo>
                          <a:pt x="2349" y="340"/>
                        </a:lnTo>
                        <a:lnTo>
                          <a:pt x="2356" y="340"/>
                        </a:lnTo>
                        <a:lnTo>
                          <a:pt x="2366" y="336"/>
                        </a:lnTo>
                        <a:lnTo>
                          <a:pt x="2372" y="334"/>
                        </a:lnTo>
                        <a:lnTo>
                          <a:pt x="2375" y="340"/>
                        </a:lnTo>
                        <a:lnTo>
                          <a:pt x="2379" y="342"/>
                        </a:lnTo>
                        <a:lnTo>
                          <a:pt x="2383" y="343"/>
                        </a:lnTo>
                        <a:lnTo>
                          <a:pt x="2395" y="347"/>
                        </a:lnTo>
                        <a:lnTo>
                          <a:pt x="2414" y="349"/>
                        </a:lnTo>
                        <a:lnTo>
                          <a:pt x="2425" y="361"/>
                        </a:lnTo>
                        <a:lnTo>
                          <a:pt x="2443" y="370"/>
                        </a:lnTo>
                        <a:lnTo>
                          <a:pt x="2443" y="372"/>
                        </a:lnTo>
                        <a:lnTo>
                          <a:pt x="2445" y="374"/>
                        </a:lnTo>
                        <a:lnTo>
                          <a:pt x="2450" y="384"/>
                        </a:lnTo>
                        <a:lnTo>
                          <a:pt x="2462" y="388"/>
                        </a:lnTo>
                        <a:lnTo>
                          <a:pt x="2462" y="391"/>
                        </a:lnTo>
                        <a:lnTo>
                          <a:pt x="2471" y="397"/>
                        </a:lnTo>
                        <a:lnTo>
                          <a:pt x="2473" y="405"/>
                        </a:lnTo>
                        <a:lnTo>
                          <a:pt x="2479" y="414"/>
                        </a:lnTo>
                        <a:lnTo>
                          <a:pt x="2479" y="428"/>
                        </a:lnTo>
                        <a:lnTo>
                          <a:pt x="2460" y="457"/>
                        </a:lnTo>
                        <a:lnTo>
                          <a:pt x="2456" y="461"/>
                        </a:lnTo>
                        <a:lnTo>
                          <a:pt x="2450" y="462"/>
                        </a:lnTo>
                        <a:lnTo>
                          <a:pt x="2439" y="468"/>
                        </a:lnTo>
                        <a:lnTo>
                          <a:pt x="2433" y="476"/>
                        </a:lnTo>
                        <a:lnTo>
                          <a:pt x="2429" y="480"/>
                        </a:lnTo>
                        <a:lnTo>
                          <a:pt x="2427" y="493"/>
                        </a:lnTo>
                        <a:lnTo>
                          <a:pt x="2425" y="497"/>
                        </a:lnTo>
                        <a:lnTo>
                          <a:pt x="2414" y="493"/>
                        </a:lnTo>
                        <a:lnTo>
                          <a:pt x="2408" y="493"/>
                        </a:lnTo>
                        <a:lnTo>
                          <a:pt x="2402" y="501"/>
                        </a:lnTo>
                        <a:lnTo>
                          <a:pt x="2397" y="512"/>
                        </a:lnTo>
                        <a:lnTo>
                          <a:pt x="2395" y="522"/>
                        </a:lnTo>
                        <a:lnTo>
                          <a:pt x="2395" y="535"/>
                        </a:lnTo>
                        <a:lnTo>
                          <a:pt x="2400" y="549"/>
                        </a:lnTo>
                        <a:lnTo>
                          <a:pt x="2400" y="555"/>
                        </a:lnTo>
                        <a:lnTo>
                          <a:pt x="2395" y="560"/>
                        </a:lnTo>
                        <a:lnTo>
                          <a:pt x="2383" y="562"/>
                        </a:lnTo>
                        <a:lnTo>
                          <a:pt x="2366" y="562"/>
                        </a:lnTo>
                        <a:lnTo>
                          <a:pt x="2352" y="562"/>
                        </a:lnTo>
                        <a:lnTo>
                          <a:pt x="2349" y="564"/>
                        </a:lnTo>
                        <a:lnTo>
                          <a:pt x="2343" y="572"/>
                        </a:lnTo>
                        <a:lnTo>
                          <a:pt x="2335" y="591"/>
                        </a:lnTo>
                        <a:lnTo>
                          <a:pt x="2333" y="612"/>
                        </a:lnTo>
                        <a:lnTo>
                          <a:pt x="2333" y="626"/>
                        </a:lnTo>
                        <a:lnTo>
                          <a:pt x="2329" y="631"/>
                        </a:lnTo>
                        <a:lnTo>
                          <a:pt x="2331" y="639"/>
                        </a:lnTo>
                        <a:lnTo>
                          <a:pt x="2329" y="643"/>
                        </a:lnTo>
                        <a:lnTo>
                          <a:pt x="2324" y="647"/>
                        </a:lnTo>
                        <a:lnTo>
                          <a:pt x="2320" y="652"/>
                        </a:lnTo>
                        <a:lnTo>
                          <a:pt x="2322" y="656"/>
                        </a:lnTo>
                        <a:lnTo>
                          <a:pt x="2326" y="660"/>
                        </a:lnTo>
                        <a:lnTo>
                          <a:pt x="2329" y="656"/>
                        </a:lnTo>
                        <a:lnTo>
                          <a:pt x="2335" y="651"/>
                        </a:lnTo>
                        <a:lnTo>
                          <a:pt x="2337" y="649"/>
                        </a:lnTo>
                        <a:lnTo>
                          <a:pt x="2339" y="651"/>
                        </a:lnTo>
                        <a:lnTo>
                          <a:pt x="2335" y="658"/>
                        </a:lnTo>
                        <a:lnTo>
                          <a:pt x="2337" y="664"/>
                        </a:lnTo>
                        <a:lnTo>
                          <a:pt x="2343" y="666"/>
                        </a:lnTo>
                        <a:lnTo>
                          <a:pt x="2347" y="664"/>
                        </a:lnTo>
                        <a:lnTo>
                          <a:pt x="2349" y="664"/>
                        </a:lnTo>
                        <a:lnTo>
                          <a:pt x="2345" y="679"/>
                        </a:lnTo>
                        <a:lnTo>
                          <a:pt x="2345" y="689"/>
                        </a:lnTo>
                        <a:lnTo>
                          <a:pt x="2351" y="693"/>
                        </a:lnTo>
                        <a:lnTo>
                          <a:pt x="2356" y="695"/>
                        </a:lnTo>
                        <a:lnTo>
                          <a:pt x="2364" y="697"/>
                        </a:lnTo>
                        <a:lnTo>
                          <a:pt x="2368" y="710"/>
                        </a:lnTo>
                        <a:lnTo>
                          <a:pt x="2375" y="720"/>
                        </a:lnTo>
                        <a:lnTo>
                          <a:pt x="2377" y="723"/>
                        </a:lnTo>
                        <a:lnTo>
                          <a:pt x="2381" y="727"/>
                        </a:lnTo>
                        <a:lnTo>
                          <a:pt x="2383" y="729"/>
                        </a:lnTo>
                        <a:lnTo>
                          <a:pt x="2391" y="737"/>
                        </a:lnTo>
                        <a:lnTo>
                          <a:pt x="2393" y="741"/>
                        </a:lnTo>
                        <a:lnTo>
                          <a:pt x="2395" y="745"/>
                        </a:lnTo>
                        <a:lnTo>
                          <a:pt x="2395" y="752"/>
                        </a:lnTo>
                        <a:lnTo>
                          <a:pt x="2387" y="762"/>
                        </a:lnTo>
                        <a:lnTo>
                          <a:pt x="2385" y="768"/>
                        </a:lnTo>
                        <a:lnTo>
                          <a:pt x="2387" y="768"/>
                        </a:lnTo>
                        <a:lnTo>
                          <a:pt x="2433" y="812"/>
                        </a:lnTo>
                        <a:lnTo>
                          <a:pt x="2437" y="817"/>
                        </a:lnTo>
                        <a:lnTo>
                          <a:pt x="2437" y="817"/>
                        </a:lnTo>
                        <a:lnTo>
                          <a:pt x="2479" y="856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2" name="Freeform 87"/>
                  <p:cNvSpPr>
                    <a:spLocks/>
                  </p:cNvSpPr>
                  <p:nvPr/>
                </p:nvSpPr>
                <p:spPr bwMode="auto">
                  <a:xfrm>
                    <a:off x="7472363" y="6397625"/>
                    <a:ext cx="68263" cy="74613"/>
                  </a:xfrm>
                  <a:custGeom>
                    <a:avLst/>
                    <a:gdLst/>
                    <a:ahLst/>
                    <a:cxnLst>
                      <a:cxn ang="0">
                        <a:pos x="22" y="4"/>
                      </a:cxn>
                      <a:cxn ang="0">
                        <a:pos x="31" y="0"/>
                      </a:cxn>
                      <a:cxn ang="0">
                        <a:pos x="35" y="2"/>
                      </a:cxn>
                      <a:cxn ang="0">
                        <a:pos x="41" y="10"/>
                      </a:cxn>
                      <a:cxn ang="0">
                        <a:pos x="41" y="22"/>
                      </a:cxn>
                      <a:cxn ang="0">
                        <a:pos x="37" y="27"/>
                      </a:cxn>
                      <a:cxn ang="0">
                        <a:pos x="43" y="37"/>
                      </a:cxn>
                      <a:cxn ang="0">
                        <a:pos x="43" y="41"/>
                      </a:cxn>
                      <a:cxn ang="0">
                        <a:pos x="41" y="45"/>
                      </a:cxn>
                      <a:cxn ang="0">
                        <a:pos x="37" y="47"/>
                      </a:cxn>
                      <a:cxn ang="0">
                        <a:pos x="33" y="43"/>
                      </a:cxn>
                      <a:cxn ang="0">
                        <a:pos x="29" y="41"/>
                      </a:cxn>
                      <a:cxn ang="0">
                        <a:pos x="6" y="41"/>
                      </a:cxn>
                      <a:cxn ang="0">
                        <a:pos x="2" y="37"/>
                      </a:cxn>
                      <a:cxn ang="0">
                        <a:pos x="0" y="33"/>
                      </a:cxn>
                      <a:cxn ang="0">
                        <a:pos x="4" y="29"/>
                      </a:cxn>
                      <a:cxn ang="0">
                        <a:pos x="12" y="23"/>
                      </a:cxn>
                      <a:cxn ang="0">
                        <a:pos x="22" y="4"/>
                      </a:cxn>
                    </a:cxnLst>
                    <a:rect l="0" t="0" r="r" b="b"/>
                    <a:pathLst>
                      <a:path w="43" h="47">
                        <a:moveTo>
                          <a:pt x="22" y="4"/>
                        </a:moveTo>
                        <a:lnTo>
                          <a:pt x="31" y="0"/>
                        </a:lnTo>
                        <a:lnTo>
                          <a:pt x="35" y="2"/>
                        </a:lnTo>
                        <a:lnTo>
                          <a:pt x="41" y="10"/>
                        </a:lnTo>
                        <a:lnTo>
                          <a:pt x="41" y="22"/>
                        </a:lnTo>
                        <a:lnTo>
                          <a:pt x="37" y="27"/>
                        </a:lnTo>
                        <a:lnTo>
                          <a:pt x="43" y="37"/>
                        </a:lnTo>
                        <a:lnTo>
                          <a:pt x="43" y="41"/>
                        </a:lnTo>
                        <a:lnTo>
                          <a:pt x="41" y="45"/>
                        </a:lnTo>
                        <a:lnTo>
                          <a:pt x="37" y="47"/>
                        </a:lnTo>
                        <a:lnTo>
                          <a:pt x="33" y="43"/>
                        </a:lnTo>
                        <a:lnTo>
                          <a:pt x="29" y="41"/>
                        </a:lnTo>
                        <a:lnTo>
                          <a:pt x="6" y="41"/>
                        </a:lnTo>
                        <a:lnTo>
                          <a:pt x="2" y="37"/>
                        </a:lnTo>
                        <a:lnTo>
                          <a:pt x="0" y="33"/>
                        </a:lnTo>
                        <a:lnTo>
                          <a:pt x="4" y="29"/>
                        </a:lnTo>
                        <a:lnTo>
                          <a:pt x="12" y="23"/>
                        </a:ln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3" name="Freeform 88"/>
                  <p:cNvSpPr>
                    <a:spLocks/>
                  </p:cNvSpPr>
                  <p:nvPr/>
                </p:nvSpPr>
                <p:spPr bwMode="auto">
                  <a:xfrm>
                    <a:off x="6775450" y="6678612"/>
                    <a:ext cx="125413" cy="93663"/>
                  </a:xfrm>
                  <a:custGeom>
                    <a:avLst/>
                    <a:gdLst/>
                    <a:ahLst/>
                    <a:cxnLst>
                      <a:cxn ang="0">
                        <a:pos x="79" y="0"/>
                      </a:cxn>
                      <a:cxn ang="0">
                        <a:pos x="77" y="2"/>
                      </a:cxn>
                      <a:cxn ang="0">
                        <a:pos x="56" y="15"/>
                      </a:cxn>
                      <a:cxn ang="0">
                        <a:pos x="44" y="23"/>
                      </a:cxn>
                      <a:cxn ang="0">
                        <a:pos x="25" y="36"/>
                      </a:cxn>
                      <a:cxn ang="0">
                        <a:pos x="4" y="59"/>
                      </a:cxn>
                      <a:cxn ang="0">
                        <a:pos x="2" y="59"/>
                      </a:cxn>
                      <a:cxn ang="0">
                        <a:pos x="0" y="59"/>
                      </a:cxn>
                      <a:cxn ang="0">
                        <a:pos x="0" y="54"/>
                      </a:cxn>
                      <a:cxn ang="0">
                        <a:pos x="10" y="38"/>
                      </a:cxn>
                      <a:cxn ang="0">
                        <a:pos x="13" y="36"/>
                      </a:cxn>
                      <a:cxn ang="0">
                        <a:pos x="23" y="33"/>
                      </a:cxn>
                      <a:cxn ang="0">
                        <a:pos x="27" y="27"/>
                      </a:cxn>
                      <a:cxn ang="0">
                        <a:pos x="33" y="25"/>
                      </a:cxn>
                      <a:cxn ang="0">
                        <a:pos x="38" y="17"/>
                      </a:cxn>
                      <a:cxn ang="0">
                        <a:pos x="46" y="15"/>
                      </a:cxn>
                      <a:cxn ang="0">
                        <a:pos x="54" y="8"/>
                      </a:cxn>
                      <a:cxn ang="0">
                        <a:pos x="61" y="4"/>
                      </a:cxn>
                      <a:cxn ang="0">
                        <a:pos x="79" y="0"/>
                      </a:cxn>
                    </a:cxnLst>
                    <a:rect l="0" t="0" r="r" b="b"/>
                    <a:pathLst>
                      <a:path w="79" h="59">
                        <a:moveTo>
                          <a:pt x="79" y="0"/>
                        </a:moveTo>
                        <a:lnTo>
                          <a:pt x="77" y="2"/>
                        </a:lnTo>
                        <a:lnTo>
                          <a:pt x="56" y="15"/>
                        </a:lnTo>
                        <a:lnTo>
                          <a:pt x="44" y="23"/>
                        </a:lnTo>
                        <a:lnTo>
                          <a:pt x="25" y="36"/>
                        </a:lnTo>
                        <a:lnTo>
                          <a:pt x="4" y="59"/>
                        </a:lnTo>
                        <a:lnTo>
                          <a:pt x="2" y="59"/>
                        </a:lnTo>
                        <a:lnTo>
                          <a:pt x="0" y="59"/>
                        </a:lnTo>
                        <a:lnTo>
                          <a:pt x="0" y="54"/>
                        </a:lnTo>
                        <a:lnTo>
                          <a:pt x="10" y="38"/>
                        </a:lnTo>
                        <a:lnTo>
                          <a:pt x="13" y="36"/>
                        </a:lnTo>
                        <a:lnTo>
                          <a:pt x="23" y="33"/>
                        </a:lnTo>
                        <a:lnTo>
                          <a:pt x="27" y="27"/>
                        </a:lnTo>
                        <a:lnTo>
                          <a:pt x="33" y="25"/>
                        </a:lnTo>
                        <a:lnTo>
                          <a:pt x="38" y="17"/>
                        </a:lnTo>
                        <a:lnTo>
                          <a:pt x="46" y="15"/>
                        </a:lnTo>
                        <a:lnTo>
                          <a:pt x="54" y="8"/>
                        </a:lnTo>
                        <a:lnTo>
                          <a:pt x="61" y="4"/>
                        </a:lnTo>
                        <a:lnTo>
                          <a:pt x="79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5" name="Freeform 89"/>
                  <p:cNvSpPr>
                    <a:spLocks/>
                  </p:cNvSpPr>
                  <p:nvPr/>
                </p:nvSpPr>
                <p:spPr bwMode="auto">
                  <a:xfrm>
                    <a:off x="7796213" y="6211887"/>
                    <a:ext cx="76200" cy="39688"/>
                  </a:xfrm>
                  <a:custGeom>
                    <a:avLst/>
                    <a:gdLst/>
                    <a:ahLst/>
                    <a:cxnLst>
                      <a:cxn ang="0">
                        <a:pos x="29" y="0"/>
                      </a:cxn>
                      <a:cxn ang="0">
                        <a:pos x="32" y="0"/>
                      </a:cxn>
                      <a:cxn ang="0">
                        <a:pos x="36" y="8"/>
                      </a:cxn>
                      <a:cxn ang="0">
                        <a:pos x="44" y="8"/>
                      </a:cxn>
                      <a:cxn ang="0">
                        <a:pos x="46" y="14"/>
                      </a:cxn>
                      <a:cxn ang="0">
                        <a:pos x="48" y="18"/>
                      </a:cxn>
                      <a:cxn ang="0">
                        <a:pos x="46" y="20"/>
                      </a:cxn>
                      <a:cxn ang="0">
                        <a:pos x="44" y="20"/>
                      </a:cxn>
                      <a:cxn ang="0">
                        <a:pos x="40" y="18"/>
                      </a:cxn>
                      <a:cxn ang="0">
                        <a:pos x="36" y="18"/>
                      </a:cxn>
                      <a:cxn ang="0">
                        <a:pos x="31" y="23"/>
                      </a:cxn>
                      <a:cxn ang="0">
                        <a:pos x="21" y="23"/>
                      </a:cxn>
                      <a:cxn ang="0">
                        <a:pos x="15" y="20"/>
                      </a:cxn>
                      <a:cxn ang="0">
                        <a:pos x="11" y="20"/>
                      </a:cxn>
                      <a:cxn ang="0">
                        <a:pos x="6" y="25"/>
                      </a:cxn>
                      <a:cxn ang="0">
                        <a:pos x="2" y="25"/>
                      </a:cxn>
                      <a:cxn ang="0">
                        <a:pos x="0" y="14"/>
                      </a:cxn>
                      <a:cxn ang="0">
                        <a:pos x="2" y="12"/>
                      </a:cxn>
                      <a:cxn ang="0">
                        <a:pos x="6" y="12"/>
                      </a:cxn>
                      <a:cxn ang="0">
                        <a:pos x="11" y="4"/>
                      </a:cxn>
                      <a:cxn ang="0">
                        <a:pos x="17" y="6"/>
                      </a:cxn>
                      <a:cxn ang="0">
                        <a:pos x="19" y="4"/>
                      </a:cxn>
                      <a:cxn ang="0">
                        <a:pos x="25" y="2"/>
                      </a:cxn>
                      <a:cxn ang="0">
                        <a:pos x="29" y="0"/>
                      </a:cxn>
                    </a:cxnLst>
                    <a:rect l="0" t="0" r="r" b="b"/>
                    <a:pathLst>
                      <a:path w="48" h="25">
                        <a:moveTo>
                          <a:pt x="29" y="0"/>
                        </a:moveTo>
                        <a:lnTo>
                          <a:pt x="32" y="0"/>
                        </a:lnTo>
                        <a:lnTo>
                          <a:pt x="36" y="8"/>
                        </a:lnTo>
                        <a:lnTo>
                          <a:pt x="44" y="8"/>
                        </a:lnTo>
                        <a:lnTo>
                          <a:pt x="46" y="14"/>
                        </a:lnTo>
                        <a:lnTo>
                          <a:pt x="48" y="18"/>
                        </a:lnTo>
                        <a:lnTo>
                          <a:pt x="46" y="20"/>
                        </a:lnTo>
                        <a:lnTo>
                          <a:pt x="44" y="20"/>
                        </a:lnTo>
                        <a:lnTo>
                          <a:pt x="40" y="18"/>
                        </a:lnTo>
                        <a:lnTo>
                          <a:pt x="36" y="18"/>
                        </a:lnTo>
                        <a:lnTo>
                          <a:pt x="31" y="23"/>
                        </a:lnTo>
                        <a:lnTo>
                          <a:pt x="21" y="23"/>
                        </a:lnTo>
                        <a:lnTo>
                          <a:pt x="15" y="20"/>
                        </a:lnTo>
                        <a:lnTo>
                          <a:pt x="11" y="20"/>
                        </a:lnTo>
                        <a:lnTo>
                          <a:pt x="6" y="25"/>
                        </a:lnTo>
                        <a:lnTo>
                          <a:pt x="2" y="25"/>
                        </a:lnTo>
                        <a:lnTo>
                          <a:pt x="0" y="14"/>
                        </a:lnTo>
                        <a:lnTo>
                          <a:pt x="2" y="12"/>
                        </a:lnTo>
                        <a:lnTo>
                          <a:pt x="6" y="12"/>
                        </a:lnTo>
                        <a:lnTo>
                          <a:pt x="11" y="4"/>
                        </a:lnTo>
                        <a:lnTo>
                          <a:pt x="17" y="6"/>
                        </a:lnTo>
                        <a:lnTo>
                          <a:pt x="19" y="4"/>
                        </a:lnTo>
                        <a:lnTo>
                          <a:pt x="25" y="2"/>
                        </a:lnTo>
                        <a:lnTo>
                          <a:pt x="29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20" name="Group 227"/>
                <p:cNvGrpSpPr/>
                <p:nvPr/>
              </p:nvGrpSpPr>
              <p:grpSpPr>
                <a:xfrm>
                  <a:off x="4103688" y="5972175"/>
                  <a:ext cx="2622550" cy="3432175"/>
                  <a:chOff x="4103688" y="5972175"/>
                  <a:chExt cx="2622550" cy="3432175"/>
                </a:xfrm>
                <a:grpFill/>
              </p:grpSpPr>
              <p:sp>
                <p:nvSpPr>
                  <p:cNvPr id="21" name="Freeform 91"/>
                  <p:cNvSpPr>
                    <a:spLocks/>
                  </p:cNvSpPr>
                  <p:nvPr/>
                </p:nvSpPr>
                <p:spPr bwMode="auto">
                  <a:xfrm>
                    <a:off x="4103688" y="5972175"/>
                    <a:ext cx="2622550" cy="3432175"/>
                  </a:xfrm>
                  <a:custGeom>
                    <a:avLst/>
                    <a:gdLst/>
                    <a:ahLst/>
                    <a:cxnLst>
                      <a:cxn ang="0">
                        <a:pos x="1165" y="1623"/>
                      </a:cxn>
                      <a:cxn ang="0">
                        <a:pos x="967" y="1804"/>
                      </a:cxn>
                      <a:cxn ang="0">
                        <a:pos x="923" y="1790"/>
                      </a:cxn>
                      <a:cxn ang="0">
                        <a:pos x="1032" y="1742"/>
                      </a:cxn>
                      <a:cxn ang="0">
                        <a:pos x="1094" y="1648"/>
                      </a:cxn>
                      <a:cxn ang="0">
                        <a:pos x="1165" y="1506"/>
                      </a:cxn>
                      <a:cxn ang="0">
                        <a:pos x="1148" y="1497"/>
                      </a:cxn>
                      <a:cxn ang="0">
                        <a:pos x="1082" y="1481"/>
                      </a:cxn>
                      <a:cxn ang="0">
                        <a:pos x="992" y="1412"/>
                      </a:cxn>
                      <a:cxn ang="0">
                        <a:pos x="1067" y="1445"/>
                      </a:cxn>
                      <a:cxn ang="0">
                        <a:pos x="1061" y="1548"/>
                      </a:cxn>
                      <a:cxn ang="0">
                        <a:pos x="1027" y="1614"/>
                      </a:cxn>
                      <a:cxn ang="0">
                        <a:pos x="1002" y="1683"/>
                      </a:cxn>
                      <a:cxn ang="0">
                        <a:pos x="923" y="1742"/>
                      </a:cxn>
                      <a:cxn ang="0">
                        <a:pos x="900" y="1832"/>
                      </a:cxn>
                      <a:cxn ang="0">
                        <a:pos x="835" y="2022"/>
                      </a:cxn>
                      <a:cxn ang="0">
                        <a:pos x="683" y="2057"/>
                      </a:cxn>
                      <a:cxn ang="0">
                        <a:pos x="796" y="1997"/>
                      </a:cxn>
                      <a:cxn ang="0">
                        <a:pos x="821" y="1867"/>
                      </a:cxn>
                      <a:cxn ang="0">
                        <a:pos x="743" y="1942"/>
                      </a:cxn>
                      <a:cxn ang="0">
                        <a:pos x="624" y="1811"/>
                      </a:cxn>
                      <a:cxn ang="0">
                        <a:pos x="480" y="1717"/>
                      </a:cxn>
                      <a:cxn ang="0">
                        <a:pos x="384" y="1635"/>
                      </a:cxn>
                      <a:cxn ang="0">
                        <a:pos x="269" y="1642"/>
                      </a:cxn>
                      <a:cxn ang="0">
                        <a:pos x="188" y="1504"/>
                      </a:cxn>
                      <a:cxn ang="0">
                        <a:pos x="37" y="1500"/>
                      </a:cxn>
                      <a:cxn ang="0">
                        <a:pos x="90" y="1393"/>
                      </a:cxn>
                      <a:cxn ang="0">
                        <a:pos x="217" y="1226"/>
                      </a:cxn>
                      <a:cxn ang="0">
                        <a:pos x="319" y="1130"/>
                      </a:cxn>
                      <a:cxn ang="0">
                        <a:pos x="384" y="1030"/>
                      </a:cxn>
                      <a:cxn ang="0">
                        <a:pos x="440" y="1001"/>
                      </a:cxn>
                      <a:cxn ang="0">
                        <a:pos x="491" y="954"/>
                      </a:cxn>
                      <a:cxn ang="0">
                        <a:pos x="549" y="942"/>
                      </a:cxn>
                      <a:cxn ang="0">
                        <a:pos x="610" y="896"/>
                      </a:cxn>
                      <a:cxn ang="0">
                        <a:pos x="656" y="806"/>
                      </a:cxn>
                      <a:cxn ang="0">
                        <a:pos x="649" y="662"/>
                      </a:cxn>
                      <a:cxn ang="0">
                        <a:pos x="589" y="583"/>
                      </a:cxn>
                      <a:cxn ang="0">
                        <a:pos x="545" y="589"/>
                      </a:cxn>
                      <a:cxn ang="0">
                        <a:pos x="537" y="478"/>
                      </a:cxn>
                      <a:cxn ang="0">
                        <a:pos x="555" y="303"/>
                      </a:cxn>
                      <a:cxn ang="0">
                        <a:pos x="633" y="149"/>
                      </a:cxn>
                      <a:cxn ang="0">
                        <a:pos x="764" y="15"/>
                      </a:cxn>
                      <a:cxn ang="0">
                        <a:pos x="906" y="21"/>
                      </a:cxn>
                      <a:cxn ang="0">
                        <a:pos x="1034" y="25"/>
                      </a:cxn>
                      <a:cxn ang="0">
                        <a:pos x="1155" y="54"/>
                      </a:cxn>
                      <a:cxn ang="0">
                        <a:pos x="1307" y="78"/>
                      </a:cxn>
                      <a:cxn ang="0">
                        <a:pos x="1389" y="203"/>
                      </a:cxn>
                      <a:cxn ang="0">
                        <a:pos x="1432" y="334"/>
                      </a:cxn>
                      <a:cxn ang="0">
                        <a:pos x="1505" y="428"/>
                      </a:cxn>
                      <a:cxn ang="0">
                        <a:pos x="1572" y="512"/>
                      </a:cxn>
                      <a:cxn ang="0">
                        <a:pos x="1647" y="541"/>
                      </a:cxn>
                      <a:cxn ang="0">
                        <a:pos x="1610" y="556"/>
                      </a:cxn>
                      <a:cxn ang="0">
                        <a:pos x="1587" y="575"/>
                      </a:cxn>
                      <a:cxn ang="0">
                        <a:pos x="1593" y="608"/>
                      </a:cxn>
                      <a:cxn ang="0">
                        <a:pos x="1549" y="681"/>
                      </a:cxn>
                      <a:cxn ang="0">
                        <a:pos x="1516" y="744"/>
                      </a:cxn>
                      <a:cxn ang="0">
                        <a:pos x="1531" y="861"/>
                      </a:cxn>
                      <a:cxn ang="0">
                        <a:pos x="1537" y="934"/>
                      </a:cxn>
                      <a:cxn ang="0">
                        <a:pos x="1528" y="1013"/>
                      </a:cxn>
                      <a:cxn ang="0">
                        <a:pos x="1514" y="1096"/>
                      </a:cxn>
                      <a:cxn ang="0">
                        <a:pos x="1386" y="1253"/>
                      </a:cxn>
                    </a:cxnLst>
                    <a:rect l="0" t="0" r="r" b="b"/>
                    <a:pathLst>
                      <a:path w="1652" h="2162">
                        <a:moveTo>
                          <a:pt x="1336" y="1310"/>
                        </a:moveTo>
                        <a:lnTo>
                          <a:pt x="1336" y="1310"/>
                        </a:lnTo>
                        <a:lnTo>
                          <a:pt x="1332" y="1314"/>
                        </a:lnTo>
                        <a:lnTo>
                          <a:pt x="1324" y="1326"/>
                        </a:lnTo>
                        <a:lnTo>
                          <a:pt x="1301" y="1364"/>
                        </a:lnTo>
                        <a:lnTo>
                          <a:pt x="1272" y="1412"/>
                        </a:lnTo>
                        <a:lnTo>
                          <a:pt x="1263" y="1433"/>
                        </a:lnTo>
                        <a:lnTo>
                          <a:pt x="1257" y="1450"/>
                        </a:lnTo>
                        <a:lnTo>
                          <a:pt x="1249" y="1470"/>
                        </a:lnTo>
                        <a:lnTo>
                          <a:pt x="1224" y="1535"/>
                        </a:lnTo>
                        <a:lnTo>
                          <a:pt x="1222" y="1539"/>
                        </a:lnTo>
                        <a:lnTo>
                          <a:pt x="1217" y="1550"/>
                        </a:lnTo>
                        <a:lnTo>
                          <a:pt x="1192" y="1581"/>
                        </a:lnTo>
                        <a:lnTo>
                          <a:pt x="1190" y="1583"/>
                        </a:lnTo>
                        <a:lnTo>
                          <a:pt x="1182" y="1606"/>
                        </a:lnTo>
                        <a:lnTo>
                          <a:pt x="1180" y="1608"/>
                        </a:lnTo>
                        <a:lnTo>
                          <a:pt x="1165" y="1623"/>
                        </a:lnTo>
                        <a:lnTo>
                          <a:pt x="1157" y="1639"/>
                        </a:lnTo>
                        <a:lnTo>
                          <a:pt x="1151" y="1648"/>
                        </a:lnTo>
                        <a:lnTo>
                          <a:pt x="1127" y="1677"/>
                        </a:lnTo>
                        <a:lnTo>
                          <a:pt x="1111" y="1692"/>
                        </a:lnTo>
                        <a:lnTo>
                          <a:pt x="1102" y="1700"/>
                        </a:lnTo>
                        <a:lnTo>
                          <a:pt x="1096" y="1708"/>
                        </a:lnTo>
                        <a:lnTo>
                          <a:pt x="1088" y="1717"/>
                        </a:lnTo>
                        <a:lnTo>
                          <a:pt x="1071" y="1731"/>
                        </a:lnTo>
                        <a:lnTo>
                          <a:pt x="1057" y="1746"/>
                        </a:lnTo>
                        <a:lnTo>
                          <a:pt x="1046" y="1754"/>
                        </a:lnTo>
                        <a:lnTo>
                          <a:pt x="1036" y="1761"/>
                        </a:lnTo>
                        <a:lnTo>
                          <a:pt x="1027" y="1771"/>
                        </a:lnTo>
                        <a:lnTo>
                          <a:pt x="1008" y="1779"/>
                        </a:lnTo>
                        <a:lnTo>
                          <a:pt x="994" y="1788"/>
                        </a:lnTo>
                        <a:lnTo>
                          <a:pt x="981" y="1796"/>
                        </a:lnTo>
                        <a:lnTo>
                          <a:pt x="977" y="1800"/>
                        </a:lnTo>
                        <a:lnTo>
                          <a:pt x="967" y="1804"/>
                        </a:lnTo>
                        <a:lnTo>
                          <a:pt x="963" y="1805"/>
                        </a:lnTo>
                        <a:lnTo>
                          <a:pt x="956" y="1811"/>
                        </a:lnTo>
                        <a:lnTo>
                          <a:pt x="950" y="1817"/>
                        </a:lnTo>
                        <a:lnTo>
                          <a:pt x="946" y="1821"/>
                        </a:lnTo>
                        <a:lnTo>
                          <a:pt x="940" y="1827"/>
                        </a:lnTo>
                        <a:lnTo>
                          <a:pt x="935" y="1832"/>
                        </a:lnTo>
                        <a:lnTo>
                          <a:pt x="929" y="1836"/>
                        </a:lnTo>
                        <a:lnTo>
                          <a:pt x="921" y="1855"/>
                        </a:lnTo>
                        <a:lnTo>
                          <a:pt x="923" y="1846"/>
                        </a:lnTo>
                        <a:lnTo>
                          <a:pt x="925" y="1836"/>
                        </a:lnTo>
                        <a:lnTo>
                          <a:pt x="929" y="1832"/>
                        </a:lnTo>
                        <a:lnTo>
                          <a:pt x="931" y="1817"/>
                        </a:lnTo>
                        <a:lnTo>
                          <a:pt x="935" y="1811"/>
                        </a:lnTo>
                        <a:lnTo>
                          <a:pt x="935" y="1807"/>
                        </a:lnTo>
                        <a:lnTo>
                          <a:pt x="929" y="1800"/>
                        </a:lnTo>
                        <a:lnTo>
                          <a:pt x="923" y="1794"/>
                        </a:lnTo>
                        <a:lnTo>
                          <a:pt x="923" y="1790"/>
                        </a:lnTo>
                        <a:lnTo>
                          <a:pt x="937" y="1788"/>
                        </a:lnTo>
                        <a:lnTo>
                          <a:pt x="946" y="1790"/>
                        </a:lnTo>
                        <a:lnTo>
                          <a:pt x="954" y="1796"/>
                        </a:lnTo>
                        <a:lnTo>
                          <a:pt x="963" y="1796"/>
                        </a:lnTo>
                        <a:lnTo>
                          <a:pt x="969" y="1794"/>
                        </a:lnTo>
                        <a:lnTo>
                          <a:pt x="973" y="1790"/>
                        </a:lnTo>
                        <a:lnTo>
                          <a:pt x="971" y="1786"/>
                        </a:lnTo>
                        <a:lnTo>
                          <a:pt x="965" y="1786"/>
                        </a:lnTo>
                        <a:lnTo>
                          <a:pt x="967" y="1782"/>
                        </a:lnTo>
                        <a:lnTo>
                          <a:pt x="988" y="1781"/>
                        </a:lnTo>
                        <a:lnTo>
                          <a:pt x="998" y="1775"/>
                        </a:lnTo>
                        <a:lnTo>
                          <a:pt x="1008" y="1767"/>
                        </a:lnTo>
                        <a:lnTo>
                          <a:pt x="1023" y="1744"/>
                        </a:lnTo>
                        <a:lnTo>
                          <a:pt x="1025" y="1742"/>
                        </a:lnTo>
                        <a:lnTo>
                          <a:pt x="1029" y="1746"/>
                        </a:lnTo>
                        <a:lnTo>
                          <a:pt x="1032" y="1746"/>
                        </a:lnTo>
                        <a:lnTo>
                          <a:pt x="1032" y="1742"/>
                        </a:lnTo>
                        <a:lnTo>
                          <a:pt x="1029" y="1736"/>
                        </a:lnTo>
                        <a:lnTo>
                          <a:pt x="1029" y="1734"/>
                        </a:lnTo>
                        <a:lnTo>
                          <a:pt x="1032" y="1731"/>
                        </a:lnTo>
                        <a:lnTo>
                          <a:pt x="1034" y="1729"/>
                        </a:lnTo>
                        <a:lnTo>
                          <a:pt x="1048" y="1731"/>
                        </a:lnTo>
                        <a:lnTo>
                          <a:pt x="1056" y="1729"/>
                        </a:lnTo>
                        <a:lnTo>
                          <a:pt x="1059" y="1727"/>
                        </a:lnTo>
                        <a:lnTo>
                          <a:pt x="1063" y="1723"/>
                        </a:lnTo>
                        <a:lnTo>
                          <a:pt x="1071" y="1711"/>
                        </a:lnTo>
                        <a:lnTo>
                          <a:pt x="1075" y="1704"/>
                        </a:lnTo>
                        <a:lnTo>
                          <a:pt x="1077" y="1694"/>
                        </a:lnTo>
                        <a:lnTo>
                          <a:pt x="1079" y="1675"/>
                        </a:lnTo>
                        <a:lnTo>
                          <a:pt x="1077" y="1654"/>
                        </a:lnTo>
                        <a:lnTo>
                          <a:pt x="1077" y="1646"/>
                        </a:lnTo>
                        <a:lnTo>
                          <a:pt x="1080" y="1646"/>
                        </a:lnTo>
                        <a:lnTo>
                          <a:pt x="1086" y="1648"/>
                        </a:lnTo>
                        <a:lnTo>
                          <a:pt x="1094" y="1648"/>
                        </a:lnTo>
                        <a:lnTo>
                          <a:pt x="1111" y="1639"/>
                        </a:lnTo>
                        <a:lnTo>
                          <a:pt x="1113" y="1633"/>
                        </a:lnTo>
                        <a:lnTo>
                          <a:pt x="1115" y="1619"/>
                        </a:lnTo>
                        <a:lnTo>
                          <a:pt x="1115" y="1616"/>
                        </a:lnTo>
                        <a:lnTo>
                          <a:pt x="1130" y="1610"/>
                        </a:lnTo>
                        <a:lnTo>
                          <a:pt x="1146" y="1600"/>
                        </a:lnTo>
                        <a:lnTo>
                          <a:pt x="1151" y="1596"/>
                        </a:lnTo>
                        <a:lnTo>
                          <a:pt x="1157" y="1585"/>
                        </a:lnTo>
                        <a:lnTo>
                          <a:pt x="1157" y="1585"/>
                        </a:lnTo>
                        <a:lnTo>
                          <a:pt x="1161" y="1575"/>
                        </a:lnTo>
                        <a:lnTo>
                          <a:pt x="1163" y="1560"/>
                        </a:lnTo>
                        <a:lnTo>
                          <a:pt x="1163" y="1550"/>
                        </a:lnTo>
                        <a:lnTo>
                          <a:pt x="1161" y="1537"/>
                        </a:lnTo>
                        <a:lnTo>
                          <a:pt x="1157" y="1514"/>
                        </a:lnTo>
                        <a:lnTo>
                          <a:pt x="1157" y="1508"/>
                        </a:lnTo>
                        <a:lnTo>
                          <a:pt x="1159" y="1506"/>
                        </a:lnTo>
                        <a:lnTo>
                          <a:pt x="1165" y="1506"/>
                        </a:lnTo>
                        <a:lnTo>
                          <a:pt x="1167" y="1518"/>
                        </a:lnTo>
                        <a:lnTo>
                          <a:pt x="1171" y="1525"/>
                        </a:lnTo>
                        <a:lnTo>
                          <a:pt x="1174" y="1531"/>
                        </a:lnTo>
                        <a:lnTo>
                          <a:pt x="1178" y="1533"/>
                        </a:lnTo>
                        <a:lnTo>
                          <a:pt x="1182" y="1531"/>
                        </a:lnTo>
                        <a:lnTo>
                          <a:pt x="1186" y="1512"/>
                        </a:lnTo>
                        <a:lnTo>
                          <a:pt x="1190" y="1489"/>
                        </a:lnTo>
                        <a:lnTo>
                          <a:pt x="1190" y="1483"/>
                        </a:lnTo>
                        <a:lnTo>
                          <a:pt x="1188" y="1481"/>
                        </a:lnTo>
                        <a:lnTo>
                          <a:pt x="1182" y="1481"/>
                        </a:lnTo>
                        <a:lnTo>
                          <a:pt x="1178" y="1479"/>
                        </a:lnTo>
                        <a:lnTo>
                          <a:pt x="1171" y="1477"/>
                        </a:lnTo>
                        <a:lnTo>
                          <a:pt x="1167" y="1481"/>
                        </a:lnTo>
                        <a:lnTo>
                          <a:pt x="1167" y="1493"/>
                        </a:lnTo>
                        <a:lnTo>
                          <a:pt x="1163" y="1498"/>
                        </a:lnTo>
                        <a:lnTo>
                          <a:pt x="1159" y="1498"/>
                        </a:lnTo>
                        <a:lnTo>
                          <a:pt x="1148" y="1497"/>
                        </a:lnTo>
                        <a:lnTo>
                          <a:pt x="1146" y="1498"/>
                        </a:lnTo>
                        <a:lnTo>
                          <a:pt x="1148" y="1502"/>
                        </a:lnTo>
                        <a:lnTo>
                          <a:pt x="1146" y="1504"/>
                        </a:lnTo>
                        <a:lnTo>
                          <a:pt x="1128" y="1502"/>
                        </a:lnTo>
                        <a:lnTo>
                          <a:pt x="1123" y="1504"/>
                        </a:lnTo>
                        <a:lnTo>
                          <a:pt x="1121" y="1508"/>
                        </a:lnTo>
                        <a:lnTo>
                          <a:pt x="1121" y="1514"/>
                        </a:lnTo>
                        <a:lnTo>
                          <a:pt x="1127" y="1521"/>
                        </a:lnTo>
                        <a:lnTo>
                          <a:pt x="1125" y="1525"/>
                        </a:lnTo>
                        <a:lnTo>
                          <a:pt x="1117" y="1523"/>
                        </a:lnTo>
                        <a:lnTo>
                          <a:pt x="1113" y="1518"/>
                        </a:lnTo>
                        <a:lnTo>
                          <a:pt x="1103" y="1516"/>
                        </a:lnTo>
                        <a:lnTo>
                          <a:pt x="1107" y="1500"/>
                        </a:lnTo>
                        <a:lnTo>
                          <a:pt x="1107" y="1495"/>
                        </a:lnTo>
                        <a:lnTo>
                          <a:pt x="1105" y="1491"/>
                        </a:lnTo>
                        <a:lnTo>
                          <a:pt x="1098" y="1485"/>
                        </a:lnTo>
                        <a:lnTo>
                          <a:pt x="1082" y="1481"/>
                        </a:lnTo>
                        <a:lnTo>
                          <a:pt x="1075" y="1474"/>
                        </a:lnTo>
                        <a:lnTo>
                          <a:pt x="1071" y="1456"/>
                        </a:lnTo>
                        <a:lnTo>
                          <a:pt x="1077" y="1443"/>
                        </a:lnTo>
                        <a:lnTo>
                          <a:pt x="1080" y="1441"/>
                        </a:lnTo>
                        <a:lnTo>
                          <a:pt x="1080" y="1435"/>
                        </a:lnTo>
                        <a:lnTo>
                          <a:pt x="1073" y="1426"/>
                        </a:lnTo>
                        <a:lnTo>
                          <a:pt x="1059" y="1426"/>
                        </a:lnTo>
                        <a:lnTo>
                          <a:pt x="1054" y="1429"/>
                        </a:lnTo>
                        <a:lnTo>
                          <a:pt x="1050" y="1429"/>
                        </a:lnTo>
                        <a:lnTo>
                          <a:pt x="1038" y="1427"/>
                        </a:lnTo>
                        <a:lnTo>
                          <a:pt x="1029" y="1422"/>
                        </a:lnTo>
                        <a:lnTo>
                          <a:pt x="1011" y="1422"/>
                        </a:lnTo>
                        <a:lnTo>
                          <a:pt x="1006" y="1422"/>
                        </a:lnTo>
                        <a:lnTo>
                          <a:pt x="1002" y="1426"/>
                        </a:lnTo>
                        <a:lnTo>
                          <a:pt x="996" y="1426"/>
                        </a:lnTo>
                        <a:lnTo>
                          <a:pt x="992" y="1422"/>
                        </a:lnTo>
                        <a:lnTo>
                          <a:pt x="992" y="1412"/>
                        </a:lnTo>
                        <a:lnTo>
                          <a:pt x="988" y="1408"/>
                        </a:lnTo>
                        <a:lnTo>
                          <a:pt x="975" y="1408"/>
                        </a:lnTo>
                        <a:lnTo>
                          <a:pt x="985" y="1412"/>
                        </a:lnTo>
                        <a:lnTo>
                          <a:pt x="986" y="1422"/>
                        </a:lnTo>
                        <a:lnTo>
                          <a:pt x="990" y="1427"/>
                        </a:lnTo>
                        <a:lnTo>
                          <a:pt x="996" y="1429"/>
                        </a:lnTo>
                        <a:lnTo>
                          <a:pt x="1002" y="1429"/>
                        </a:lnTo>
                        <a:lnTo>
                          <a:pt x="1021" y="1426"/>
                        </a:lnTo>
                        <a:lnTo>
                          <a:pt x="1027" y="1426"/>
                        </a:lnTo>
                        <a:lnTo>
                          <a:pt x="1038" y="1435"/>
                        </a:lnTo>
                        <a:lnTo>
                          <a:pt x="1044" y="1437"/>
                        </a:lnTo>
                        <a:lnTo>
                          <a:pt x="1048" y="1437"/>
                        </a:lnTo>
                        <a:lnTo>
                          <a:pt x="1057" y="1431"/>
                        </a:lnTo>
                        <a:lnTo>
                          <a:pt x="1061" y="1433"/>
                        </a:lnTo>
                        <a:lnTo>
                          <a:pt x="1067" y="1439"/>
                        </a:lnTo>
                        <a:lnTo>
                          <a:pt x="1069" y="1443"/>
                        </a:lnTo>
                        <a:lnTo>
                          <a:pt x="1067" y="1445"/>
                        </a:lnTo>
                        <a:lnTo>
                          <a:pt x="1063" y="1441"/>
                        </a:lnTo>
                        <a:lnTo>
                          <a:pt x="1061" y="1441"/>
                        </a:lnTo>
                        <a:lnTo>
                          <a:pt x="1061" y="1443"/>
                        </a:lnTo>
                        <a:lnTo>
                          <a:pt x="1061" y="1454"/>
                        </a:lnTo>
                        <a:lnTo>
                          <a:pt x="1059" y="1472"/>
                        </a:lnTo>
                        <a:lnTo>
                          <a:pt x="1059" y="1481"/>
                        </a:lnTo>
                        <a:lnTo>
                          <a:pt x="1063" y="1489"/>
                        </a:lnTo>
                        <a:lnTo>
                          <a:pt x="1067" y="1497"/>
                        </a:lnTo>
                        <a:lnTo>
                          <a:pt x="1077" y="1500"/>
                        </a:lnTo>
                        <a:lnTo>
                          <a:pt x="1080" y="1512"/>
                        </a:lnTo>
                        <a:lnTo>
                          <a:pt x="1090" y="1510"/>
                        </a:lnTo>
                        <a:lnTo>
                          <a:pt x="1090" y="1514"/>
                        </a:lnTo>
                        <a:lnTo>
                          <a:pt x="1088" y="1521"/>
                        </a:lnTo>
                        <a:lnTo>
                          <a:pt x="1079" y="1520"/>
                        </a:lnTo>
                        <a:lnTo>
                          <a:pt x="1073" y="1523"/>
                        </a:lnTo>
                        <a:lnTo>
                          <a:pt x="1063" y="1537"/>
                        </a:lnTo>
                        <a:lnTo>
                          <a:pt x="1061" y="1548"/>
                        </a:lnTo>
                        <a:lnTo>
                          <a:pt x="1061" y="1562"/>
                        </a:lnTo>
                        <a:lnTo>
                          <a:pt x="1065" y="1591"/>
                        </a:lnTo>
                        <a:lnTo>
                          <a:pt x="1063" y="1594"/>
                        </a:lnTo>
                        <a:lnTo>
                          <a:pt x="1063" y="1596"/>
                        </a:lnTo>
                        <a:lnTo>
                          <a:pt x="1059" y="1596"/>
                        </a:lnTo>
                        <a:lnTo>
                          <a:pt x="1056" y="1589"/>
                        </a:lnTo>
                        <a:lnTo>
                          <a:pt x="1057" y="1579"/>
                        </a:lnTo>
                        <a:lnTo>
                          <a:pt x="1054" y="1562"/>
                        </a:lnTo>
                        <a:lnTo>
                          <a:pt x="1050" y="1560"/>
                        </a:lnTo>
                        <a:lnTo>
                          <a:pt x="1046" y="1562"/>
                        </a:lnTo>
                        <a:lnTo>
                          <a:pt x="1044" y="1569"/>
                        </a:lnTo>
                        <a:lnTo>
                          <a:pt x="1042" y="1587"/>
                        </a:lnTo>
                        <a:lnTo>
                          <a:pt x="1044" y="1594"/>
                        </a:lnTo>
                        <a:lnTo>
                          <a:pt x="1046" y="1604"/>
                        </a:lnTo>
                        <a:lnTo>
                          <a:pt x="1046" y="1606"/>
                        </a:lnTo>
                        <a:lnTo>
                          <a:pt x="1032" y="1610"/>
                        </a:lnTo>
                        <a:lnTo>
                          <a:pt x="1027" y="1614"/>
                        </a:lnTo>
                        <a:lnTo>
                          <a:pt x="1025" y="1619"/>
                        </a:lnTo>
                        <a:lnTo>
                          <a:pt x="1025" y="1625"/>
                        </a:lnTo>
                        <a:lnTo>
                          <a:pt x="1029" y="1633"/>
                        </a:lnTo>
                        <a:lnTo>
                          <a:pt x="1027" y="1637"/>
                        </a:lnTo>
                        <a:lnTo>
                          <a:pt x="1027" y="1640"/>
                        </a:lnTo>
                        <a:lnTo>
                          <a:pt x="1031" y="1642"/>
                        </a:lnTo>
                        <a:lnTo>
                          <a:pt x="1036" y="1644"/>
                        </a:lnTo>
                        <a:lnTo>
                          <a:pt x="1036" y="1646"/>
                        </a:lnTo>
                        <a:lnTo>
                          <a:pt x="1034" y="1650"/>
                        </a:lnTo>
                        <a:lnTo>
                          <a:pt x="1025" y="1650"/>
                        </a:lnTo>
                        <a:lnTo>
                          <a:pt x="1019" y="1654"/>
                        </a:lnTo>
                        <a:lnTo>
                          <a:pt x="1008" y="1656"/>
                        </a:lnTo>
                        <a:lnTo>
                          <a:pt x="1002" y="1665"/>
                        </a:lnTo>
                        <a:lnTo>
                          <a:pt x="1002" y="1667"/>
                        </a:lnTo>
                        <a:lnTo>
                          <a:pt x="1006" y="1675"/>
                        </a:lnTo>
                        <a:lnTo>
                          <a:pt x="1006" y="1681"/>
                        </a:lnTo>
                        <a:lnTo>
                          <a:pt x="1002" y="1683"/>
                        </a:lnTo>
                        <a:lnTo>
                          <a:pt x="981" y="1681"/>
                        </a:lnTo>
                        <a:lnTo>
                          <a:pt x="975" y="1685"/>
                        </a:lnTo>
                        <a:lnTo>
                          <a:pt x="967" y="1690"/>
                        </a:lnTo>
                        <a:lnTo>
                          <a:pt x="956" y="1690"/>
                        </a:lnTo>
                        <a:lnTo>
                          <a:pt x="952" y="1696"/>
                        </a:lnTo>
                        <a:lnTo>
                          <a:pt x="946" y="1700"/>
                        </a:lnTo>
                        <a:lnTo>
                          <a:pt x="944" y="1708"/>
                        </a:lnTo>
                        <a:lnTo>
                          <a:pt x="942" y="1727"/>
                        </a:lnTo>
                        <a:lnTo>
                          <a:pt x="940" y="1759"/>
                        </a:lnTo>
                        <a:lnTo>
                          <a:pt x="938" y="1761"/>
                        </a:lnTo>
                        <a:lnTo>
                          <a:pt x="935" y="1761"/>
                        </a:lnTo>
                        <a:lnTo>
                          <a:pt x="933" y="1759"/>
                        </a:lnTo>
                        <a:lnTo>
                          <a:pt x="933" y="1752"/>
                        </a:lnTo>
                        <a:lnTo>
                          <a:pt x="933" y="1734"/>
                        </a:lnTo>
                        <a:lnTo>
                          <a:pt x="927" y="1734"/>
                        </a:lnTo>
                        <a:lnTo>
                          <a:pt x="925" y="1738"/>
                        </a:lnTo>
                        <a:lnTo>
                          <a:pt x="923" y="1742"/>
                        </a:lnTo>
                        <a:lnTo>
                          <a:pt x="929" y="1752"/>
                        </a:lnTo>
                        <a:lnTo>
                          <a:pt x="929" y="1759"/>
                        </a:lnTo>
                        <a:lnTo>
                          <a:pt x="923" y="1761"/>
                        </a:lnTo>
                        <a:lnTo>
                          <a:pt x="914" y="1767"/>
                        </a:lnTo>
                        <a:lnTo>
                          <a:pt x="908" y="1769"/>
                        </a:lnTo>
                        <a:lnTo>
                          <a:pt x="904" y="1775"/>
                        </a:lnTo>
                        <a:lnTo>
                          <a:pt x="904" y="1779"/>
                        </a:lnTo>
                        <a:lnTo>
                          <a:pt x="904" y="1784"/>
                        </a:lnTo>
                        <a:lnTo>
                          <a:pt x="902" y="1792"/>
                        </a:lnTo>
                        <a:lnTo>
                          <a:pt x="902" y="1796"/>
                        </a:lnTo>
                        <a:lnTo>
                          <a:pt x="917" y="1804"/>
                        </a:lnTo>
                        <a:lnTo>
                          <a:pt x="917" y="1807"/>
                        </a:lnTo>
                        <a:lnTo>
                          <a:pt x="917" y="1809"/>
                        </a:lnTo>
                        <a:lnTo>
                          <a:pt x="908" y="1811"/>
                        </a:lnTo>
                        <a:lnTo>
                          <a:pt x="902" y="1813"/>
                        </a:lnTo>
                        <a:lnTo>
                          <a:pt x="896" y="1821"/>
                        </a:lnTo>
                        <a:lnTo>
                          <a:pt x="900" y="1832"/>
                        </a:lnTo>
                        <a:lnTo>
                          <a:pt x="898" y="1836"/>
                        </a:lnTo>
                        <a:lnTo>
                          <a:pt x="900" y="1838"/>
                        </a:lnTo>
                        <a:lnTo>
                          <a:pt x="900" y="1840"/>
                        </a:lnTo>
                        <a:lnTo>
                          <a:pt x="906" y="1834"/>
                        </a:lnTo>
                        <a:lnTo>
                          <a:pt x="910" y="1834"/>
                        </a:lnTo>
                        <a:lnTo>
                          <a:pt x="912" y="1832"/>
                        </a:lnTo>
                        <a:lnTo>
                          <a:pt x="915" y="1830"/>
                        </a:lnTo>
                        <a:lnTo>
                          <a:pt x="919" y="1830"/>
                        </a:lnTo>
                        <a:lnTo>
                          <a:pt x="921" y="1832"/>
                        </a:lnTo>
                        <a:lnTo>
                          <a:pt x="910" y="1853"/>
                        </a:lnTo>
                        <a:lnTo>
                          <a:pt x="898" y="1869"/>
                        </a:lnTo>
                        <a:lnTo>
                          <a:pt x="885" y="1890"/>
                        </a:lnTo>
                        <a:lnTo>
                          <a:pt x="877" y="1903"/>
                        </a:lnTo>
                        <a:lnTo>
                          <a:pt x="866" y="1932"/>
                        </a:lnTo>
                        <a:lnTo>
                          <a:pt x="858" y="1961"/>
                        </a:lnTo>
                        <a:lnTo>
                          <a:pt x="846" y="1994"/>
                        </a:lnTo>
                        <a:lnTo>
                          <a:pt x="835" y="2022"/>
                        </a:lnTo>
                        <a:lnTo>
                          <a:pt x="829" y="2036"/>
                        </a:lnTo>
                        <a:lnTo>
                          <a:pt x="810" y="2059"/>
                        </a:lnTo>
                        <a:lnTo>
                          <a:pt x="791" y="2084"/>
                        </a:lnTo>
                        <a:lnTo>
                          <a:pt x="772" y="2101"/>
                        </a:lnTo>
                        <a:lnTo>
                          <a:pt x="743" y="2130"/>
                        </a:lnTo>
                        <a:lnTo>
                          <a:pt x="731" y="2141"/>
                        </a:lnTo>
                        <a:lnTo>
                          <a:pt x="722" y="2147"/>
                        </a:lnTo>
                        <a:lnTo>
                          <a:pt x="718" y="2151"/>
                        </a:lnTo>
                        <a:lnTo>
                          <a:pt x="712" y="2157"/>
                        </a:lnTo>
                        <a:lnTo>
                          <a:pt x="704" y="2162"/>
                        </a:lnTo>
                        <a:lnTo>
                          <a:pt x="693" y="2153"/>
                        </a:lnTo>
                        <a:lnTo>
                          <a:pt x="685" y="2139"/>
                        </a:lnTo>
                        <a:lnTo>
                          <a:pt x="685" y="2116"/>
                        </a:lnTo>
                        <a:lnTo>
                          <a:pt x="689" y="2093"/>
                        </a:lnTo>
                        <a:lnTo>
                          <a:pt x="687" y="2093"/>
                        </a:lnTo>
                        <a:lnTo>
                          <a:pt x="687" y="2080"/>
                        </a:lnTo>
                        <a:lnTo>
                          <a:pt x="683" y="2057"/>
                        </a:lnTo>
                        <a:lnTo>
                          <a:pt x="691" y="2042"/>
                        </a:lnTo>
                        <a:lnTo>
                          <a:pt x="699" y="2034"/>
                        </a:lnTo>
                        <a:lnTo>
                          <a:pt x="708" y="2020"/>
                        </a:lnTo>
                        <a:lnTo>
                          <a:pt x="725" y="2005"/>
                        </a:lnTo>
                        <a:lnTo>
                          <a:pt x="733" y="2005"/>
                        </a:lnTo>
                        <a:lnTo>
                          <a:pt x="733" y="1994"/>
                        </a:lnTo>
                        <a:lnTo>
                          <a:pt x="739" y="1986"/>
                        </a:lnTo>
                        <a:lnTo>
                          <a:pt x="743" y="1978"/>
                        </a:lnTo>
                        <a:lnTo>
                          <a:pt x="762" y="1971"/>
                        </a:lnTo>
                        <a:lnTo>
                          <a:pt x="768" y="1969"/>
                        </a:lnTo>
                        <a:lnTo>
                          <a:pt x="770" y="1967"/>
                        </a:lnTo>
                        <a:lnTo>
                          <a:pt x="773" y="1963"/>
                        </a:lnTo>
                        <a:lnTo>
                          <a:pt x="775" y="1965"/>
                        </a:lnTo>
                        <a:lnTo>
                          <a:pt x="773" y="1969"/>
                        </a:lnTo>
                        <a:lnTo>
                          <a:pt x="773" y="1976"/>
                        </a:lnTo>
                        <a:lnTo>
                          <a:pt x="785" y="1990"/>
                        </a:lnTo>
                        <a:lnTo>
                          <a:pt x="796" y="1997"/>
                        </a:lnTo>
                        <a:lnTo>
                          <a:pt x="806" y="1994"/>
                        </a:lnTo>
                        <a:lnTo>
                          <a:pt x="831" y="1949"/>
                        </a:lnTo>
                        <a:lnTo>
                          <a:pt x="841" y="1924"/>
                        </a:lnTo>
                        <a:lnTo>
                          <a:pt x="841" y="1919"/>
                        </a:lnTo>
                        <a:lnTo>
                          <a:pt x="837" y="1913"/>
                        </a:lnTo>
                        <a:lnTo>
                          <a:pt x="831" y="1901"/>
                        </a:lnTo>
                        <a:lnTo>
                          <a:pt x="825" y="1890"/>
                        </a:lnTo>
                        <a:lnTo>
                          <a:pt x="825" y="1878"/>
                        </a:lnTo>
                        <a:lnTo>
                          <a:pt x="831" y="1863"/>
                        </a:lnTo>
                        <a:lnTo>
                          <a:pt x="833" y="1859"/>
                        </a:lnTo>
                        <a:lnTo>
                          <a:pt x="833" y="1855"/>
                        </a:lnTo>
                        <a:lnTo>
                          <a:pt x="827" y="1857"/>
                        </a:lnTo>
                        <a:lnTo>
                          <a:pt x="821" y="1857"/>
                        </a:lnTo>
                        <a:lnTo>
                          <a:pt x="819" y="1861"/>
                        </a:lnTo>
                        <a:lnTo>
                          <a:pt x="814" y="1863"/>
                        </a:lnTo>
                        <a:lnTo>
                          <a:pt x="819" y="1865"/>
                        </a:lnTo>
                        <a:lnTo>
                          <a:pt x="821" y="1867"/>
                        </a:lnTo>
                        <a:lnTo>
                          <a:pt x="819" y="1869"/>
                        </a:lnTo>
                        <a:lnTo>
                          <a:pt x="814" y="1869"/>
                        </a:lnTo>
                        <a:lnTo>
                          <a:pt x="808" y="1875"/>
                        </a:lnTo>
                        <a:lnTo>
                          <a:pt x="806" y="1884"/>
                        </a:lnTo>
                        <a:lnTo>
                          <a:pt x="806" y="1892"/>
                        </a:lnTo>
                        <a:lnTo>
                          <a:pt x="816" y="1894"/>
                        </a:lnTo>
                        <a:lnTo>
                          <a:pt x="818" y="1898"/>
                        </a:lnTo>
                        <a:lnTo>
                          <a:pt x="818" y="1903"/>
                        </a:lnTo>
                        <a:lnTo>
                          <a:pt x="804" y="1913"/>
                        </a:lnTo>
                        <a:lnTo>
                          <a:pt x="783" y="1917"/>
                        </a:lnTo>
                        <a:lnTo>
                          <a:pt x="777" y="1921"/>
                        </a:lnTo>
                        <a:lnTo>
                          <a:pt x="773" y="1924"/>
                        </a:lnTo>
                        <a:lnTo>
                          <a:pt x="772" y="1936"/>
                        </a:lnTo>
                        <a:lnTo>
                          <a:pt x="770" y="1940"/>
                        </a:lnTo>
                        <a:lnTo>
                          <a:pt x="766" y="1940"/>
                        </a:lnTo>
                        <a:lnTo>
                          <a:pt x="758" y="1944"/>
                        </a:lnTo>
                        <a:lnTo>
                          <a:pt x="743" y="1942"/>
                        </a:lnTo>
                        <a:lnTo>
                          <a:pt x="735" y="1946"/>
                        </a:lnTo>
                        <a:lnTo>
                          <a:pt x="733" y="1944"/>
                        </a:lnTo>
                        <a:lnTo>
                          <a:pt x="729" y="1940"/>
                        </a:lnTo>
                        <a:lnTo>
                          <a:pt x="720" y="1940"/>
                        </a:lnTo>
                        <a:lnTo>
                          <a:pt x="716" y="1934"/>
                        </a:lnTo>
                        <a:lnTo>
                          <a:pt x="704" y="1928"/>
                        </a:lnTo>
                        <a:lnTo>
                          <a:pt x="693" y="1915"/>
                        </a:lnTo>
                        <a:lnTo>
                          <a:pt x="683" y="1911"/>
                        </a:lnTo>
                        <a:lnTo>
                          <a:pt x="677" y="1905"/>
                        </a:lnTo>
                        <a:lnTo>
                          <a:pt x="670" y="1894"/>
                        </a:lnTo>
                        <a:lnTo>
                          <a:pt x="666" y="1875"/>
                        </a:lnTo>
                        <a:lnTo>
                          <a:pt x="656" y="1857"/>
                        </a:lnTo>
                        <a:lnTo>
                          <a:pt x="656" y="1852"/>
                        </a:lnTo>
                        <a:lnTo>
                          <a:pt x="656" y="1842"/>
                        </a:lnTo>
                        <a:lnTo>
                          <a:pt x="654" y="1838"/>
                        </a:lnTo>
                        <a:lnTo>
                          <a:pt x="637" y="1832"/>
                        </a:lnTo>
                        <a:lnTo>
                          <a:pt x="624" y="1811"/>
                        </a:lnTo>
                        <a:lnTo>
                          <a:pt x="597" y="1813"/>
                        </a:lnTo>
                        <a:lnTo>
                          <a:pt x="591" y="1811"/>
                        </a:lnTo>
                        <a:lnTo>
                          <a:pt x="591" y="1809"/>
                        </a:lnTo>
                        <a:lnTo>
                          <a:pt x="583" y="1804"/>
                        </a:lnTo>
                        <a:lnTo>
                          <a:pt x="574" y="1790"/>
                        </a:lnTo>
                        <a:lnTo>
                          <a:pt x="566" y="1786"/>
                        </a:lnTo>
                        <a:lnTo>
                          <a:pt x="560" y="1777"/>
                        </a:lnTo>
                        <a:lnTo>
                          <a:pt x="559" y="1777"/>
                        </a:lnTo>
                        <a:lnTo>
                          <a:pt x="547" y="1765"/>
                        </a:lnTo>
                        <a:lnTo>
                          <a:pt x="532" y="1758"/>
                        </a:lnTo>
                        <a:lnTo>
                          <a:pt x="528" y="1754"/>
                        </a:lnTo>
                        <a:lnTo>
                          <a:pt x="528" y="1750"/>
                        </a:lnTo>
                        <a:lnTo>
                          <a:pt x="520" y="1733"/>
                        </a:lnTo>
                        <a:lnTo>
                          <a:pt x="511" y="1719"/>
                        </a:lnTo>
                        <a:lnTo>
                          <a:pt x="499" y="1717"/>
                        </a:lnTo>
                        <a:lnTo>
                          <a:pt x="493" y="1717"/>
                        </a:lnTo>
                        <a:lnTo>
                          <a:pt x="480" y="1717"/>
                        </a:lnTo>
                        <a:lnTo>
                          <a:pt x="470" y="1713"/>
                        </a:lnTo>
                        <a:lnTo>
                          <a:pt x="463" y="1706"/>
                        </a:lnTo>
                        <a:lnTo>
                          <a:pt x="457" y="1704"/>
                        </a:lnTo>
                        <a:lnTo>
                          <a:pt x="451" y="1696"/>
                        </a:lnTo>
                        <a:lnTo>
                          <a:pt x="447" y="1696"/>
                        </a:lnTo>
                        <a:lnTo>
                          <a:pt x="447" y="1694"/>
                        </a:lnTo>
                        <a:lnTo>
                          <a:pt x="443" y="1694"/>
                        </a:lnTo>
                        <a:lnTo>
                          <a:pt x="436" y="1688"/>
                        </a:lnTo>
                        <a:lnTo>
                          <a:pt x="428" y="1690"/>
                        </a:lnTo>
                        <a:lnTo>
                          <a:pt x="418" y="1688"/>
                        </a:lnTo>
                        <a:lnTo>
                          <a:pt x="411" y="1683"/>
                        </a:lnTo>
                        <a:lnTo>
                          <a:pt x="397" y="1669"/>
                        </a:lnTo>
                        <a:lnTo>
                          <a:pt x="394" y="1663"/>
                        </a:lnTo>
                        <a:lnTo>
                          <a:pt x="394" y="1663"/>
                        </a:lnTo>
                        <a:lnTo>
                          <a:pt x="388" y="1648"/>
                        </a:lnTo>
                        <a:lnTo>
                          <a:pt x="384" y="1639"/>
                        </a:lnTo>
                        <a:lnTo>
                          <a:pt x="384" y="1635"/>
                        </a:lnTo>
                        <a:lnTo>
                          <a:pt x="369" y="1629"/>
                        </a:lnTo>
                        <a:lnTo>
                          <a:pt x="365" y="1621"/>
                        </a:lnTo>
                        <a:lnTo>
                          <a:pt x="349" y="1608"/>
                        </a:lnTo>
                        <a:lnTo>
                          <a:pt x="344" y="1604"/>
                        </a:lnTo>
                        <a:lnTo>
                          <a:pt x="338" y="1604"/>
                        </a:lnTo>
                        <a:lnTo>
                          <a:pt x="334" y="1606"/>
                        </a:lnTo>
                        <a:lnTo>
                          <a:pt x="334" y="1614"/>
                        </a:lnTo>
                        <a:lnTo>
                          <a:pt x="332" y="1616"/>
                        </a:lnTo>
                        <a:lnTo>
                          <a:pt x="332" y="1621"/>
                        </a:lnTo>
                        <a:lnTo>
                          <a:pt x="326" y="1629"/>
                        </a:lnTo>
                        <a:lnTo>
                          <a:pt x="307" y="1642"/>
                        </a:lnTo>
                        <a:lnTo>
                          <a:pt x="294" y="1646"/>
                        </a:lnTo>
                        <a:lnTo>
                          <a:pt x="286" y="1650"/>
                        </a:lnTo>
                        <a:lnTo>
                          <a:pt x="282" y="1650"/>
                        </a:lnTo>
                        <a:lnTo>
                          <a:pt x="278" y="1648"/>
                        </a:lnTo>
                        <a:lnTo>
                          <a:pt x="271" y="1648"/>
                        </a:lnTo>
                        <a:lnTo>
                          <a:pt x="269" y="1642"/>
                        </a:lnTo>
                        <a:lnTo>
                          <a:pt x="269" y="1635"/>
                        </a:lnTo>
                        <a:lnTo>
                          <a:pt x="267" y="1629"/>
                        </a:lnTo>
                        <a:lnTo>
                          <a:pt x="271" y="1617"/>
                        </a:lnTo>
                        <a:lnTo>
                          <a:pt x="269" y="1608"/>
                        </a:lnTo>
                        <a:lnTo>
                          <a:pt x="271" y="1598"/>
                        </a:lnTo>
                        <a:lnTo>
                          <a:pt x="269" y="1594"/>
                        </a:lnTo>
                        <a:lnTo>
                          <a:pt x="263" y="1585"/>
                        </a:lnTo>
                        <a:lnTo>
                          <a:pt x="255" y="1579"/>
                        </a:lnTo>
                        <a:lnTo>
                          <a:pt x="250" y="1571"/>
                        </a:lnTo>
                        <a:lnTo>
                          <a:pt x="246" y="1562"/>
                        </a:lnTo>
                        <a:lnTo>
                          <a:pt x="242" y="1556"/>
                        </a:lnTo>
                        <a:lnTo>
                          <a:pt x="236" y="1554"/>
                        </a:lnTo>
                        <a:lnTo>
                          <a:pt x="228" y="1545"/>
                        </a:lnTo>
                        <a:lnTo>
                          <a:pt x="215" y="1537"/>
                        </a:lnTo>
                        <a:lnTo>
                          <a:pt x="204" y="1521"/>
                        </a:lnTo>
                        <a:lnTo>
                          <a:pt x="196" y="1516"/>
                        </a:lnTo>
                        <a:lnTo>
                          <a:pt x="188" y="1504"/>
                        </a:lnTo>
                        <a:lnTo>
                          <a:pt x="182" y="1500"/>
                        </a:lnTo>
                        <a:lnTo>
                          <a:pt x="171" y="1495"/>
                        </a:lnTo>
                        <a:lnTo>
                          <a:pt x="165" y="1491"/>
                        </a:lnTo>
                        <a:lnTo>
                          <a:pt x="161" y="1483"/>
                        </a:lnTo>
                        <a:lnTo>
                          <a:pt x="156" y="1477"/>
                        </a:lnTo>
                        <a:lnTo>
                          <a:pt x="144" y="1472"/>
                        </a:lnTo>
                        <a:lnTo>
                          <a:pt x="134" y="1460"/>
                        </a:lnTo>
                        <a:lnTo>
                          <a:pt x="131" y="1458"/>
                        </a:lnTo>
                        <a:lnTo>
                          <a:pt x="123" y="1458"/>
                        </a:lnTo>
                        <a:lnTo>
                          <a:pt x="111" y="1460"/>
                        </a:lnTo>
                        <a:lnTo>
                          <a:pt x="90" y="1468"/>
                        </a:lnTo>
                        <a:lnTo>
                          <a:pt x="85" y="1475"/>
                        </a:lnTo>
                        <a:lnTo>
                          <a:pt x="77" y="1493"/>
                        </a:lnTo>
                        <a:lnTo>
                          <a:pt x="67" y="1498"/>
                        </a:lnTo>
                        <a:lnTo>
                          <a:pt x="50" y="1498"/>
                        </a:lnTo>
                        <a:lnTo>
                          <a:pt x="42" y="1500"/>
                        </a:lnTo>
                        <a:lnTo>
                          <a:pt x="37" y="1500"/>
                        </a:lnTo>
                        <a:lnTo>
                          <a:pt x="25" y="1497"/>
                        </a:lnTo>
                        <a:lnTo>
                          <a:pt x="17" y="1493"/>
                        </a:lnTo>
                        <a:lnTo>
                          <a:pt x="10" y="1489"/>
                        </a:lnTo>
                        <a:lnTo>
                          <a:pt x="4" y="1485"/>
                        </a:lnTo>
                        <a:lnTo>
                          <a:pt x="0" y="1485"/>
                        </a:lnTo>
                        <a:lnTo>
                          <a:pt x="6" y="1479"/>
                        </a:lnTo>
                        <a:lnTo>
                          <a:pt x="23" y="1466"/>
                        </a:lnTo>
                        <a:lnTo>
                          <a:pt x="35" y="1450"/>
                        </a:lnTo>
                        <a:lnTo>
                          <a:pt x="42" y="1445"/>
                        </a:lnTo>
                        <a:lnTo>
                          <a:pt x="50" y="1435"/>
                        </a:lnTo>
                        <a:lnTo>
                          <a:pt x="52" y="1422"/>
                        </a:lnTo>
                        <a:lnTo>
                          <a:pt x="54" y="1412"/>
                        </a:lnTo>
                        <a:lnTo>
                          <a:pt x="58" y="1408"/>
                        </a:lnTo>
                        <a:lnTo>
                          <a:pt x="62" y="1404"/>
                        </a:lnTo>
                        <a:lnTo>
                          <a:pt x="69" y="1399"/>
                        </a:lnTo>
                        <a:lnTo>
                          <a:pt x="85" y="1397"/>
                        </a:lnTo>
                        <a:lnTo>
                          <a:pt x="90" y="1393"/>
                        </a:lnTo>
                        <a:lnTo>
                          <a:pt x="92" y="1391"/>
                        </a:lnTo>
                        <a:lnTo>
                          <a:pt x="115" y="1355"/>
                        </a:lnTo>
                        <a:lnTo>
                          <a:pt x="134" y="1339"/>
                        </a:lnTo>
                        <a:lnTo>
                          <a:pt x="138" y="1332"/>
                        </a:lnTo>
                        <a:lnTo>
                          <a:pt x="146" y="1316"/>
                        </a:lnTo>
                        <a:lnTo>
                          <a:pt x="154" y="1312"/>
                        </a:lnTo>
                        <a:lnTo>
                          <a:pt x="156" y="1310"/>
                        </a:lnTo>
                        <a:lnTo>
                          <a:pt x="159" y="1299"/>
                        </a:lnTo>
                        <a:lnTo>
                          <a:pt x="163" y="1285"/>
                        </a:lnTo>
                        <a:lnTo>
                          <a:pt x="167" y="1280"/>
                        </a:lnTo>
                        <a:lnTo>
                          <a:pt x="177" y="1270"/>
                        </a:lnTo>
                        <a:lnTo>
                          <a:pt x="184" y="1264"/>
                        </a:lnTo>
                        <a:lnTo>
                          <a:pt x="194" y="1262"/>
                        </a:lnTo>
                        <a:lnTo>
                          <a:pt x="198" y="1259"/>
                        </a:lnTo>
                        <a:lnTo>
                          <a:pt x="204" y="1239"/>
                        </a:lnTo>
                        <a:lnTo>
                          <a:pt x="213" y="1232"/>
                        </a:lnTo>
                        <a:lnTo>
                          <a:pt x="217" y="1226"/>
                        </a:lnTo>
                        <a:lnTo>
                          <a:pt x="221" y="1209"/>
                        </a:lnTo>
                        <a:lnTo>
                          <a:pt x="225" y="1205"/>
                        </a:lnTo>
                        <a:lnTo>
                          <a:pt x="238" y="1199"/>
                        </a:lnTo>
                        <a:lnTo>
                          <a:pt x="242" y="1197"/>
                        </a:lnTo>
                        <a:lnTo>
                          <a:pt x="253" y="1178"/>
                        </a:lnTo>
                        <a:lnTo>
                          <a:pt x="269" y="1165"/>
                        </a:lnTo>
                        <a:lnTo>
                          <a:pt x="269" y="1153"/>
                        </a:lnTo>
                        <a:lnTo>
                          <a:pt x="275" y="1149"/>
                        </a:lnTo>
                        <a:lnTo>
                          <a:pt x="290" y="1142"/>
                        </a:lnTo>
                        <a:lnTo>
                          <a:pt x="290" y="1140"/>
                        </a:lnTo>
                        <a:lnTo>
                          <a:pt x="290" y="1136"/>
                        </a:lnTo>
                        <a:lnTo>
                          <a:pt x="290" y="1124"/>
                        </a:lnTo>
                        <a:lnTo>
                          <a:pt x="292" y="1120"/>
                        </a:lnTo>
                        <a:lnTo>
                          <a:pt x="296" y="1119"/>
                        </a:lnTo>
                        <a:lnTo>
                          <a:pt x="307" y="1120"/>
                        </a:lnTo>
                        <a:lnTo>
                          <a:pt x="311" y="1122"/>
                        </a:lnTo>
                        <a:lnTo>
                          <a:pt x="319" y="1130"/>
                        </a:lnTo>
                        <a:lnTo>
                          <a:pt x="321" y="1132"/>
                        </a:lnTo>
                        <a:lnTo>
                          <a:pt x="323" y="1128"/>
                        </a:lnTo>
                        <a:lnTo>
                          <a:pt x="324" y="1122"/>
                        </a:lnTo>
                        <a:lnTo>
                          <a:pt x="323" y="1115"/>
                        </a:lnTo>
                        <a:lnTo>
                          <a:pt x="309" y="1103"/>
                        </a:lnTo>
                        <a:lnTo>
                          <a:pt x="307" y="1099"/>
                        </a:lnTo>
                        <a:lnTo>
                          <a:pt x="311" y="1096"/>
                        </a:lnTo>
                        <a:lnTo>
                          <a:pt x="328" y="1084"/>
                        </a:lnTo>
                        <a:lnTo>
                          <a:pt x="336" y="1078"/>
                        </a:lnTo>
                        <a:lnTo>
                          <a:pt x="344" y="1080"/>
                        </a:lnTo>
                        <a:lnTo>
                          <a:pt x="346" y="1078"/>
                        </a:lnTo>
                        <a:lnTo>
                          <a:pt x="355" y="1069"/>
                        </a:lnTo>
                        <a:lnTo>
                          <a:pt x="363" y="1069"/>
                        </a:lnTo>
                        <a:lnTo>
                          <a:pt x="374" y="1053"/>
                        </a:lnTo>
                        <a:lnTo>
                          <a:pt x="374" y="1044"/>
                        </a:lnTo>
                        <a:lnTo>
                          <a:pt x="378" y="1034"/>
                        </a:lnTo>
                        <a:lnTo>
                          <a:pt x="384" y="1030"/>
                        </a:lnTo>
                        <a:lnTo>
                          <a:pt x="394" y="1028"/>
                        </a:lnTo>
                        <a:lnTo>
                          <a:pt x="403" y="1023"/>
                        </a:lnTo>
                        <a:lnTo>
                          <a:pt x="407" y="1023"/>
                        </a:lnTo>
                        <a:lnTo>
                          <a:pt x="409" y="1025"/>
                        </a:lnTo>
                        <a:lnTo>
                          <a:pt x="413" y="1026"/>
                        </a:lnTo>
                        <a:lnTo>
                          <a:pt x="415" y="1025"/>
                        </a:lnTo>
                        <a:lnTo>
                          <a:pt x="415" y="1019"/>
                        </a:lnTo>
                        <a:lnTo>
                          <a:pt x="418" y="1017"/>
                        </a:lnTo>
                        <a:lnTo>
                          <a:pt x="422" y="1019"/>
                        </a:lnTo>
                        <a:lnTo>
                          <a:pt x="428" y="1019"/>
                        </a:lnTo>
                        <a:lnTo>
                          <a:pt x="428" y="1015"/>
                        </a:lnTo>
                        <a:lnTo>
                          <a:pt x="422" y="1011"/>
                        </a:lnTo>
                        <a:lnTo>
                          <a:pt x="422" y="1005"/>
                        </a:lnTo>
                        <a:lnTo>
                          <a:pt x="422" y="1003"/>
                        </a:lnTo>
                        <a:lnTo>
                          <a:pt x="428" y="1001"/>
                        </a:lnTo>
                        <a:lnTo>
                          <a:pt x="436" y="1003"/>
                        </a:lnTo>
                        <a:lnTo>
                          <a:pt x="440" y="1001"/>
                        </a:lnTo>
                        <a:lnTo>
                          <a:pt x="443" y="1001"/>
                        </a:lnTo>
                        <a:lnTo>
                          <a:pt x="445" y="1001"/>
                        </a:lnTo>
                        <a:lnTo>
                          <a:pt x="453" y="977"/>
                        </a:lnTo>
                        <a:lnTo>
                          <a:pt x="457" y="971"/>
                        </a:lnTo>
                        <a:lnTo>
                          <a:pt x="465" y="967"/>
                        </a:lnTo>
                        <a:lnTo>
                          <a:pt x="468" y="957"/>
                        </a:lnTo>
                        <a:lnTo>
                          <a:pt x="468" y="955"/>
                        </a:lnTo>
                        <a:lnTo>
                          <a:pt x="472" y="957"/>
                        </a:lnTo>
                        <a:lnTo>
                          <a:pt x="474" y="963"/>
                        </a:lnTo>
                        <a:lnTo>
                          <a:pt x="480" y="965"/>
                        </a:lnTo>
                        <a:lnTo>
                          <a:pt x="484" y="963"/>
                        </a:lnTo>
                        <a:lnTo>
                          <a:pt x="489" y="963"/>
                        </a:lnTo>
                        <a:lnTo>
                          <a:pt x="493" y="963"/>
                        </a:lnTo>
                        <a:lnTo>
                          <a:pt x="493" y="959"/>
                        </a:lnTo>
                        <a:lnTo>
                          <a:pt x="491" y="957"/>
                        </a:lnTo>
                        <a:lnTo>
                          <a:pt x="491" y="957"/>
                        </a:lnTo>
                        <a:lnTo>
                          <a:pt x="491" y="954"/>
                        </a:lnTo>
                        <a:lnTo>
                          <a:pt x="495" y="954"/>
                        </a:lnTo>
                        <a:lnTo>
                          <a:pt x="501" y="955"/>
                        </a:lnTo>
                        <a:lnTo>
                          <a:pt x="503" y="954"/>
                        </a:lnTo>
                        <a:lnTo>
                          <a:pt x="507" y="944"/>
                        </a:lnTo>
                        <a:lnTo>
                          <a:pt x="509" y="940"/>
                        </a:lnTo>
                        <a:lnTo>
                          <a:pt x="512" y="940"/>
                        </a:lnTo>
                        <a:lnTo>
                          <a:pt x="518" y="946"/>
                        </a:lnTo>
                        <a:lnTo>
                          <a:pt x="526" y="944"/>
                        </a:lnTo>
                        <a:lnTo>
                          <a:pt x="530" y="944"/>
                        </a:lnTo>
                        <a:lnTo>
                          <a:pt x="532" y="944"/>
                        </a:lnTo>
                        <a:lnTo>
                          <a:pt x="532" y="942"/>
                        </a:lnTo>
                        <a:lnTo>
                          <a:pt x="526" y="938"/>
                        </a:lnTo>
                        <a:lnTo>
                          <a:pt x="526" y="934"/>
                        </a:lnTo>
                        <a:lnTo>
                          <a:pt x="530" y="932"/>
                        </a:lnTo>
                        <a:lnTo>
                          <a:pt x="539" y="934"/>
                        </a:lnTo>
                        <a:lnTo>
                          <a:pt x="547" y="942"/>
                        </a:lnTo>
                        <a:lnTo>
                          <a:pt x="549" y="942"/>
                        </a:lnTo>
                        <a:lnTo>
                          <a:pt x="551" y="940"/>
                        </a:lnTo>
                        <a:lnTo>
                          <a:pt x="549" y="934"/>
                        </a:lnTo>
                        <a:lnTo>
                          <a:pt x="549" y="932"/>
                        </a:lnTo>
                        <a:lnTo>
                          <a:pt x="551" y="932"/>
                        </a:lnTo>
                        <a:lnTo>
                          <a:pt x="557" y="936"/>
                        </a:lnTo>
                        <a:lnTo>
                          <a:pt x="559" y="936"/>
                        </a:lnTo>
                        <a:lnTo>
                          <a:pt x="562" y="930"/>
                        </a:lnTo>
                        <a:lnTo>
                          <a:pt x="570" y="927"/>
                        </a:lnTo>
                        <a:lnTo>
                          <a:pt x="572" y="925"/>
                        </a:lnTo>
                        <a:lnTo>
                          <a:pt x="574" y="909"/>
                        </a:lnTo>
                        <a:lnTo>
                          <a:pt x="576" y="904"/>
                        </a:lnTo>
                        <a:lnTo>
                          <a:pt x="580" y="904"/>
                        </a:lnTo>
                        <a:lnTo>
                          <a:pt x="582" y="909"/>
                        </a:lnTo>
                        <a:lnTo>
                          <a:pt x="587" y="909"/>
                        </a:lnTo>
                        <a:lnTo>
                          <a:pt x="597" y="906"/>
                        </a:lnTo>
                        <a:lnTo>
                          <a:pt x="606" y="896"/>
                        </a:lnTo>
                        <a:lnTo>
                          <a:pt x="610" y="896"/>
                        </a:lnTo>
                        <a:lnTo>
                          <a:pt x="614" y="894"/>
                        </a:lnTo>
                        <a:lnTo>
                          <a:pt x="618" y="888"/>
                        </a:lnTo>
                        <a:lnTo>
                          <a:pt x="626" y="888"/>
                        </a:lnTo>
                        <a:lnTo>
                          <a:pt x="631" y="884"/>
                        </a:lnTo>
                        <a:lnTo>
                          <a:pt x="633" y="884"/>
                        </a:lnTo>
                        <a:lnTo>
                          <a:pt x="643" y="888"/>
                        </a:lnTo>
                        <a:lnTo>
                          <a:pt x="631" y="884"/>
                        </a:lnTo>
                        <a:lnTo>
                          <a:pt x="639" y="877"/>
                        </a:lnTo>
                        <a:lnTo>
                          <a:pt x="643" y="873"/>
                        </a:lnTo>
                        <a:lnTo>
                          <a:pt x="645" y="867"/>
                        </a:lnTo>
                        <a:lnTo>
                          <a:pt x="651" y="863"/>
                        </a:lnTo>
                        <a:lnTo>
                          <a:pt x="653" y="858"/>
                        </a:lnTo>
                        <a:lnTo>
                          <a:pt x="658" y="844"/>
                        </a:lnTo>
                        <a:lnTo>
                          <a:pt x="664" y="835"/>
                        </a:lnTo>
                        <a:lnTo>
                          <a:pt x="664" y="829"/>
                        </a:lnTo>
                        <a:lnTo>
                          <a:pt x="660" y="825"/>
                        </a:lnTo>
                        <a:lnTo>
                          <a:pt x="656" y="806"/>
                        </a:lnTo>
                        <a:lnTo>
                          <a:pt x="653" y="800"/>
                        </a:lnTo>
                        <a:lnTo>
                          <a:pt x="654" y="790"/>
                        </a:lnTo>
                        <a:lnTo>
                          <a:pt x="653" y="785"/>
                        </a:lnTo>
                        <a:lnTo>
                          <a:pt x="654" y="773"/>
                        </a:lnTo>
                        <a:lnTo>
                          <a:pt x="654" y="765"/>
                        </a:lnTo>
                        <a:lnTo>
                          <a:pt x="656" y="758"/>
                        </a:lnTo>
                        <a:lnTo>
                          <a:pt x="660" y="746"/>
                        </a:lnTo>
                        <a:lnTo>
                          <a:pt x="660" y="735"/>
                        </a:lnTo>
                        <a:lnTo>
                          <a:pt x="666" y="721"/>
                        </a:lnTo>
                        <a:lnTo>
                          <a:pt x="668" y="712"/>
                        </a:lnTo>
                        <a:lnTo>
                          <a:pt x="666" y="710"/>
                        </a:lnTo>
                        <a:lnTo>
                          <a:pt x="666" y="710"/>
                        </a:lnTo>
                        <a:lnTo>
                          <a:pt x="660" y="693"/>
                        </a:lnTo>
                        <a:lnTo>
                          <a:pt x="656" y="691"/>
                        </a:lnTo>
                        <a:lnTo>
                          <a:pt x="653" y="683"/>
                        </a:lnTo>
                        <a:lnTo>
                          <a:pt x="653" y="668"/>
                        </a:lnTo>
                        <a:lnTo>
                          <a:pt x="649" y="662"/>
                        </a:lnTo>
                        <a:lnTo>
                          <a:pt x="641" y="658"/>
                        </a:lnTo>
                        <a:lnTo>
                          <a:pt x="639" y="654"/>
                        </a:lnTo>
                        <a:lnTo>
                          <a:pt x="639" y="648"/>
                        </a:lnTo>
                        <a:lnTo>
                          <a:pt x="641" y="641"/>
                        </a:lnTo>
                        <a:lnTo>
                          <a:pt x="637" y="633"/>
                        </a:lnTo>
                        <a:lnTo>
                          <a:pt x="639" y="620"/>
                        </a:lnTo>
                        <a:lnTo>
                          <a:pt x="637" y="618"/>
                        </a:lnTo>
                        <a:lnTo>
                          <a:pt x="633" y="614"/>
                        </a:lnTo>
                        <a:lnTo>
                          <a:pt x="631" y="612"/>
                        </a:lnTo>
                        <a:lnTo>
                          <a:pt x="633" y="604"/>
                        </a:lnTo>
                        <a:lnTo>
                          <a:pt x="631" y="595"/>
                        </a:lnTo>
                        <a:lnTo>
                          <a:pt x="630" y="593"/>
                        </a:lnTo>
                        <a:lnTo>
                          <a:pt x="622" y="595"/>
                        </a:lnTo>
                        <a:lnTo>
                          <a:pt x="610" y="581"/>
                        </a:lnTo>
                        <a:lnTo>
                          <a:pt x="601" y="581"/>
                        </a:lnTo>
                        <a:lnTo>
                          <a:pt x="593" y="583"/>
                        </a:lnTo>
                        <a:lnTo>
                          <a:pt x="589" y="583"/>
                        </a:lnTo>
                        <a:lnTo>
                          <a:pt x="585" y="579"/>
                        </a:lnTo>
                        <a:lnTo>
                          <a:pt x="585" y="577"/>
                        </a:lnTo>
                        <a:lnTo>
                          <a:pt x="591" y="570"/>
                        </a:lnTo>
                        <a:lnTo>
                          <a:pt x="591" y="568"/>
                        </a:lnTo>
                        <a:lnTo>
                          <a:pt x="587" y="568"/>
                        </a:lnTo>
                        <a:lnTo>
                          <a:pt x="580" y="574"/>
                        </a:lnTo>
                        <a:lnTo>
                          <a:pt x="574" y="574"/>
                        </a:lnTo>
                        <a:lnTo>
                          <a:pt x="574" y="577"/>
                        </a:lnTo>
                        <a:lnTo>
                          <a:pt x="582" y="581"/>
                        </a:lnTo>
                        <a:lnTo>
                          <a:pt x="580" y="585"/>
                        </a:lnTo>
                        <a:lnTo>
                          <a:pt x="576" y="585"/>
                        </a:lnTo>
                        <a:lnTo>
                          <a:pt x="570" y="581"/>
                        </a:lnTo>
                        <a:lnTo>
                          <a:pt x="562" y="583"/>
                        </a:lnTo>
                        <a:lnTo>
                          <a:pt x="560" y="579"/>
                        </a:lnTo>
                        <a:lnTo>
                          <a:pt x="557" y="579"/>
                        </a:lnTo>
                        <a:lnTo>
                          <a:pt x="551" y="581"/>
                        </a:lnTo>
                        <a:lnTo>
                          <a:pt x="545" y="589"/>
                        </a:lnTo>
                        <a:lnTo>
                          <a:pt x="539" y="589"/>
                        </a:lnTo>
                        <a:lnTo>
                          <a:pt x="534" y="593"/>
                        </a:lnTo>
                        <a:lnTo>
                          <a:pt x="532" y="595"/>
                        </a:lnTo>
                        <a:lnTo>
                          <a:pt x="524" y="597"/>
                        </a:lnTo>
                        <a:lnTo>
                          <a:pt x="522" y="593"/>
                        </a:lnTo>
                        <a:lnTo>
                          <a:pt x="518" y="587"/>
                        </a:lnTo>
                        <a:lnTo>
                          <a:pt x="512" y="585"/>
                        </a:lnTo>
                        <a:lnTo>
                          <a:pt x="509" y="585"/>
                        </a:lnTo>
                        <a:lnTo>
                          <a:pt x="511" y="581"/>
                        </a:lnTo>
                        <a:lnTo>
                          <a:pt x="511" y="566"/>
                        </a:lnTo>
                        <a:lnTo>
                          <a:pt x="514" y="556"/>
                        </a:lnTo>
                        <a:lnTo>
                          <a:pt x="532" y="529"/>
                        </a:lnTo>
                        <a:lnTo>
                          <a:pt x="536" y="516"/>
                        </a:lnTo>
                        <a:lnTo>
                          <a:pt x="539" y="512"/>
                        </a:lnTo>
                        <a:lnTo>
                          <a:pt x="539" y="503"/>
                        </a:lnTo>
                        <a:lnTo>
                          <a:pt x="536" y="489"/>
                        </a:lnTo>
                        <a:lnTo>
                          <a:pt x="537" y="478"/>
                        </a:lnTo>
                        <a:lnTo>
                          <a:pt x="537" y="458"/>
                        </a:lnTo>
                        <a:lnTo>
                          <a:pt x="545" y="441"/>
                        </a:lnTo>
                        <a:lnTo>
                          <a:pt x="557" y="407"/>
                        </a:lnTo>
                        <a:lnTo>
                          <a:pt x="555" y="401"/>
                        </a:lnTo>
                        <a:lnTo>
                          <a:pt x="559" y="395"/>
                        </a:lnTo>
                        <a:lnTo>
                          <a:pt x="559" y="389"/>
                        </a:lnTo>
                        <a:lnTo>
                          <a:pt x="553" y="380"/>
                        </a:lnTo>
                        <a:lnTo>
                          <a:pt x="553" y="378"/>
                        </a:lnTo>
                        <a:lnTo>
                          <a:pt x="555" y="374"/>
                        </a:lnTo>
                        <a:lnTo>
                          <a:pt x="557" y="368"/>
                        </a:lnTo>
                        <a:lnTo>
                          <a:pt x="557" y="368"/>
                        </a:lnTo>
                        <a:lnTo>
                          <a:pt x="562" y="353"/>
                        </a:lnTo>
                        <a:lnTo>
                          <a:pt x="564" y="343"/>
                        </a:lnTo>
                        <a:lnTo>
                          <a:pt x="557" y="328"/>
                        </a:lnTo>
                        <a:lnTo>
                          <a:pt x="553" y="311"/>
                        </a:lnTo>
                        <a:lnTo>
                          <a:pt x="553" y="307"/>
                        </a:lnTo>
                        <a:lnTo>
                          <a:pt x="555" y="303"/>
                        </a:lnTo>
                        <a:lnTo>
                          <a:pt x="557" y="297"/>
                        </a:lnTo>
                        <a:lnTo>
                          <a:pt x="553" y="291"/>
                        </a:lnTo>
                        <a:lnTo>
                          <a:pt x="557" y="288"/>
                        </a:lnTo>
                        <a:lnTo>
                          <a:pt x="557" y="288"/>
                        </a:lnTo>
                        <a:lnTo>
                          <a:pt x="564" y="286"/>
                        </a:lnTo>
                        <a:lnTo>
                          <a:pt x="574" y="272"/>
                        </a:lnTo>
                        <a:lnTo>
                          <a:pt x="585" y="259"/>
                        </a:lnTo>
                        <a:lnTo>
                          <a:pt x="587" y="251"/>
                        </a:lnTo>
                        <a:lnTo>
                          <a:pt x="589" y="236"/>
                        </a:lnTo>
                        <a:lnTo>
                          <a:pt x="595" y="224"/>
                        </a:lnTo>
                        <a:lnTo>
                          <a:pt x="595" y="209"/>
                        </a:lnTo>
                        <a:lnTo>
                          <a:pt x="601" y="197"/>
                        </a:lnTo>
                        <a:lnTo>
                          <a:pt x="605" y="186"/>
                        </a:lnTo>
                        <a:lnTo>
                          <a:pt x="610" y="176"/>
                        </a:lnTo>
                        <a:lnTo>
                          <a:pt x="614" y="171"/>
                        </a:lnTo>
                        <a:lnTo>
                          <a:pt x="628" y="153"/>
                        </a:lnTo>
                        <a:lnTo>
                          <a:pt x="633" y="149"/>
                        </a:lnTo>
                        <a:lnTo>
                          <a:pt x="637" y="148"/>
                        </a:lnTo>
                        <a:lnTo>
                          <a:pt x="643" y="146"/>
                        </a:lnTo>
                        <a:lnTo>
                          <a:pt x="651" y="140"/>
                        </a:lnTo>
                        <a:lnTo>
                          <a:pt x="658" y="132"/>
                        </a:lnTo>
                        <a:lnTo>
                          <a:pt x="668" y="115"/>
                        </a:lnTo>
                        <a:lnTo>
                          <a:pt x="674" y="86"/>
                        </a:lnTo>
                        <a:lnTo>
                          <a:pt x="677" y="80"/>
                        </a:lnTo>
                        <a:lnTo>
                          <a:pt x="679" y="69"/>
                        </a:lnTo>
                        <a:lnTo>
                          <a:pt x="683" y="65"/>
                        </a:lnTo>
                        <a:lnTo>
                          <a:pt x="689" y="61"/>
                        </a:lnTo>
                        <a:lnTo>
                          <a:pt x="697" y="54"/>
                        </a:lnTo>
                        <a:lnTo>
                          <a:pt x="724" y="40"/>
                        </a:lnTo>
                        <a:lnTo>
                          <a:pt x="735" y="36"/>
                        </a:lnTo>
                        <a:lnTo>
                          <a:pt x="737" y="34"/>
                        </a:lnTo>
                        <a:lnTo>
                          <a:pt x="752" y="29"/>
                        </a:lnTo>
                        <a:lnTo>
                          <a:pt x="758" y="25"/>
                        </a:lnTo>
                        <a:lnTo>
                          <a:pt x="764" y="15"/>
                        </a:lnTo>
                        <a:lnTo>
                          <a:pt x="764" y="15"/>
                        </a:lnTo>
                        <a:lnTo>
                          <a:pt x="772" y="15"/>
                        </a:lnTo>
                        <a:lnTo>
                          <a:pt x="777" y="13"/>
                        </a:lnTo>
                        <a:lnTo>
                          <a:pt x="800" y="4"/>
                        </a:lnTo>
                        <a:lnTo>
                          <a:pt x="804" y="6"/>
                        </a:lnTo>
                        <a:lnTo>
                          <a:pt x="810" y="9"/>
                        </a:lnTo>
                        <a:lnTo>
                          <a:pt x="814" y="11"/>
                        </a:lnTo>
                        <a:lnTo>
                          <a:pt x="835" y="13"/>
                        </a:lnTo>
                        <a:lnTo>
                          <a:pt x="850" y="13"/>
                        </a:lnTo>
                        <a:lnTo>
                          <a:pt x="860" y="7"/>
                        </a:lnTo>
                        <a:lnTo>
                          <a:pt x="864" y="7"/>
                        </a:lnTo>
                        <a:lnTo>
                          <a:pt x="869" y="11"/>
                        </a:lnTo>
                        <a:lnTo>
                          <a:pt x="875" y="17"/>
                        </a:lnTo>
                        <a:lnTo>
                          <a:pt x="877" y="19"/>
                        </a:lnTo>
                        <a:lnTo>
                          <a:pt x="890" y="17"/>
                        </a:lnTo>
                        <a:lnTo>
                          <a:pt x="900" y="21"/>
                        </a:lnTo>
                        <a:lnTo>
                          <a:pt x="906" y="21"/>
                        </a:lnTo>
                        <a:lnTo>
                          <a:pt x="915" y="15"/>
                        </a:lnTo>
                        <a:lnTo>
                          <a:pt x="919" y="15"/>
                        </a:lnTo>
                        <a:lnTo>
                          <a:pt x="923" y="19"/>
                        </a:lnTo>
                        <a:lnTo>
                          <a:pt x="925" y="23"/>
                        </a:lnTo>
                        <a:lnTo>
                          <a:pt x="929" y="23"/>
                        </a:lnTo>
                        <a:lnTo>
                          <a:pt x="931" y="23"/>
                        </a:lnTo>
                        <a:lnTo>
                          <a:pt x="935" y="19"/>
                        </a:lnTo>
                        <a:lnTo>
                          <a:pt x="937" y="7"/>
                        </a:lnTo>
                        <a:lnTo>
                          <a:pt x="940" y="2"/>
                        </a:lnTo>
                        <a:lnTo>
                          <a:pt x="946" y="0"/>
                        </a:lnTo>
                        <a:lnTo>
                          <a:pt x="961" y="2"/>
                        </a:lnTo>
                        <a:lnTo>
                          <a:pt x="965" y="0"/>
                        </a:lnTo>
                        <a:lnTo>
                          <a:pt x="973" y="4"/>
                        </a:lnTo>
                        <a:lnTo>
                          <a:pt x="992" y="17"/>
                        </a:lnTo>
                        <a:lnTo>
                          <a:pt x="1009" y="17"/>
                        </a:lnTo>
                        <a:lnTo>
                          <a:pt x="1017" y="25"/>
                        </a:lnTo>
                        <a:lnTo>
                          <a:pt x="1034" y="25"/>
                        </a:lnTo>
                        <a:lnTo>
                          <a:pt x="1046" y="29"/>
                        </a:lnTo>
                        <a:lnTo>
                          <a:pt x="1052" y="27"/>
                        </a:lnTo>
                        <a:lnTo>
                          <a:pt x="1057" y="25"/>
                        </a:lnTo>
                        <a:lnTo>
                          <a:pt x="1063" y="23"/>
                        </a:lnTo>
                        <a:lnTo>
                          <a:pt x="1073" y="23"/>
                        </a:lnTo>
                        <a:lnTo>
                          <a:pt x="1080" y="27"/>
                        </a:lnTo>
                        <a:lnTo>
                          <a:pt x="1090" y="29"/>
                        </a:lnTo>
                        <a:lnTo>
                          <a:pt x="1092" y="27"/>
                        </a:lnTo>
                        <a:lnTo>
                          <a:pt x="1100" y="29"/>
                        </a:lnTo>
                        <a:lnTo>
                          <a:pt x="1103" y="34"/>
                        </a:lnTo>
                        <a:lnTo>
                          <a:pt x="1113" y="42"/>
                        </a:lnTo>
                        <a:lnTo>
                          <a:pt x="1119" y="44"/>
                        </a:lnTo>
                        <a:lnTo>
                          <a:pt x="1123" y="42"/>
                        </a:lnTo>
                        <a:lnTo>
                          <a:pt x="1128" y="42"/>
                        </a:lnTo>
                        <a:lnTo>
                          <a:pt x="1134" y="48"/>
                        </a:lnTo>
                        <a:lnTo>
                          <a:pt x="1144" y="50"/>
                        </a:lnTo>
                        <a:lnTo>
                          <a:pt x="1155" y="54"/>
                        </a:lnTo>
                        <a:lnTo>
                          <a:pt x="1165" y="55"/>
                        </a:lnTo>
                        <a:lnTo>
                          <a:pt x="1169" y="57"/>
                        </a:lnTo>
                        <a:lnTo>
                          <a:pt x="1171" y="61"/>
                        </a:lnTo>
                        <a:lnTo>
                          <a:pt x="1174" y="69"/>
                        </a:lnTo>
                        <a:lnTo>
                          <a:pt x="1182" y="75"/>
                        </a:lnTo>
                        <a:lnTo>
                          <a:pt x="1190" y="78"/>
                        </a:lnTo>
                        <a:lnTo>
                          <a:pt x="1198" y="73"/>
                        </a:lnTo>
                        <a:lnTo>
                          <a:pt x="1203" y="73"/>
                        </a:lnTo>
                        <a:lnTo>
                          <a:pt x="1209" y="75"/>
                        </a:lnTo>
                        <a:lnTo>
                          <a:pt x="1222" y="75"/>
                        </a:lnTo>
                        <a:lnTo>
                          <a:pt x="1236" y="80"/>
                        </a:lnTo>
                        <a:lnTo>
                          <a:pt x="1249" y="80"/>
                        </a:lnTo>
                        <a:lnTo>
                          <a:pt x="1261" y="82"/>
                        </a:lnTo>
                        <a:lnTo>
                          <a:pt x="1270" y="82"/>
                        </a:lnTo>
                        <a:lnTo>
                          <a:pt x="1288" y="84"/>
                        </a:lnTo>
                        <a:lnTo>
                          <a:pt x="1301" y="80"/>
                        </a:lnTo>
                        <a:lnTo>
                          <a:pt x="1307" y="78"/>
                        </a:lnTo>
                        <a:lnTo>
                          <a:pt x="1313" y="78"/>
                        </a:lnTo>
                        <a:lnTo>
                          <a:pt x="1316" y="78"/>
                        </a:lnTo>
                        <a:lnTo>
                          <a:pt x="1326" y="88"/>
                        </a:lnTo>
                        <a:lnTo>
                          <a:pt x="1330" y="94"/>
                        </a:lnTo>
                        <a:lnTo>
                          <a:pt x="1341" y="105"/>
                        </a:lnTo>
                        <a:lnTo>
                          <a:pt x="1355" y="111"/>
                        </a:lnTo>
                        <a:lnTo>
                          <a:pt x="1361" y="115"/>
                        </a:lnTo>
                        <a:lnTo>
                          <a:pt x="1368" y="115"/>
                        </a:lnTo>
                        <a:lnTo>
                          <a:pt x="1372" y="119"/>
                        </a:lnTo>
                        <a:lnTo>
                          <a:pt x="1384" y="134"/>
                        </a:lnTo>
                        <a:lnTo>
                          <a:pt x="1387" y="149"/>
                        </a:lnTo>
                        <a:lnTo>
                          <a:pt x="1387" y="167"/>
                        </a:lnTo>
                        <a:lnTo>
                          <a:pt x="1391" y="174"/>
                        </a:lnTo>
                        <a:lnTo>
                          <a:pt x="1393" y="180"/>
                        </a:lnTo>
                        <a:lnTo>
                          <a:pt x="1389" y="190"/>
                        </a:lnTo>
                        <a:lnTo>
                          <a:pt x="1387" y="197"/>
                        </a:lnTo>
                        <a:lnTo>
                          <a:pt x="1389" y="203"/>
                        </a:lnTo>
                        <a:lnTo>
                          <a:pt x="1389" y="205"/>
                        </a:lnTo>
                        <a:lnTo>
                          <a:pt x="1391" y="215"/>
                        </a:lnTo>
                        <a:lnTo>
                          <a:pt x="1397" y="226"/>
                        </a:lnTo>
                        <a:lnTo>
                          <a:pt x="1399" y="228"/>
                        </a:lnTo>
                        <a:lnTo>
                          <a:pt x="1399" y="234"/>
                        </a:lnTo>
                        <a:lnTo>
                          <a:pt x="1397" y="242"/>
                        </a:lnTo>
                        <a:lnTo>
                          <a:pt x="1397" y="251"/>
                        </a:lnTo>
                        <a:lnTo>
                          <a:pt x="1395" y="255"/>
                        </a:lnTo>
                        <a:lnTo>
                          <a:pt x="1391" y="257"/>
                        </a:lnTo>
                        <a:lnTo>
                          <a:pt x="1391" y="263"/>
                        </a:lnTo>
                        <a:lnTo>
                          <a:pt x="1405" y="278"/>
                        </a:lnTo>
                        <a:lnTo>
                          <a:pt x="1403" y="288"/>
                        </a:lnTo>
                        <a:lnTo>
                          <a:pt x="1407" y="295"/>
                        </a:lnTo>
                        <a:lnTo>
                          <a:pt x="1422" y="313"/>
                        </a:lnTo>
                        <a:lnTo>
                          <a:pt x="1430" y="320"/>
                        </a:lnTo>
                        <a:lnTo>
                          <a:pt x="1432" y="322"/>
                        </a:lnTo>
                        <a:lnTo>
                          <a:pt x="1432" y="334"/>
                        </a:lnTo>
                        <a:lnTo>
                          <a:pt x="1435" y="339"/>
                        </a:lnTo>
                        <a:lnTo>
                          <a:pt x="1437" y="345"/>
                        </a:lnTo>
                        <a:lnTo>
                          <a:pt x="1441" y="351"/>
                        </a:lnTo>
                        <a:lnTo>
                          <a:pt x="1451" y="359"/>
                        </a:lnTo>
                        <a:lnTo>
                          <a:pt x="1455" y="362"/>
                        </a:lnTo>
                        <a:lnTo>
                          <a:pt x="1455" y="366"/>
                        </a:lnTo>
                        <a:lnTo>
                          <a:pt x="1443" y="380"/>
                        </a:lnTo>
                        <a:lnTo>
                          <a:pt x="1435" y="389"/>
                        </a:lnTo>
                        <a:lnTo>
                          <a:pt x="1434" y="393"/>
                        </a:lnTo>
                        <a:lnTo>
                          <a:pt x="1432" y="403"/>
                        </a:lnTo>
                        <a:lnTo>
                          <a:pt x="1434" y="418"/>
                        </a:lnTo>
                        <a:lnTo>
                          <a:pt x="1435" y="424"/>
                        </a:lnTo>
                        <a:lnTo>
                          <a:pt x="1441" y="430"/>
                        </a:lnTo>
                        <a:lnTo>
                          <a:pt x="1478" y="430"/>
                        </a:lnTo>
                        <a:lnTo>
                          <a:pt x="1491" y="422"/>
                        </a:lnTo>
                        <a:lnTo>
                          <a:pt x="1497" y="424"/>
                        </a:lnTo>
                        <a:lnTo>
                          <a:pt x="1505" y="428"/>
                        </a:lnTo>
                        <a:lnTo>
                          <a:pt x="1516" y="428"/>
                        </a:lnTo>
                        <a:lnTo>
                          <a:pt x="1531" y="430"/>
                        </a:lnTo>
                        <a:lnTo>
                          <a:pt x="1539" y="430"/>
                        </a:lnTo>
                        <a:lnTo>
                          <a:pt x="1553" y="426"/>
                        </a:lnTo>
                        <a:lnTo>
                          <a:pt x="1553" y="430"/>
                        </a:lnTo>
                        <a:lnTo>
                          <a:pt x="1554" y="432"/>
                        </a:lnTo>
                        <a:lnTo>
                          <a:pt x="1570" y="435"/>
                        </a:lnTo>
                        <a:lnTo>
                          <a:pt x="1574" y="439"/>
                        </a:lnTo>
                        <a:lnTo>
                          <a:pt x="1572" y="445"/>
                        </a:lnTo>
                        <a:lnTo>
                          <a:pt x="1562" y="462"/>
                        </a:lnTo>
                        <a:lnTo>
                          <a:pt x="1560" y="468"/>
                        </a:lnTo>
                        <a:lnTo>
                          <a:pt x="1562" y="478"/>
                        </a:lnTo>
                        <a:lnTo>
                          <a:pt x="1558" y="483"/>
                        </a:lnTo>
                        <a:lnTo>
                          <a:pt x="1556" y="491"/>
                        </a:lnTo>
                        <a:lnTo>
                          <a:pt x="1553" y="497"/>
                        </a:lnTo>
                        <a:lnTo>
                          <a:pt x="1556" y="503"/>
                        </a:lnTo>
                        <a:lnTo>
                          <a:pt x="1572" y="512"/>
                        </a:lnTo>
                        <a:lnTo>
                          <a:pt x="1577" y="510"/>
                        </a:lnTo>
                        <a:lnTo>
                          <a:pt x="1581" y="508"/>
                        </a:lnTo>
                        <a:lnTo>
                          <a:pt x="1589" y="501"/>
                        </a:lnTo>
                        <a:lnTo>
                          <a:pt x="1591" y="499"/>
                        </a:lnTo>
                        <a:lnTo>
                          <a:pt x="1602" y="503"/>
                        </a:lnTo>
                        <a:lnTo>
                          <a:pt x="1606" y="506"/>
                        </a:lnTo>
                        <a:lnTo>
                          <a:pt x="1610" y="506"/>
                        </a:lnTo>
                        <a:lnTo>
                          <a:pt x="1625" y="497"/>
                        </a:lnTo>
                        <a:lnTo>
                          <a:pt x="1629" y="499"/>
                        </a:lnTo>
                        <a:lnTo>
                          <a:pt x="1631" y="499"/>
                        </a:lnTo>
                        <a:lnTo>
                          <a:pt x="1631" y="503"/>
                        </a:lnTo>
                        <a:lnTo>
                          <a:pt x="1631" y="510"/>
                        </a:lnTo>
                        <a:lnTo>
                          <a:pt x="1637" y="528"/>
                        </a:lnTo>
                        <a:lnTo>
                          <a:pt x="1635" y="539"/>
                        </a:lnTo>
                        <a:lnTo>
                          <a:pt x="1635" y="543"/>
                        </a:lnTo>
                        <a:lnTo>
                          <a:pt x="1641" y="543"/>
                        </a:lnTo>
                        <a:lnTo>
                          <a:pt x="1647" y="541"/>
                        </a:lnTo>
                        <a:lnTo>
                          <a:pt x="1652" y="543"/>
                        </a:lnTo>
                        <a:lnTo>
                          <a:pt x="1652" y="545"/>
                        </a:lnTo>
                        <a:lnTo>
                          <a:pt x="1647" y="552"/>
                        </a:lnTo>
                        <a:lnTo>
                          <a:pt x="1639" y="562"/>
                        </a:lnTo>
                        <a:lnTo>
                          <a:pt x="1631" y="568"/>
                        </a:lnTo>
                        <a:lnTo>
                          <a:pt x="1620" y="583"/>
                        </a:lnTo>
                        <a:lnTo>
                          <a:pt x="1618" y="585"/>
                        </a:lnTo>
                        <a:lnTo>
                          <a:pt x="1616" y="583"/>
                        </a:lnTo>
                        <a:lnTo>
                          <a:pt x="1616" y="575"/>
                        </a:lnTo>
                        <a:lnTo>
                          <a:pt x="1620" y="566"/>
                        </a:lnTo>
                        <a:lnTo>
                          <a:pt x="1622" y="560"/>
                        </a:lnTo>
                        <a:lnTo>
                          <a:pt x="1629" y="556"/>
                        </a:lnTo>
                        <a:lnTo>
                          <a:pt x="1631" y="552"/>
                        </a:lnTo>
                        <a:lnTo>
                          <a:pt x="1631" y="549"/>
                        </a:lnTo>
                        <a:lnTo>
                          <a:pt x="1627" y="549"/>
                        </a:lnTo>
                        <a:lnTo>
                          <a:pt x="1618" y="556"/>
                        </a:lnTo>
                        <a:lnTo>
                          <a:pt x="1610" y="556"/>
                        </a:lnTo>
                        <a:lnTo>
                          <a:pt x="1606" y="558"/>
                        </a:lnTo>
                        <a:lnTo>
                          <a:pt x="1604" y="558"/>
                        </a:lnTo>
                        <a:lnTo>
                          <a:pt x="1602" y="554"/>
                        </a:lnTo>
                        <a:lnTo>
                          <a:pt x="1602" y="541"/>
                        </a:lnTo>
                        <a:lnTo>
                          <a:pt x="1600" y="541"/>
                        </a:lnTo>
                        <a:lnTo>
                          <a:pt x="1597" y="547"/>
                        </a:lnTo>
                        <a:lnTo>
                          <a:pt x="1595" y="549"/>
                        </a:lnTo>
                        <a:lnTo>
                          <a:pt x="1593" y="549"/>
                        </a:lnTo>
                        <a:lnTo>
                          <a:pt x="1589" y="543"/>
                        </a:lnTo>
                        <a:lnTo>
                          <a:pt x="1585" y="541"/>
                        </a:lnTo>
                        <a:lnTo>
                          <a:pt x="1583" y="543"/>
                        </a:lnTo>
                        <a:lnTo>
                          <a:pt x="1583" y="547"/>
                        </a:lnTo>
                        <a:lnTo>
                          <a:pt x="1585" y="554"/>
                        </a:lnTo>
                        <a:lnTo>
                          <a:pt x="1581" y="554"/>
                        </a:lnTo>
                        <a:lnTo>
                          <a:pt x="1579" y="558"/>
                        </a:lnTo>
                        <a:lnTo>
                          <a:pt x="1587" y="572"/>
                        </a:lnTo>
                        <a:lnTo>
                          <a:pt x="1587" y="575"/>
                        </a:lnTo>
                        <a:lnTo>
                          <a:pt x="1585" y="577"/>
                        </a:lnTo>
                        <a:lnTo>
                          <a:pt x="1581" y="579"/>
                        </a:lnTo>
                        <a:lnTo>
                          <a:pt x="1577" y="583"/>
                        </a:lnTo>
                        <a:lnTo>
                          <a:pt x="1572" y="583"/>
                        </a:lnTo>
                        <a:lnTo>
                          <a:pt x="1545" y="577"/>
                        </a:lnTo>
                        <a:lnTo>
                          <a:pt x="1537" y="572"/>
                        </a:lnTo>
                        <a:lnTo>
                          <a:pt x="1533" y="570"/>
                        </a:lnTo>
                        <a:lnTo>
                          <a:pt x="1533" y="574"/>
                        </a:lnTo>
                        <a:lnTo>
                          <a:pt x="1537" y="579"/>
                        </a:lnTo>
                        <a:lnTo>
                          <a:pt x="1541" y="591"/>
                        </a:lnTo>
                        <a:lnTo>
                          <a:pt x="1549" y="595"/>
                        </a:lnTo>
                        <a:lnTo>
                          <a:pt x="1556" y="593"/>
                        </a:lnTo>
                        <a:lnTo>
                          <a:pt x="1562" y="593"/>
                        </a:lnTo>
                        <a:lnTo>
                          <a:pt x="1576" y="599"/>
                        </a:lnTo>
                        <a:lnTo>
                          <a:pt x="1587" y="600"/>
                        </a:lnTo>
                        <a:lnTo>
                          <a:pt x="1591" y="604"/>
                        </a:lnTo>
                        <a:lnTo>
                          <a:pt x="1593" y="608"/>
                        </a:lnTo>
                        <a:lnTo>
                          <a:pt x="1589" y="612"/>
                        </a:lnTo>
                        <a:lnTo>
                          <a:pt x="1579" y="616"/>
                        </a:lnTo>
                        <a:lnTo>
                          <a:pt x="1570" y="627"/>
                        </a:lnTo>
                        <a:lnTo>
                          <a:pt x="1564" y="641"/>
                        </a:lnTo>
                        <a:lnTo>
                          <a:pt x="1560" y="654"/>
                        </a:lnTo>
                        <a:lnTo>
                          <a:pt x="1558" y="656"/>
                        </a:lnTo>
                        <a:lnTo>
                          <a:pt x="1554" y="656"/>
                        </a:lnTo>
                        <a:lnTo>
                          <a:pt x="1545" y="654"/>
                        </a:lnTo>
                        <a:lnTo>
                          <a:pt x="1535" y="656"/>
                        </a:lnTo>
                        <a:lnTo>
                          <a:pt x="1531" y="658"/>
                        </a:lnTo>
                        <a:lnTo>
                          <a:pt x="1529" y="660"/>
                        </a:lnTo>
                        <a:lnTo>
                          <a:pt x="1529" y="662"/>
                        </a:lnTo>
                        <a:lnTo>
                          <a:pt x="1543" y="666"/>
                        </a:lnTo>
                        <a:lnTo>
                          <a:pt x="1553" y="662"/>
                        </a:lnTo>
                        <a:lnTo>
                          <a:pt x="1554" y="662"/>
                        </a:lnTo>
                        <a:lnTo>
                          <a:pt x="1554" y="668"/>
                        </a:lnTo>
                        <a:lnTo>
                          <a:pt x="1549" y="681"/>
                        </a:lnTo>
                        <a:lnTo>
                          <a:pt x="1541" y="679"/>
                        </a:lnTo>
                        <a:lnTo>
                          <a:pt x="1549" y="681"/>
                        </a:lnTo>
                        <a:lnTo>
                          <a:pt x="1547" y="702"/>
                        </a:lnTo>
                        <a:lnTo>
                          <a:pt x="1551" y="712"/>
                        </a:lnTo>
                        <a:lnTo>
                          <a:pt x="1551" y="716"/>
                        </a:lnTo>
                        <a:lnTo>
                          <a:pt x="1547" y="725"/>
                        </a:lnTo>
                        <a:lnTo>
                          <a:pt x="1539" y="725"/>
                        </a:lnTo>
                        <a:lnTo>
                          <a:pt x="1531" y="731"/>
                        </a:lnTo>
                        <a:lnTo>
                          <a:pt x="1528" y="731"/>
                        </a:lnTo>
                        <a:lnTo>
                          <a:pt x="1524" y="727"/>
                        </a:lnTo>
                        <a:lnTo>
                          <a:pt x="1522" y="721"/>
                        </a:lnTo>
                        <a:lnTo>
                          <a:pt x="1520" y="710"/>
                        </a:lnTo>
                        <a:lnTo>
                          <a:pt x="1512" y="698"/>
                        </a:lnTo>
                        <a:lnTo>
                          <a:pt x="1510" y="698"/>
                        </a:lnTo>
                        <a:lnTo>
                          <a:pt x="1510" y="702"/>
                        </a:lnTo>
                        <a:lnTo>
                          <a:pt x="1518" y="719"/>
                        </a:lnTo>
                        <a:lnTo>
                          <a:pt x="1516" y="744"/>
                        </a:lnTo>
                        <a:lnTo>
                          <a:pt x="1520" y="748"/>
                        </a:lnTo>
                        <a:lnTo>
                          <a:pt x="1522" y="756"/>
                        </a:lnTo>
                        <a:lnTo>
                          <a:pt x="1529" y="760"/>
                        </a:lnTo>
                        <a:lnTo>
                          <a:pt x="1543" y="779"/>
                        </a:lnTo>
                        <a:lnTo>
                          <a:pt x="1541" y="785"/>
                        </a:lnTo>
                        <a:lnTo>
                          <a:pt x="1539" y="788"/>
                        </a:lnTo>
                        <a:lnTo>
                          <a:pt x="1533" y="796"/>
                        </a:lnTo>
                        <a:lnTo>
                          <a:pt x="1529" y="817"/>
                        </a:lnTo>
                        <a:lnTo>
                          <a:pt x="1528" y="825"/>
                        </a:lnTo>
                        <a:lnTo>
                          <a:pt x="1529" y="835"/>
                        </a:lnTo>
                        <a:lnTo>
                          <a:pt x="1531" y="836"/>
                        </a:lnTo>
                        <a:lnTo>
                          <a:pt x="1541" y="836"/>
                        </a:lnTo>
                        <a:lnTo>
                          <a:pt x="1543" y="838"/>
                        </a:lnTo>
                        <a:lnTo>
                          <a:pt x="1543" y="840"/>
                        </a:lnTo>
                        <a:lnTo>
                          <a:pt x="1535" y="852"/>
                        </a:lnTo>
                        <a:lnTo>
                          <a:pt x="1533" y="859"/>
                        </a:lnTo>
                        <a:lnTo>
                          <a:pt x="1531" y="861"/>
                        </a:lnTo>
                        <a:lnTo>
                          <a:pt x="1535" y="869"/>
                        </a:lnTo>
                        <a:lnTo>
                          <a:pt x="1537" y="883"/>
                        </a:lnTo>
                        <a:lnTo>
                          <a:pt x="1537" y="892"/>
                        </a:lnTo>
                        <a:lnTo>
                          <a:pt x="1539" y="902"/>
                        </a:lnTo>
                        <a:lnTo>
                          <a:pt x="1543" y="906"/>
                        </a:lnTo>
                        <a:lnTo>
                          <a:pt x="1545" y="906"/>
                        </a:lnTo>
                        <a:lnTo>
                          <a:pt x="1551" y="902"/>
                        </a:lnTo>
                        <a:lnTo>
                          <a:pt x="1553" y="902"/>
                        </a:lnTo>
                        <a:lnTo>
                          <a:pt x="1560" y="907"/>
                        </a:lnTo>
                        <a:lnTo>
                          <a:pt x="1556" y="919"/>
                        </a:lnTo>
                        <a:lnTo>
                          <a:pt x="1553" y="921"/>
                        </a:lnTo>
                        <a:lnTo>
                          <a:pt x="1551" y="923"/>
                        </a:lnTo>
                        <a:lnTo>
                          <a:pt x="1547" y="917"/>
                        </a:lnTo>
                        <a:lnTo>
                          <a:pt x="1543" y="917"/>
                        </a:lnTo>
                        <a:lnTo>
                          <a:pt x="1537" y="919"/>
                        </a:lnTo>
                        <a:lnTo>
                          <a:pt x="1535" y="930"/>
                        </a:lnTo>
                        <a:lnTo>
                          <a:pt x="1537" y="934"/>
                        </a:lnTo>
                        <a:lnTo>
                          <a:pt x="1537" y="938"/>
                        </a:lnTo>
                        <a:lnTo>
                          <a:pt x="1543" y="934"/>
                        </a:lnTo>
                        <a:lnTo>
                          <a:pt x="1547" y="934"/>
                        </a:lnTo>
                        <a:lnTo>
                          <a:pt x="1549" y="948"/>
                        </a:lnTo>
                        <a:lnTo>
                          <a:pt x="1545" y="954"/>
                        </a:lnTo>
                        <a:lnTo>
                          <a:pt x="1543" y="961"/>
                        </a:lnTo>
                        <a:lnTo>
                          <a:pt x="1533" y="961"/>
                        </a:lnTo>
                        <a:lnTo>
                          <a:pt x="1529" y="965"/>
                        </a:lnTo>
                        <a:lnTo>
                          <a:pt x="1529" y="967"/>
                        </a:lnTo>
                        <a:lnTo>
                          <a:pt x="1529" y="975"/>
                        </a:lnTo>
                        <a:lnTo>
                          <a:pt x="1535" y="994"/>
                        </a:lnTo>
                        <a:lnTo>
                          <a:pt x="1533" y="998"/>
                        </a:lnTo>
                        <a:lnTo>
                          <a:pt x="1529" y="996"/>
                        </a:lnTo>
                        <a:lnTo>
                          <a:pt x="1528" y="1000"/>
                        </a:lnTo>
                        <a:lnTo>
                          <a:pt x="1524" y="1001"/>
                        </a:lnTo>
                        <a:lnTo>
                          <a:pt x="1524" y="1003"/>
                        </a:lnTo>
                        <a:lnTo>
                          <a:pt x="1528" y="1013"/>
                        </a:lnTo>
                        <a:lnTo>
                          <a:pt x="1524" y="1019"/>
                        </a:lnTo>
                        <a:lnTo>
                          <a:pt x="1524" y="1023"/>
                        </a:lnTo>
                        <a:lnTo>
                          <a:pt x="1528" y="1026"/>
                        </a:lnTo>
                        <a:lnTo>
                          <a:pt x="1529" y="1034"/>
                        </a:lnTo>
                        <a:lnTo>
                          <a:pt x="1531" y="1036"/>
                        </a:lnTo>
                        <a:lnTo>
                          <a:pt x="1533" y="1040"/>
                        </a:lnTo>
                        <a:lnTo>
                          <a:pt x="1533" y="1049"/>
                        </a:lnTo>
                        <a:lnTo>
                          <a:pt x="1531" y="1061"/>
                        </a:lnTo>
                        <a:lnTo>
                          <a:pt x="1529" y="1076"/>
                        </a:lnTo>
                        <a:lnTo>
                          <a:pt x="1526" y="1088"/>
                        </a:lnTo>
                        <a:lnTo>
                          <a:pt x="1526" y="1096"/>
                        </a:lnTo>
                        <a:lnTo>
                          <a:pt x="1524" y="1096"/>
                        </a:lnTo>
                        <a:lnTo>
                          <a:pt x="1522" y="1096"/>
                        </a:lnTo>
                        <a:lnTo>
                          <a:pt x="1520" y="1090"/>
                        </a:lnTo>
                        <a:lnTo>
                          <a:pt x="1516" y="1090"/>
                        </a:lnTo>
                        <a:lnTo>
                          <a:pt x="1516" y="1092"/>
                        </a:lnTo>
                        <a:lnTo>
                          <a:pt x="1514" y="1096"/>
                        </a:lnTo>
                        <a:lnTo>
                          <a:pt x="1520" y="1109"/>
                        </a:lnTo>
                        <a:lnTo>
                          <a:pt x="1516" y="1115"/>
                        </a:lnTo>
                        <a:lnTo>
                          <a:pt x="1514" y="1126"/>
                        </a:lnTo>
                        <a:lnTo>
                          <a:pt x="1508" y="1134"/>
                        </a:lnTo>
                        <a:lnTo>
                          <a:pt x="1506" y="1145"/>
                        </a:lnTo>
                        <a:lnTo>
                          <a:pt x="1503" y="1153"/>
                        </a:lnTo>
                        <a:lnTo>
                          <a:pt x="1501" y="1165"/>
                        </a:lnTo>
                        <a:lnTo>
                          <a:pt x="1497" y="1174"/>
                        </a:lnTo>
                        <a:lnTo>
                          <a:pt x="1493" y="1176"/>
                        </a:lnTo>
                        <a:lnTo>
                          <a:pt x="1489" y="1184"/>
                        </a:lnTo>
                        <a:lnTo>
                          <a:pt x="1487" y="1186"/>
                        </a:lnTo>
                        <a:lnTo>
                          <a:pt x="1472" y="1190"/>
                        </a:lnTo>
                        <a:lnTo>
                          <a:pt x="1457" y="1197"/>
                        </a:lnTo>
                        <a:lnTo>
                          <a:pt x="1435" y="1213"/>
                        </a:lnTo>
                        <a:lnTo>
                          <a:pt x="1418" y="1226"/>
                        </a:lnTo>
                        <a:lnTo>
                          <a:pt x="1407" y="1234"/>
                        </a:lnTo>
                        <a:lnTo>
                          <a:pt x="1386" y="1253"/>
                        </a:lnTo>
                        <a:lnTo>
                          <a:pt x="1366" y="1270"/>
                        </a:lnTo>
                        <a:lnTo>
                          <a:pt x="1353" y="1285"/>
                        </a:lnTo>
                        <a:lnTo>
                          <a:pt x="1336" y="1310"/>
                        </a:lnTo>
                        <a:lnTo>
                          <a:pt x="1322" y="1310"/>
                        </a:lnTo>
                        <a:lnTo>
                          <a:pt x="1336" y="131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" name="Freeform 92"/>
                  <p:cNvSpPr>
                    <a:spLocks/>
                  </p:cNvSpPr>
                  <p:nvPr/>
                </p:nvSpPr>
                <p:spPr bwMode="auto">
                  <a:xfrm>
                    <a:off x="6643688" y="6870700"/>
                    <a:ext cx="19050" cy="36513"/>
                  </a:xfrm>
                  <a:custGeom>
                    <a:avLst/>
                    <a:gdLst/>
                    <a:ahLst/>
                    <a:cxnLst>
                      <a:cxn ang="0">
                        <a:pos x="10" y="0"/>
                      </a:cxn>
                      <a:cxn ang="0">
                        <a:pos x="12" y="11"/>
                      </a:cxn>
                      <a:cxn ang="0">
                        <a:pos x="10" y="21"/>
                      </a:cxn>
                      <a:cxn ang="0">
                        <a:pos x="4" y="23"/>
                      </a:cxn>
                      <a:cxn ang="0">
                        <a:pos x="0" y="19"/>
                      </a:cxn>
                      <a:cxn ang="0">
                        <a:pos x="0" y="9"/>
                      </a:cxn>
                      <a:cxn ang="0">
                        <a:pos x="0" y="6"/>
                      </a:cxn>
                      <a:cxn ang="0">
                        <a:pos x="6" y="0"/>
                      </a:cxn>
                      <a:cxn ang="0">
                        <a:pos x="10" y="0"/>
                      </a:cxn>
                    </a:cxnLst>
                    <a:rect l="0" t="0" r="r" b="b"/>
                    <a:pathLst>
                      <a:path w="12" h="23">
                        <a:moveTo>
                          <a:pt x="10" y="0"/>
                        </a:moveTo>
                        <a:lnTo>
                          <a:pt x="12" y="11"/>
                        </a:lnTo>
                        <a:lnTo>
                          <a:pt x="10" y="21"/>
                        </a:lnTo>
                        <a:lnTo>
                          <a:pt x="4" y="23"/>
                        </a:lnTo>
                        <a:lnTo>
                          <a:pt x="0" y="19"/>
                        </a:lnTo>
                        <a:lnTo>
                          <a:pt x="0" y="9"/>
                        </a:lnTo>
                        <a:lnTo>
                          <a:pt x="0" y="6"/>
                        </a:lnTo>
                        <a:lnTo>
                          <a:pt x="6" y="0"/>
                        </a:lnTo>
                        <a:lnTo>
                          <a:pt x="10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3" name="Freeform 93"/>
                  <p:cNvSpPr>
                    <a:spLocks/>
                  </p:cNvSpPr>
                  <p:nvPr/>
                </p:nvSpPr>
                <p:spPr bwMode="auto">
                  <a:xfrm>
                    <a:off x="6629400" y="6910387"/>
                    <a:ext cx="23813" cy="20638"/>
                  </a:xfrm>
                  <a:custGeom>
                    <a:avLst/>
                    <a:gdLst/>
                    <a:ahLst/>
                    <a:cxnLst>
                      <a:cxn ang="0">
                        <a:pos x="11" y="0"/>
                      </a:cxn>
                      <a:cxn ang="0">
                        <a:pos x="15" y="6"/>
                      </a:cxn>
                      <a:cxn ang="0">
                        <a:pos x="13" y="13"/>
                      </a:cxn>
                      <a:cxn ang="0">
                        <a:pos x="9" y="13"/>
                      </a:cxn>
                      <a:cxn ang="0">
                        <a:pos x="8" y="6"/>
                      </a:cxn>
                      <a:cxn ang="0">
                        <a:pos x="2" y="4"/>
                      </a:cxn>
                      <a:cxn ang="0">
                        <a:pos x="0" y="0"/>
                      </a:cxn>
                      <a:cxn ang="0">
                        <a:pos x="2" y="0"/>
                      </a:cxn>
                      <a:cxn ang="0">
                        <a:pos x="8" y="0"/>
                      </a:cxn>
                      <a:cxn ang="0">
                        <a:pos x="11" y="0"/>
                      </a:cxn>
                    </a:cxnLst>
                    <a:rect l="0" t="0" r="r" b="b"/>
                    <a:pathLst>
                      <a:path w="15" h="13">
                        <a:moveTo>
                          <a:pt x="11" y="0"/>
                        </a:moveTo>
                        <a:lnTo>
                          <a:pt x="15" y="6"/>
                        </a:lnTo>
                        <a:lnTo>
                          <a:pt x="13" y="13"/>
                        </a:lnTo>
                        <a:lnTo>
                          <a:pt x="9" y="13"/>
                        </a:lnTo>
                        <a:lnTo>
                          <a:pt x="8" y="6"/>
                        </a:lnTo>
                        <a:lnTo>
                          <a:pt x="2" y="4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8" y="0"/>
                        </a:lnTo>
                        <a:lnTo>
                          <a:pt x="11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4" name="Freeform 94"/>
                  <p:cNvSpPr>
                    <a:spLocks/>
                  </p:cNvSpPr>
                  <p:nvPr/>
                </p:nvSpPr>
                <p:spPr bwMode="auto">
                  <a:xfrm>
                    <a:off x="6543675" y="7491412"/>
                    <a:ext cx="61913" cy="128588"/>
                  </a:xfrm>
                  <a:custGeom>
                    <a:avLst/>
                    <a:gdLst/>
                    <a:ahLst/>
                    <a:cxnLst>
                      <a:cxn ang="0">
                        <a:pos x="33" y="0"/>
                      </a:cxn>
                      <a:cxn ang="0">
                        <a:pos x="39" y="12"/>
                      </a:cxn>
                      <a:cxn ang="0">
                        <a:pos x="33" y="20"/>
                      </a:cxn>
                      <a:cxn ang="0">
                        <a:pos x="29" y="35"/>
                      </a:cxn>
                      <a:cxn ang="0">
                        <a:pos x="19" y="46"/>
                      </a:cxn>
                      <a:cxn ang="0">
                        <a:pos x="16" y="54"/>
                      </a:cxn>
                      <a:cxn ang="0">
                        <a:pos x="17" y="62"/>
                      </a:cxn>
                      <a:cxn ang="0">
                        <a:pos x="17" y="66"/>
                      </a:cxn>
                      <a:cxn ang="0">
                        <a:pos x="17" y="69"/>
                      </a:cxn>
                      <a:cxn ang="0">
                        <a:pos x="16" y="73"/>
                      </a:cxn>
                      <a:cxn ang="0">
                        <a:pos x="14" y="75"/>
                      </a:cxn>
                      <a:cxn ang="0">
                        <a:pos x="8" y="77"/>
                      </a:cxn>
                      <a:cxn ang="0">
                        <a:pos x="2" y="81"/>
                      </a:cxn>
                      <a:cxn ang="0">
                        <a:pos x="0" y="75"/>
                      </a:cxn>
                      <a:cxn ang="0">
                        <a:pos x="0" y="64"/>
                      </a:cxn>
                      <a:cxn ang="0">
                        <a:pos x="0" y="56"/>
                      </a:cxn>
                      <a:cxn ang="0">
                        <a:pos x="0" y="50"/>
                      </a:cxn>
                      <a:cxn ang="0">
                        <a:pos x="0" y="50"/>
                      </a:cxn>
                      <a:cxn ang="0">
                        <a:pos x="0" y="46"/>
                      </a:cxn>
                      <a:cxn ang="0">
                        <a:pos x="8" y="41"/>
                      </a:cxn>
                      <a:cxn ang="0">
                        <a:pos x="10" y="31"/>
                      </a:cxn>
                      <a:cxn ang="0">
                        <a:pos x="12" y="12"/>
                      </a:cxn>
                      <a:cxn ang="0">
                        <a:pos x="14" y="4"/>
                      </a:cxn>
                      <a:cxn ang="0">
                        <a:pos x="17" y="4"/>
                      </a:cxn>
                      <a:cxn ang="0">
                        <a:pos x="25" y="4"/>
                      </a:cxn>
                      <a:cxn ang="0">
                        <a:pos x="29" y="0"/>
                      </a:cxn>
                      <a:cxn ang="0">
                        <a:pos x="33" y="0"/>
                      </a:cxn>
                    </a:cxnLst>
                    <a:rect l="0" t="0" r="r" b="b"/>
                    <a:pathLst>
                      <a:path w="39" h="81">
                        <a:moveTo>
                          <a:pt x="33" y="0"/>
                        </a:moveTo>
                        <a:lnTo>
                          <a:pt x="39" y="12"/>
                        </a:lnTo>
                        <a:lnTo>
                          <a:pt x="33" y="20"/>
                        </a:lnTo>
                        <a:lnTo>
                          <a:pt x="29" y="35"/>
                        </a:lnTo>
                        <a:lnTo>
                          <a:pt x="19" y="46"/>
                        </a:lnTo>
                        <a:lnTo>
                          <a:pt x="16" y="54"/>
                        </a:lnTo>
                        <a:lnTo>
                          <a:pt x="17" y="62"/>
                        </a:lnTo>
                        <a:lnTo>
                          <a:pt x="17" y="66"/>
                        </a:lnTo>
                        <a:lnTo>
                          <a:pt x="17" y="69"/>
                        </a:lnTo>
                        <a:lnTo>
                          <a:pt x="16" y="73"/>
                        </a:lnTo>
                        <a:lnTo>
                          <a:pt x="14" y="75"/>
                        </a:lnTo>
                        <a:lnTo>
                          <a:pt x="8" y="77"/>
                        </a:lnTo>
                        <a:lnTo>
                          <a:pt x="2" y="81"/>
                        </a:lnTo>
                        <a:lnTo>
                          <a:pt x="0" y="75"/>
                        </a:lnTo>
                        <a:lnTo>
                          <a:pt x="0" y="64"/>
                        </a:lnTo>
                        <a:lnTo>
                          <a:pt x="0" y="56"/>
                        </a:lnTo>
                        <a:lnTo>
                          <a:pt x="0" y="50"/>
                        </a:lnTo>
                        <a:lnTo>
                          <a:pt x="0" y="50"/>
                        </a:lnTo>
                        <a:lnTo>
                          <a:pt x="0" y="46"/>
                        </a:lnTo>
                        <a:lnTo>
                          <a:pt x="8" y="41"/>
                        </a:lnTo>
                        <a:lnTo>
                          <a:pt x="10" y="31"/>
                        </a:lnTo>
                        <a:lnTo>
                          <a:pt x="12" y="12"/>
                        </a:lnTo>
                        <a:lnTo>
                          <a:pt x="14" y="4"/>
                        </a:lnTo>
                        <a:lnTo>
                          <a:pt x="17" y="4"/>
                        </a:lnTo>
                        <a:lnTo>
                          <a:pt x="25" y="4"/>
                        </a:lnTo>
                        <a:lnTo>
                          <a:pt x="29" y="0"/>
                        </a:lnTo>
                        <a:lnTo>
                          <a:pt x="33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5" name="Freeform 95"/>
                  <p:cNvSpPr>
                    <a:spLocks/>
                  </p:cNvSpPr>
                  <p:nvPr/>
                </p:nvSpPr>
                <p:spPr bwMode="auto">
                  <a:xfrm>
                    <a:off x="5965825" y="8362950"/>
                    <a:ext cx="4763" cy="19050"/>
                  </a:xfrm>
                  <a:custGeom>
                    <a:avLst/>
                    <a:gdLst/>
                    <a:ahLst/>
                    <a:cxnLst>
                      <a:cxn ang="0">
                        <a:pos x="3" y="0"/>
                      </a:cxn>
                      <a:cxn ang="0">
                        <a:pos x="3" y="4"/>
                      </a:cxn>
                      <a:cxn ang="0">
                        <a:pos x="1" y="12"/>
                      </a:cxn>
                      <a:cxn ang="0">
                        <a:pos x="0" y="10"/>
                      </a:cxn>
                      <a:cxn ang="0">
                        <a:pos x="0" y="6"/>
                      </a:cxn>
                      <a:cxn ang="0">
                        <a:pos x="1" y="0"/>
                      </a:cxn>
                      <a:cxn ang="0">
                        <a:pos x="3" y="0"/>
                      </a:cxn>
                    </a:cxnLst>
                    <a:rect l="0" t="0" r="r" b="b"/>
                    <a:pathLst>
                      <a:path w="3" h="12">
                        <a:moveTo>
                          <a:pt x="3" y="0"/>
                        </a:moveTo>
                        <a:lnTo>
                          <a:pt x="3" y="4"/>
                        </a:lnTo>
                        <a:lnTo>
                          <a:pt x="1" y="12"/>
                        </a:lnTo>
                        <a:lnTo>
                          <a:pt x="0" y="10"/>
                        </a:lnTo>
                        <a:lnTo>
                          <a:pt x="0" y="6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7" name="Freeform 96"/>
                  <p:cNvSpPr>
                    <a:spLocks/>
                  </p:cNvSpPr>
                  <p:nvPr/>
                </p:nvSpPr>
                <p:spPr bwMode="auto">
                  <a:xfrm>
                    <a:off x="5800725" y="8243887"/>
                    <a:ext cx="6350" cy="1270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4" y="0"/>
                      </a:cxn>
                      <a:cxn ang="0">
                        <a:pos x="4" y="4"/>
                      </a:cxn>
                      <a:cxn ang="0">
                        <a:pos x="4" y="8"/>
                      </a:cxn>
                      <a:cxn ang="0">
                        <a:pos x="2" y="8"/>
                      </a:cxn>
                      <a:cxn ang="0">
                        <a:pos x="0" y="4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8">
                        <a:moveTo>
                          <a:pt x="0" y="0"/>
                        </a:moveTo>
                        <a:lnTo>
                          <a:pt x="4" y="0"/>
                        </a:lnTo>
                        <a:lnTo>
                          <a:pt x="4" y="4"/>
                        </a:lnTo>
                        <a:lnTo>
                          <a:pt x="4" y="8"/>
                        </a:lnTo>
                        <a:lnTo>
                          <a:pt x="2" y="8"/>
                        </a:lnTo>
                        <a:lnTo>
                          <a:pt x="0" y="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8" name="Freeform 97"/>
                  <p:cNvSpPr>
                    <a:spLocks/>
                  </p:cNvSpPr>
                  <p:nvPr/>
                </p:nvSpPr>
                <p:spPr bwMode="auto">
                  <a:xfrm>
                    <a:off x="5535613" y="8856662"/>
                    <a:ext cx="23813" cy="15875"/>
                  </a:xfrm>
                  <a:custGeom>
                    <a:avLst/>
                    <a:gdLst/>
                    <a:ahLst/>
                    <a:cxnLst>
                      <a:cxn ang="0">
                        <a:pos x="15" y="0"/>
                      </a:cxn>
                      <a:cxn ang="0">
                        <a:pos x="15" y="4"/>
                      </a:cxn>
                      <a:cxn ang="0">
                        <a:pos x="15" y="8"/>
                      </a:cxn>
                      <a:cxn ang="0">
                        <a:pos x="10" y="8"/>
                      </a:cxn>
                      <a:cxn ang="0">
                        <a:pos x="6" y="10"/>
                      </a:cxn>
                      <a:cxn ang="0">
                        <a:pos x="2" y="8"/>
                      </a:cxn>
                      <a:cxn ang="0">
                        <a:pos x="0" y="6"/>
                      </a:cxn>
                      <a:cxn ang="0">
                        <a:pos x="2" y="2"/>
                      </a:cxn>
                      <a:cxn ang="0">
                        <a:pos x="6" y="0"/>
                      </a:cxn>
                      <a:cxn ang="0">
                        <a:pos x="10" y="0"/>
                      </a:cxn>
                      <a:cxn ang="0">
                        <a:pos x="15" y="0"/>
                      </a:cxn>
                    </a:cxnLst>
                    <a:rect l="0" t="0" r="r" b="b"/>
                    <a:pathLst>
                      <a:path w="15" h="10">
                        <a:moveTo>
                          <a:pt x="15" y="0"/>
                        </a:moveTo>
                        <a:lnTo>
                          <a:pt x="15" y="4"/>
                        </a:lnTo>
                        <a:lnTo>
                          <a:pt x="15" y="8"/>
                        </a:lnTo>
                        <a:lnTo>
                          <a:pt x="10" y="8"/>
                        </a:lnTo>
                        <a:lnTo>
                          <a:pt x="6" y="10"/>
                        </a:lnTo>
                        <a:lnTo>
                          <a:pt x="2" y="8"/>
                        </a:lnTo>
                        <a:lnTo>
                          <a:pt x="0" y="6"/>
                        </a:lnTo>
                        <a:lnTo>
                          <a:pt x="2" y="2"/>
                        </a:lnTo>
                        <a:lnTo>
                          <a:pt x="6" y="0"/>
                        </a:lnTo>
                        <a:lnTo>
                          <a:pt x="10" y="0"/>
                        </a:lnTo>
                        <a:lnTo>
                          <a:pt x="15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9" name="Freeform 98"/>
                  <p:cNvSpPr>
                    <a:spLocks/>
                  </p:cNvSpPr>
                  <p:nvPr/>
                </p:nvSpPr>
                <p:spPr bwMode="auto">
                  <a:xfrm>
                    <a:off x="6529388" y="7110412"/>
                    <a:ext cx="57150" cy="79375"/>
                  </a:xfrm>
                  <a:custGeom>
                    <a:avLst/>
                    <a:gdLst/>
                    <a:ahLst/>
                    <a:cxnLst>
                      <a:cxn ang="0">
                        <a:pos x="28" y="0"/>
                      </a:cxn>
                      <a:cxn ang="0">
                        <a:pos x="32" y="2"/>
                      </a:cxn>
                      <a:cxn ang="0">
                        <a:pos x="34" y="10"/>
                      </a:cxn>
                      <a:cxn ang="0">
                        <a:pos x="36" y="14"/>
                      </a:cxn>
                      <a:cxn ang="0">
                        <a:pos x="36" y="16"/>
                      </a:cxn>
                      <a:cxn ang="0">
                        <a:pos x="30" y="22"/>
                      </a:cxn>
                      <a:cxn ang="0">
                        <a:pos x="26" y="31"/>
                      </a:cxn>
                      <a:cxn ang="0">
                        <a:pos x="25" y="43"/>
                      </a:cxn>
                      <a:cxn ang="0">
                        <a:pos x="21" y="48"/>
                      </a:cxn>
                      <a:cxn ang="0">
                        <a:pos x="17" y="50"/>
                      </a:cxn>
                      <a:cxn ang="0">
                        <a:pos x="15" y="50"/>
                      </a:cxn>
                      <a:cxn ang="0">
                        <a:pos x="11" y="47"/>
                      </a:cxn>
                      <a:cxn ang="0">
                        <a:pos x="1" y="31"/>
                      </a:cxn>
                      <a:cxn ang="0">
                        <a:pos x="0" y="29"/>
                      </a:cxn>
                      <a:cxn ang="0">
                        <a:pos x="1" y="24"/>
                      </a:cxn>
                      <a:cxn ang="0">
                        <a:pos x="9" y="22"/>
                      </a:cxn>
                      <a:cxn ang="0">
                        <a:pos x="15" y="16"/>
                      </a:cxn>
                      <a:cxn ang="0">
                        <a:pos x="21" y="14"/>
                      </a:cxn>
                      <a:cxn ang="0">
                        <a:pos x="28" y="0"/>
                      </a:cxn>
                    </a:cxnLst>
                    <a:rect l="0" t="0" r="r" b="b"/>
                    <a:pathLst>
                      <a:path w="36" h="50">
                        <a:moveTo>
                          <a:pt x="28" y="0"/>
                        </a:moveTo>
                        <a:lnTo>
                          <a:pt x="32" y="2"/>
                        </a:lnTo>
                        <a:lnTo>
                          <a:pt x="34" y="10"/>
                        </a:lnTo>
                        <a:lnTo>
                          <a:pt x="36" y="14"/>
                        </a:lnTo>
                        <a:lnTo>
                          <a:pt x="36" y="16"/>
                        </a:lnTo>
                        <a:lnTo>
                          <a:pt x="30" y="22"/>
                        </a:lnTo>
                        <a:lnTo>
                          <a:pt x="26" y="31"/>
                        </a:lnTo>
                        <a:lnTo>
                          <a:pt x="25" y="43"/>
                        </a:lnTo>
                        <a:lnTo>
                          <a:pt x="21" y="48"/>
                        </a:lnTo>
                        <a:lnTo>
                          <a:pt x="17" y="50"/>
                        </a:lnTo>
                        <a:lnTo>
                          <a:pt x="15" y="50"/>
                        </a:lnTo>
                        <a:lnTo>
                          <a:pt x="11" y="47"/>
                        </a:lnTo>
                        <a:lnTo>
                          <a:pt x="1" y="31"/>
                        </a:lnTo>
                        <a:lnTo>
                          <a:pt x="0" y="29"/>
                        </a:lnTo>
                        <a:lnTo>
                          <a:pt x="1" y="24"/>
                        </a:lnTo>
                        <a:lnTo>
                          <a:pt x="9" y="22"/>
                        </a:lnTo>
                        <a:lnTo>
                          <a:pt x="15" y="16"/>
                        </a:lnTo>
                        <a:lnTo>
                          <a:pt x="21" y="14"/>
                        </a:lnTo>
                        <a:lnTo>
                          <a:pt x="28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3200">
                      <a:solidFill>
                        <a:prstClr val="black"/>
                      </a:solidFill>
                      <a:latin typeface="Arial" panose="020B0604020202020204"/>
                    </a:endParaRPr>
                  </a:p>
                </p:txBody>
              </p:sp>
            </p:grpSp>
          </p:grpSp>
        </p:grpSp>
        <p:sp>
          <p:nvSpPr>
            <p:cNvPr id="235" name="TextBox 234"/>
            <p:cNvSpPr txBox="1"/>
            <p:nvPr/>
          </p:nvSpPr>
          <p:spPr>
            <a:xfrm>
              <a:off x="4143465" y="2253465"/>
              <a:ext cx="943033" cy="623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  <a:latin typeface="Arial" panose="020B0604020202020204"/>
                </a:rPr>
                <a:t>North region</a:t>
              </a:r>
            </a:p>
          </p:txBody>
        </p:sp>
        <p:sp>
          <p:nvSpPr>
            <p:cNvPr id="236" name="TextBox 235"/>
            <p:cNvSpPr txBox="1"/>
            <p:nvPr/>
          </p:nvSpPr>
          <p:spPr>
            <a:xfrm>
              <a:off x="4519102" y="3389434"/>
              <a:ext cx="1350928" cy="623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  <a:latin typeface="Arial" panose="020B0604020202020204"/>
                </a:rPr>
                <a:t>Midwest region</a:t>
              </a:r>
            </a:p>
          </p:txBody>
        </p:sp>
        <p:sp>
          <p:nvSpPr>
            <p:cNvPr id="237" name="TextBox 236"/>
            <p:cNvSpPr txBox="1"/>
            <p:nvPr/>
          </p:nvSpPr>
          <p:spPr>
            <a:xfrm>
              <a:off x="5336677" y="3906312"/>
              <a:ext cx="1282360" cy="623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  <a:latin typeface="Arial" panose="020B0604020202020204"/>
                </a:rPr>
                <a:t>Southeast region</a:t>
              </a:r>
            </a:p>
          </p:txBody>
        </p:sp>
        <p:sp>
          <p:nvSpPr>
            <p:cNvPr id="238" name="TextBox 237"/>
            <p:cNvSpPr txBox="1"/>
            <p:nvPr/>
          </p:nvSpPr>
          <p:spPr>
            <a:xfrm>
              <a:off x="4928998" y="4598873"/>
              <a:ext cx="844946" cy="623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  <a:latin typeface="Arial" panose="020B0604020202020204"/>
                </a:rPr>
                <a:t>South region</a:t>
              </a: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5811649" y="2690935"/>
              <a:ext cx="1246305" cy="623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  <a:latin typeface="Arial" panose="020B0604020202020204"/>
                </a:rPr>
                <a:t>Northeast region</a:t>
              </a:r>
            </a:p>
          </p:txBody>
        </p:sp>
        <p:sp>
          <p:nvSpPr>
            <p:cNvPr id="240" name="Freeform 124"/>
            <p:cNvSpPr>
              <a:spLocks/>
            </p:cNvSpPr>
            <p:nvPr/>
          </p:nvSpPr>
          <p:spPr bwMode="auto">
            <a:xfrm rot="18980007" flipH="1">
              <a:off x="3316586" y="1733559"/>
              <a:ext cx="303774" cy="465840"/>
            </a:xfrm>
            <a:custGeom>
              <a:avLst/>
              <a:gdLst>
                <a:gd name="T0" fmla="*/ 2147483647 w 373"/>
                <a:gd name="T1" fmla="*/ 2147483647 h 702"/>
                <a:gd name="T2" fmla="*/ 2147483647 w 373"/>
                <a:gd name="T3" fmla="*/ 0 h 702"/>
                <a:gd name="T4" fmla="*/ 2147483647 w 373"/>
                <a:gd name="T5" fmla="*/ 2147483647 h 702"/>
                <a:gd name="T6" fmla="*/ 2147483647 w 373"/>
                <a:gd name="T7" fmla="*/ 2147483647 h 702"/>
                <a:gd name="T8" fmla="*/ 2147483647 w 373"/>
                <a:gd name="T9" fmla="*/ 2147483647 h 702"/>
                <a:gd name="T10" fmla="*/ 2147483647 w 373"/>
                <a:gd name="T11" fmla="*/ 2147483647 h 702"/>
                <a:gd name="T12" fmla="*/ 2147483647 w 373"/>
                <a:gd name="T13" fmla="*/ 2147483647 h 7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3"/>
                <a:gd name="T22" fmla="*/ 0 h 702"/>
                <a:gd name="T23" fmla="*/ 373 w 373"/>
                <a:gd name="T24" fmla="*/ 702 h 7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3" h="702">
                  <a:moveTo>
                    <a:pt x="49" y="60"/>
                  </a:moveTo>
                  <a:lnTo>
                    <a:pt x="257" y="0"/>
                  </a:lnTo>
                  <a:lnTo>
                    <a:pt x="373" y="159"/>
                  </a:lnTo>
                  <a:lnTo>
                    <a:pt x="263" y="132"/>
                  </a:lnTo>
                  <a:cubicBezTo>
                    <a:pt x="263" y="132"/>
                    <a:pt x="82" y="346"/>
                    <a:pt x="318" y="702"/>
                  </a:cubicBezTo>
                  <a:cubicBezTo>
                    <a:pt x="0" y="395"/>
                    <a:pt x="148" y="88"/>
                    <a:pt x="148" y="88"/>
                  </a:cubicBezTo>
                  <a:lnTo>
                    <a:pt x="49" y="6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scene3d>
              <a:camera prst="orthographicFront">
                <a:rot lat="0" lon="0" rev="1200000"/>
              </a:camera>
              <a:lightRig rig="threePt" dir="t"/>
            </a:scene3d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200" kern="0" dirty="0">
                <a:solidFill>
                  <a:sysClr val="windowText" lastClr="000000"/>
                </a:solidFill>
                <a:latin typeface="Arial" panose="020B0604020202020204"/>
                <a:cs typeface="Arial" charset="0"/>
              </a:endParaRPr>
            </a:p>
          </p:txBody>
        </p:sp>
        <p:sp>
          <p:nvSpPr>
            <p:cNvPr id="241" name="Freeform 124"/>
            <p:cNvSpPr>
              <a:spLocks/>
            </p:cNvSpPr>
            <p:nvPr/>
          </p:nvSpPr>
          <p:spPr bwMode="auto">
            <a:xfrm rot="15739946" flipV="1">
              <a:off x="6884965" y="3207351"/>
              <a:ext cx="349838" cy="555694"/>
            </a:xfrm>
            <a:custGeom>
              <a:avLst/>
              <a:gdLst>
                <a:gd name="T0" fmla="*/ 2147483647 w 373"/>
                <a:gd name="T1" fmla="*/ 2147483647 h 702"/>
                <a:gd name="T2" fmla="*/ 2147483647 w 373"/>
                <a:gd name="T3" fmla="*/ 0 h 702"/>
                <a:gd name="T4" fmla="*/ 2147483647 w 373"/>
                <a:gd name="T5" fmla="*/ 2147483647 h 702"/>
                <a:gd name="T6" fmla="*/ 2147483647 w 373"/>
                <a:gd name="T7" fmla="*/ 2147483647 h 702"/>
                <a:gd name="T8" fmla="*/ 2147483647 w 373"/>
                <a:gd name="T9" fmla="*/ 2147483647 h 702"/>
                <a:gd name="T10" fmla="*/ 2147483647 w 373"/>
                <a:gd name="T11" fmla="*/ 2147483647 h 702"/>
                <a:gd name="T12" fmla="*/ 2147483647 w 373"/>
                <a:gd name="T13" fmla="*/ 2147483647 h 7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3"/>
                <a:gd name="T22" fmla="*/ 0 h 702"/>
                <a:gd name="T23" fmla="*/ 373 w 373"/>
                <a:gd name="T24" fmla="*/ 702 h 7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3" h="702">
                  <a:moveTo>
                    <a:pt x="49" y="60"/>
                  </a:moveTo>
                  <a:lnTo>
                    <a:pt x="257" y="0"/>
                  </a:lnTo>
                  <a:lnTo>
                    <a:pt x="373" y="159"/>
                  </a:lnTo>
                  <a:lnTo>
                    <a:pt x="263" y="132"/>
                  </a:lnTo>
                  <a:cubicBezTo>
                    <a:pt x="263" y="132"/>
                    <a:pt x="82" y="346"/>
                    <a:pt x="318" y="702"/>
                  </a:cubicBezTo>
                  <a:cubicBezTo>
                    <a:pt x="0" y="395"/>
                    <a:pt x="148" y="88"/>
                    <a:pt x="148" y="88"/>
                  </a:cubicBezTo>
                  <a:lnTo>
                    <a:pt x="49" y="6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scene3d>
              <a:camera prst="orthographicFront">
                <a:rot lat="0" lon="0" rev="1200000"/>
              </a:camera>
              <a:lightRig rig="threePt" dir="t"/>
            </a:scene3d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200" kern="0" dirty="0">
                <a:solidFill>
                  <a:sysClr val="windowText" lastClr="000000"/>
                </a:solidFill>
                <a:latin typeface="Arial" panose="020B0604020202020204"/>
                <a:cs typeface="Arial" charset="0"/>
              </a:endParaRPr>
            </a:p>
          </p:txBody>
        </p:sp>
        <p:sp>
          <p:nvSpPr>
            <p:cNvPr id="242" name="Freeform 124"/>
            <p:cNvSpPr>
              <a:spLocks/>
            </p:cNvSpPr>
            <p:nvPr/>
          </p:nvSpPr>
          <p:spPr bwMode="auto">
            <a:xfrm rot="20029156" flipV="1">
              <a:off x="5887584" y="4379147"/>
              <a:ext cx="349838" cy="555694"/>
            </a:xfrm>
            <a:custGeom>
              <a:avLst/>
              <a:gdLst>
                <a:gd name="T0" fmla="*/ 2147483647 w 373"/>
                <a:gd name="T1" fmla="*/ 2147483647 h 702"/>
                <a:gd name="T2" fmla="*/ 2147483647 w 373"/>
                <a:gd name="T3" fmla="*/ 0 h 702"/>
                <a:gd name="T4" fmla="*/ 2147483647 w 373"/>
                <a:gd name="T5" fmla="*/ 2147483647 h 702"/>
                <a:gd name="T6" fmla="*/ 2147483647 w 373"/>
                <a:gd name="T7" fmla="*/ 2147483647 h 702"/>
                <a:gd name="T8" fmla="*/ 2147483647 w 373"/>
                <a:gd name="T9" fmla="*/ 2147483647 h 702"/>
                <a:gd name="T10" fmla="*/ 2147483647 w 373"/>
                <a:gd name="T11" fmla="*/ 2147483647 h 702"/>
                <a:gd name="T12" fmla="*/ 2147483647 w 373"/>
                <a:gd name="T13" fmla="*/ 2147483647 h 7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3"/>
                <a:gd name="T22" fmla="*/ 0 h 702"/>
                <a:gd name="T23" fmla="*/ 373 w 373"/>
                <a:gd name="T24" fmla="*/ 702 h 7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3" h="702">
                  <a:moveTo>
                    <a:pt x="49" y="60"/>
                  </a:moveTo>
                  <a:lnTo>
                    <a:pt x="257" y="0"/>
                  </a:lnTo>
                  <a:lnTo>
                    <a:pt x="373" y="159"/>
                  </a:lnTo>
                  <a:lnTo>
                    <a:pt x="263" y="132"/>
                  </a:lnTo>
                  <a:cubicBezTo>
                    <a:pt x="263" y="132"/>
                    <a:pt x="82" y="346"/>
                    <a:pt x="318" y="702"/>
                  </a:cubicBezTo>
                  <a:cubicBezTo>
                    <a:pt x="0" y="395"/>
                    <a:pt x="148" y="88"/>
                    <a:pt x="148" y="88"/>
                  </a:cubicBezTo>
                  <a:lnTo>
                    <a:pt x="49" y="6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scene3d>
              <a:camera prst="orthographicFront">
                <a:rot lat="0" lon="0" rev="1200000"/>
              </a:camera>
              <a:lightRig rig="threePt" dir="t"/>
            </a:scene3d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200" kern="0" dirty="0">
                <a:solidFill>
                  <a:sysClr val="windowText" lastClr="000000"/>
                </a:solidFill>
                <a:latin typeface="Arial" panose="020B0604020202020204"/>
                <a:cs typeface="Arial" charset="0"/>
              </a:endParaRPr>
            </a:p>
          </p:txBody>
        </p:sp>
        <p:sp>
          <p:nvSpPr>
            <p:cNvPr id="243" name="Freeform 124"/>
            <p:cNvSpPr>
              <a:spLocks/>
            </p:cNvSpPr>
            <p:nvPr/>
          </p:nvSpPr>
          <p:spPr bwMode="auto">
            <a:xfrm rot="15071064">
              <a:off x="4380556" y="3820555"/>
              <a:ext cx="305617" cy="599492"/>
            </a:xfrm>
            <a:custGeom>
              <a:avLst/>
              <a:gdLst>
                <a:gd name="T0" fmla="*/ 2147483647 w 373"/>
                <a:gd name="T1" fmla="*/ 2147483647 h 702"/>
                <a:gd name="T2" fmla="*/ 2147483647 w 373"/>
                <a:gd name="T3" fmla="*/ 0 h 702"/>
                <a:gd name="T4" fmla="*/ 2147483647 w 373"/>
                <a:gd name="T5" fmla="*/ 2147483647 h 702"/>
                <a:gd name="T6" fmla="*/ 2147483647 w 373"/>
                <a:gd name="T7" fmla="*/ 2147483647 h 702"/>
                <a:gd name="T8" fmla="*/ 2147483647 w 373"/>
                <a:gd name="T9" fmla="*/ 2147483647 h 702"/>
                <a:gd name="T10" fmla="*/ 2147483647 w 373"/>
                <a:gd name="T11" fmla="*/ 2147483647 h 702"/>
                <a:gd name="T12" fmla="*/ 2147483647 w 373"/>
                <a:gd name="T13" fmla="*/ 2147483647 h 7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3"/>
                <a:gd name="T22" fmla="*/ 0 h 702"/>
                <a:gd name="T23" fmla="*/ 373 w 373"/>
                <a:gd name="T24" fmla="*/ 702 h 7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3" h="702">
                  <a:moveTo>
                    <a:pt x="49" y="60"/>
                  </a:moveTo>
                  <a:lnTo>
                    <a:pt x="257" y="0"/>
                  </a:lnTo>
                  <a:lnTo>
                    <a:pt x="373" y="159"/>
                  </a:lnTo>
                  <a:lnTo>
                    <a:pt x="263" y="132"/>
                  </a:lnTo>
                  <a:cubicBezTo>
                    <a:pt x="263" y="132"/>
                    <a:pt x="82" y="346"/>
                    <a:pt x="318" y="702"/>
                  </a:cubicBezTo>
                  <a:cubicBezTo>
                    <a:pt x="0" y="395"/>
                    <a:pt x="148" y="88"/>
                    <a:pt x="148" y="88"/>
                  </a:cubicBezTo>
                  <a:lnTo>
                    <a:pt x="49" y="6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scene3d>
              <a:camera prst="orthographicFront">
                <a:rot lat="0" lon="0" rev="1200000"/>
              </a:camera>
              <a:lightRig rig="threePt" dir="t"/>
            </a:scene3d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200" kern="0" dirty="0">
                <a:solidFill>
                  <a:sysClr val="windowText" lastClr="000000"/>
                </a:solidFill>
                <a:latin typeface="Arial" panose="020B0604020202020204"/>
                <a:cs typeface="Arial" charset="0"/>
              </a:endParaRPr>
            </a:p>
          </p:txBody>
        </p:sp>
        <p:sp>
          <p:nvSpPr>
            <p:cNvPr id="244" name="Freeform 124"/>
            <p:cNvSpPr>
              <a:spLocks/>
            </p:cNvSpPr>
            <p:nvPr/>
          </p:nvSpPr>
          <p:spPr bwMode="auto">
            <a:xfrm rot="14557509">
              <a:off x="4828493" y="5064106"/>
              <a:ext cx="305617" cy="599492"/>
            </a:xfrm>
            <a:custGeom>
              <a:avLst/>
              <a:gdLst>
                <a:gd name="T0" fmla="*/ 2147483647 w 373"/>
                <a:gd name="T1" fmla="*/ 2147483647 h 702"/>
                <a:gd name="T2" fmla="*/ 2147483647 w 373"/>
                <a:gd name="T3" fmla="*/ 0 h 702"/>
                <a:gd name="T4" fmla="*/ 2147483647 w 373"/>
                <a:gd name="T5" fmla="*/ 2147483647 h 702"/>
                <a:gd name="T6" fmla="*/ 2147483647 w 373"/>
                <a:gd name="T7" fmla="*/ 2147483647 h 702"/>
                <a:gd name="T8" fmla="*/ 2147483647 w 373"/>
                <a:gd name="T9" fmla="*/ 2147483647 h 702"/>
                <a:gd name="T10" fmla="*/ 2147483647 w 373"/>
                <a:gd name="T11" fmla="*/ 2147483647 h 702"/>
                <a:gd name="T12" fmla="*/ 2147483647 w 373"/>
                <a:gd name="T13" fmla="*/ 2147483647 h 7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3"/>
                <a:gd name="T22" fmla="*/ 0 h 702"/>
                <a:gd name="T23" fmla="*/ 373 w 373"/>
                <a:gd name="T24" fmla="*/ 702 h 7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3" h="702">
                  <a:moveTo>
                    <a:pt x="49" y="60"/>
                  </a:moveTo>
                  <a:lnTo>
                    <a:pt x="257" y="0"/>
                  </a:lnTo>
                  <a:lnTo>
                    <a:pt x="373" y="159"/>
                  </a:lnTo>
                  <a:lnTo>
                    <a:pt x="263" y="132"/>
                  </a:lnTo>
                  <a:cubicBezTo>
                    <a:pt x="263" y="132"/>
                    <a:pt x="82" y="346"/>
                    <a:pt x="318" y="702"/>
                  </a:cubicBezTo>
                  <a:cubicBezTo>
                    <a:pt x="0" y="395"/>
                    <a:pt x="148" y="88"/>
                    <a:pt x="148" y="88"/>
                  </a:cubicBezTo>
                  <a:lnTo>
                    <a:pt x="49" y="6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scene3d>
              <a:camera prst="orthographicFront">
                <a:rot lat="0" lon="0" rev="1200000"/>
              </a:camera>
              <a:lightRig rig="threePt" dir="t"/>
            </a:scene3d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200" kern="0" dirty="0">
                <a:solidFill>
                  <a:sysClr val="windowText" lastClr="000000"/>
                </a:solidFill>
                <a:latin typeface="Arial" panose="020B0604020202020204"/>
                <a:cs typeface="Arial" charset="0"/>
              </a:endParaRPr>
            </a:p>
          </p:txBody>
        </p:sp>
        <p:sp>
          <p:nvSpPr>
            <p:cNvPr id="245" name="TextBox 249"/>
            <p:cNvSpPr txBox="1"/>
            <p:nvPr/>
          </p:nvSpPr>
          <p:spPr>
            <a:xfrm>
              <a:off x="1554643" y="2783081"/>
              <a:ext cx="1768395" cy="2441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prstClr val="black"/>
                  </a:solidFill>
                  <a:latin typeface="Arial" panose="020B0604020202020204"/>
                </a:rPr>
                <a:t>N region:</a:t>
              </a:r>
              <a:r>
                <a:rPr lang="en-US" sz="1200" dirty="0">
                  <a:solidFill>
                    <a:prstClr val="black"/>
                  </a:solidFill>
                  <a:latin typeface="Arial" panose="020B0604020202020204"/>
                </a:rPr>
                <a:t> 5.4 MM m³ / day</a:t>
              </a:r>
            </a:p>
          </p:txBody>
        </p:sp>
        <p:sp>
          <p:nvSpPr>
            <p:cNvPr id="246" name="TextBox 250"/>
            <p:cNvSpPr txBox="1"/>
            <p:nvPr/>
          </p:nvSpPr>
          <p:spPr>
            <a:xfrm>
              <a:off x="1869533" y="3667338"/>
              <a:ext cx="1137328" cy="4068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b="1" dirty="0">
                  <a:solidFill>
                    <a:prstClr val="black"/>
                  </a:solidFill>
                  <a:latin typeface="Arial" panose="020B0604020202020204"/>
                </a:rPr>
                <a:t>MW region:</a:t>
              </a:r>
              <a:br>
                <a:rPr lang="en-US" sz="1200" dirty="0">
                  <a:solidFill>
                    <a:prstClr val="black"/>
                  </a:solidFill>
                  <a:latin typeface="Arial" panose="020B0604020202020204"/>
                </a:rPr>
              </a:br>
              <a:r>
                <a:rPr lang="en-US" sz="1200" dirty="0">
                  <a:solidFill>
                    <a:prstClr val="black"/>
                  </a:solidFill>
                  <a:latin typeface="Arial" panose="020B0604020202020204"/>
                </a:rPr>
                <a:t>1.9 MM m³ / day</a:t>
              </a:r>
            </a:p>
          </p:txBody>
        </p:sp>
        <p:sp>
          <p:nvSpPr>
            <p:cNvPr id="247" name="TextBox 251"/>
            <p:cNvSpPr txBox="1"/>
            <p:nvPr/>
          </p:nvSpPr>
          <p:spPr>
            <a:xfrm>
              <a:off x="3194987" y="5814264"/>
              <a:ext cx="1835859" cy="2441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prstClr val="black"/>
                  </a:solidFill>
                  <a:latin typeface="Arial" panose="020B0604020202020204"/>
                </a:rPr>
                <a:t>S region:</a:t>
              </a:r>
              <a:r>
                <a:rPr lang="en-US" sz="1200" dirty="0">
                  <a:solidFill>
                    <a:prstClr val="black"/>
                  </a:solidFill>
                  <a:latin typeface="Arial" panose="020B0604020202020204"/>
                </a:rPr>
                <a:t> 13.1 MM m³ / day</a:t>
              </a:r>
            </a:p>
          </p:txBody>
        </p:sp>
        <p:sp>
          <p:nvSpPr>
            <p:cNvPr id="248" name="TextBox 252"/>
            <p:cNvSpPr txBox="1"/>
            <p:nvPr/>
          </p:nvSpPr>
          <p:spPr>
            <a:xfrm>
              <a:off x="5985576" y="5354732"/>
              <a:ext cx="1925810" cy="2441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prstClr val="black"/>
                  </a:solidFill>
                  <a:latin typeface="Arial" panose="020B0604020202020204"/>
                </a:rPr>
                <a:t>SE region:</a:t>
              </a:r>
              <a:r>
                <a:rPr lang="en-US" sz="1200" dirty="0">
                  <a:solidFill>
                    <a:prstClr val="black"/>
                  </a:solidFill>
                  <a:latin typeface="Arial" panose="020B0604020202020204"/>
                </a:rPr>
                <a:t> 51.1 MM m³ / day</a:t>
              </a:r>
            </a:p>
          </p:txBody>
        </p:sp>
        <p:sp>
          <p:nvSpPr>
            <p:cNvPr id="249" name="TextBox 253"/>
            <p:cNvSpPr txBox="1"/>
            <p:nvPr/>
          </p:nvSpPr>
          <p:spPr>
            <a:xfrm>
              <a:off x="6901464" y="2961488"/>
              <a:ext cx="1932839" cy="2441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prstClr val="black"/>
                  </a:solidFill>
                  <a:latin typeface="Arial" panose="020B0604020202020204"/>
                </a:rPr>
                <a:t>NE region:</a:t>
              </a:r>
              <a:r>
                <a:rPr lang="en-US" sz="1200" dirty="0">
                  <a:solidFill>
                    <a:prstClr val="black"/>
                  </a:solidFill>
                  <a:latin typeface="Arial" panose="020B0604020202020204"/>
                </a:rPr>
                <a:t> 15.2 MM m³ / day</a:t>
              </a:r>
            </a:p>
          </p:txBody>
        </p:sp>
        <p:sp>
          <p:nvSpPr>
            <p:cNvPr id="250" name="Rectangle 255"/>
            <p:cNvSpPr/>
            <p:nvPr/>
          </p:nvSpPr>
          <p:spPr bwMode="auto">
            <a:xfrm>
              <a:off x="1177996" y="4571743"/>
              <a:ext cx="1872611" cy="140180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83077" tIns="43200" rIns="83077" bIns="4320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ts val="600"/>
                </a:spcBef>
                <a:spcAft>
                  <a:spcPts val="600"/>
                </a:spcAft>
                <a:buSzPct val="150000"/>
              </a:pPr>
              <a:r>
                <a:rPr lang="en-US" sz="1200" b="1" u="sng" dirty="0">
                  <a:solidFill>
                    <a:srgbClr val="292929"/>
                  </a:solidFill>
                  <a:latin typeface="Arial" panose="020B0604020202020204"/>
                </a:rPr>
                <a:t>Key</a:t>
              </a:r>
            </a:p>
            <a:p>
              <a:pPr marL="365760" eaLnBrk="0" fontAlgn="base" hangingPunct="0">
                <a:spcBef>
                  <a:spcPts val="600"/>
                </a:spcBef>
                <a:spcAft>
                  <a:spcPts val="600"/>
                </a:spcAft>
                <a:buSzPct val="150000"/>
              </a:pPr>
              <a:r>
                <a:rPr lang="en-US" sz="1200" dirty="0">
                  <a:solidFill>
                    <a:srgbClr val="292929"/>
                  </a:solidFill>
                  <a:latin typeface="Arial" panose="020B0604020202020204"/>
                </a:rPr>
                <a:t>Power</a:t>
              </a:r>
            </a:p>
            <a:p>
              <a:pPr marL="365760" eaLnBrk="0" fontAlgn="base" hangingPunct="0">
                <a:spcBef>
                  <a:spcPts val="600"/>
                </a:spcBef>
                <a:spcAft>
                  <a:spcPts val="600"/>
                </a:spcAft>
                <a:buSzPct val="150000"/>
              </a:pPr>
              <a:r>
                <a:rPr lang="en-US" sz="1200" dirty="0">
                  <a:solidFill>
                    <a:srgbClr val="292929"/>
                  </a:solidFill>
                  <a:latin typeface="Arial" panose="020B0604020202020204"/>
                </a:rPr>
                <a:t>Industry, vehicles, residential, others</a:t>
              </a:r>
            </a:p>
            <a:p>
              <a:pPr marL="365760" eaLnBrk="0" fontAlgn="base" hangingPunct="0">
                <a:spcBef>
                  <a:spcPts val="600"/>
                </a:spcBef>
                <a:spcAft>
                  <a:spcPts val="600"/>
                </a:spcAft>
                <a:buSzPct val="150000"/>
              </a:pPr>
              <a:r>
                <a:rPr lang="en-US" sz="1200" dirty="0">
                  <a:solidFill>
                    <a:srgbClr val="292929"/>
                  </a:solidFill>
                  <a:latin typeface="Arial" panose="020B0604020202020204"/>
                </a:rPr>
                <a:t>Internal (Petrobras)</a:t>
              </a:r>
            </a:p>
          </p:txBody>
        </p:sp>
        <p:sp>
          <p:nvSpPr>
            <p:cNvPr id="251" name="Rounded Rectangle 256"/>
            <p:cNvSpPr>
              <a:spLocks noChangeAspect="1"/>
            </p:cNvSpPr>
            <p:nvPr/>
          </p:nvSpPr>
          <p:spPr>
            <a:xfrm>
              <a:off x="1313202" y="4897310"/>
              <a:ext cx="169333" cy="169333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20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252" name="Rounded Rectangle 257"/>
            <p:cNvSpPr>
              <a:spLocks noChangeAspect="1"/>
            </p:cNvSpPr>
            <p:nvPr/>
          </p:nvSpPr>
          <p:spPr>
            <a:xfrm>
              <a:off x="1313202" y="5202109"/>
              <a:ext cx="169333" cy="169333"/>
            </a:xfrm>
            <a:prstGeom prst="roundRect">
              <a:avLst/>
            </a:prstGeom>
            <a:solidFill>
              <a:srgbClr val="FFB4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20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253" name="Rounded Rectangle 258"/>
            <p:cNvSpPr>
              <a:spLocks noChangeAspect="1"/>
            </p:cNvSpPr>
            <p:nvPr/>
          </p:nvSpPr>
          <p:spPr>
            <a:xfrm>
              <a:off x="1313202" y="5651822"/>
              <a:ext cx="169333" cy="169333"/>
            </a:xfrm>
            <a:prstGeom prst="roundRect">
              <a:avLst/>
            </a:prstGeom>
            <a:solidFill>
              <a:srgbClr val="FF502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20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graphicFrame>
          <p:nvGraphicFramePr>
            <p:cNvPr id="254" name="Gráfico 2">
              <a:extLst>
                <a:ext uri="{FF2B5EF4-FFF2-40B4-BE49-F238E27FC236}">
                  <a16:creationId xmlns:a16="http://schemas.microsoft.com/office/drawing/2014/main" id="{EA6473B1-2478-47E8-9704-2325108F666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994885945"/>
                </p:ext>
              </p:extLst>
            </p:nvPr>
          </p:nvGraphicFramePr>
          <p:xfrm>
            <a:off x="5886259" y="4133829"/>
            <a:ext cx="2165398" cy="142988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aphicFrame>
          <p:nvGraphicFramePr>
            <p:cNvPr id="255" name="Gráfico 3">
              <a:extLst>
                <a:ext uri="{FF2B5EF4-FFF2-40B4-BE49-F238E27FC236}">
                  <a16:creationId xmlns:a16="http://schemas.microsoft.com/office/drawing/2014/main" id="{3ABFE7BB-3BF9-40DD-A42C-536EABBE0D48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507871069"/>
                </p:ext>
              </p:extLst>
            </p:nvPr>
          </p:nvGraphicFramePr>
          <p:xfrm>
            <a:off x="2960531" y="4672516"/>
            <a:ext cx="2416677" cy="13826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graphicFrame>
          <p:nvGraphicFramePr>
            <p:cNvPr id="256" name="Gráfico 4">
              <a:extLst>
                <a:ext uri="{FF2B5EF4-FFF2-40B4-BE49-F238E27FC236}">
                  <a16:creationId xmlns:a16="http://schemas.microsoft.com/office/drawing/2014/main" id="{415ECD47-5D69-494F-B242-E306D56348E8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06606935"/>
                </p:ext>
              </p:extLst>
            </p:nvPr>
          </p:nvGraphicFramePr>
          <p:xfrm>
            <a:off x="2675111" y="3307166"/>
            <a:ext cx="1535283" cy="13826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graphicFrame>
          <p:nvGraphicFramePr>
            <p:cNvPr id="257" name="Gráfico 5">
              <a:extLst>
                <a:ext uri="{FF2B5EF4-FFF2-40B4-BE49-F238E27FC236}">
                  <a16:creationId xmlns:a16="http://schemas.microsoft.com/office/drawing/2014/main" id="{0665FB89-BA40-4FAF-9B84-B563BF5CAC35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554700782"/>
                </p:ext>
              </p:extLst>
            </p:nvPr>
          </p:nvGraphicFramePr>
          <p:xfrm>
            <a:off x="1602466" y="1444190"/>
            <a:ext cx="1830627" cy="144070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258" name="Rectangle 475"/>
            <p:cNvSpPr/>
            <p:nvPr/>
          </p:nvSpPr>
          <p:spPr>
            <a:xfrm>
              <a:off x="8927682" y="1519164"/>
              <a:ext cx="1746283" cy="71518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prstClr val="black"/>
                  </a:solidFill>
                  <a:latin typeface="Arial" panose="020B0604020202020204"/>
                </a:rPr>
                <a:t>Total national daily demand</a:t>
              </a:r>
            </a:p>
            <a:p>
              <a:pPr algn="ctr"/>
              <a:r>
                <a:rPr lang="en-US" sz="1600" b="1" dirty="0">
                  <a:solidFill>
                    <a:prstClr val="black"/>
                  </a:solidFill>
                  <a:latin typeface="Arial" panose="020B0604020202020204"/>
                </a:rPr>
                <a:t>81.8 MM m³ / day</a:t>
              </a:r>
            </a:p>
          </p:txBody>
        </p:sp>
        <p:graphicFrame>
          <p:nvGraphicFramePr>
            <p:cNvPr id="259" name="Chart 481"/>
            <p:cNvGraphicFramePr/>
            <p:nvPr>
              <p:extLst>
                <p:ext uri="{D42A27DB-BD31-4B8C-83A1-F6EECF244321}">
                  <p14:modId xmlns:p14="http://schemas.microsoft.com/office/powerpoint/2010/main" val="2248832003"/>
                </p:ext>
              </p:extLst>
            </p:nvPr>
          </p:nvGraphicFramePr>
          <p:xfrm>
            <a:off x="7982940" y="3272439"/>
            <a:ext cx="2480350" cy="27011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graphicFrame>
          <p:nvGraphicFramePr>
            <p:cNvPr id="260" name="Gráfico 2">
              <a:extLst>
                <a:ext uri="{FF2B5EF4-FFF2-40B4-BE49-F238E27FC236}">
                  <a16:creationId xmlns:a16="http://schemas.microsoft.com/office/drawing/2014/main" id="{666F3CB1-9FAC-40A4-9C5D-C2E43D2AF1C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952516554"/>
                </p:ext>
              </p:extLst>
            </p:nvPr>
          </p:nvGraphicFramePr>
          <p:xfrm>
            <a:off x="6897831" y="1498173"/>
            <a:ext cx="1940105" cy="16733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4"/>
            </a:graphicData>
          </a:graphic>
        </p:graphicFrame>
      </p:grpSp>
      <p:sp>
        <p:nvSpPr>
          <p:cNvPr id="262" name="Retângulo 261">
            <a:extLst>
              <a:ext uri="{FF2B5EF4-FFF2-40B4-BE49-F238E27FC236}">
                <a16:creationId xmlns:a16="http://schemas.microsoft.com/office/drawing/2014/main" id="{DCA6FE93-2C6D-4A20-8332-9BFC1C3884DD}"/>
              </a:ext>
            </a:extLst>
          </p:cNvPr>
          <p:cNvSpPr/>
          <p:nvPr/>
        </p:nvSpPr>
        <p:spPr>
          <a:xfrm>
            <a:off x="10105720" y="6485621"/>
            <a:ext cx="2086280" cy="330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53"/>
            <a:r>
              <a:rPr lang="pt-BR" sz="1400" dirty="0">
                <a:solidFill>
                  <a:schemeClr val="bg1">
                    <a:lumMod val="50000"/>
                  </a:schemeClr>
                </a:solidFill>
                <a:latin typeface="Trebuchet MS"/>
                <a:cs typeface="Calibri"/>
                <a:sym typeface="Helvetica"/>
              </a:rPr>
              <a:t>Source: Petrobras </a:t>
            </a:r>
          </a:p>
        </p:txBody>
      </p:sp>
    </p:spTree>
    <p:extLst>
      <p:ext uri="{BB962C8B-B14F-4D97-AF65-F5344CB8AC3E}">
        <p14:creationId xmlns:p14="http://schemas.microsoft.com/office/powerpoint/2010/main" val="1145386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6" descr="Base_apresentação_IDE_PPT_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7800" y="36662"/>
            <a:ext cx="9494199" cy="682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8CCD0050-5369-45BF-A99C-A663786108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11506" y="1906"/>
          <a:ext cx="1905" cy="19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0" name="Slide do think-cell" r:id="rId7" imgW="421" imgH="423" progId="TCLayout.ActiveDocument.1">
                  <p:embed/>
                </p:oleObj>
              </mc:Choice>
              <mc:Fallback>
                <p:oleObj name="Slide do think-cell" r:id="rId7" imgW="421" imgH="423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8CCD0050-5369-45BF-A99C-A663786108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11506" y="1906"/>
                        <a:ext cx="1905" cy="19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4C5E35AE-8486-4DD6-B145-E957AEE370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9601" y="1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97253">
              <a:defRPr/>
            </a:pPr>
            <a:endParaRPr lang="pt-BR" sz="1680" dirty="0">
              <a:solidFill>
                <a:prstClr val="white"/>
              </a:solidFill>
              <a:latin typeface="Trebuchet MS"/>
              <a:cs typeface="Calibri"/>
              <a:sym typeface="+mn-lt"/>
            </a:endParaRPr>
          </a:p>
        </p:txBody>
      </p:sp>
      <p:sp>
        <p:nvSpPr>
          <p:cNvPr id="123" name="Retângulo 122">
            <a:extLst>
              <a:ext uri="{FF2B5EF4-FFF2-40B4-BE49-F238E27FC236}">
                <a16:creationId xmlns:a16="http://schemas.microsoft.com/office/drawing/2014/main" id="{DE5BEBAC-8D81-4428-8988-E53AD51D37ED}"/>
              </a:ext>
            </a:extLst>
          </p:cNvPr>
          <p:cNvSpPr/>
          <p:nvPr/>
        </p:nvSpPr>
        <p:spPr>
          <a:xfrm>
            <a:off x="9877424" y="6310494"/>
            <a:ext cx="2314576" cy="4829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53">
              <a:defRPr/>
            </a:pPr>
            <a:r>
              <a:rPr lang="pt-BR" sz="1320" dirty="0">
                <a:solidFill>
                  <a:schemeClr val="bg1">
                    <a:lumMod val="50000"/>
                  </a:schemeClr>
                </a:solidFill>
                <a:latin typeface="Trebuchet MS"/>
                <a:cs typeface="Calibri"/>
                <a:sym typeface="Helvetica"/>
              </a:rPr>
              <a:t>Source: EPE – PDE 2029 </a:t>
            </a:r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91E507EB-811E-4DCD-9A64-3D6BBD8441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1312153"/>
              </p:ext>
            </p:extLst>
          </p:nvPr>
        </p:nvGraphicFramePr>
        <p:xfrm>
          <a:off x="52432" y="1701182"/>
          <a:ext cx="5760000" cy="4684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136E3B5F-C3A1-448F-8568-CFBB4B48D3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945775"/>
              </p:ext>
            </p:extLst>
          </p:nvPr>
        </p:nvGraphicFramePr>
        <p:xfrm>
          <a:off x="5795920" y="1701182"/>
          <a:ext cx="6396080" cy="4684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C4C8215-2A86-439E-BC64-B593716DFC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598" y="390432"/>
            <a:ext cx="9922935" cy="956979"/>
          </a:xfrm>
          <a:ln w="12700">
            <a:miter lim="400000"/>
          </a:ln>
        </p:spPr>
        <p:txBody>
          <a:bodyPr lIns="45718" tIns="45718" rIns="45718" bIns="45718"/>
          <a:lstStyle/>
          <a:p>
            <a:r>
              <a:rPr lang="en-US" sz="2800" kern="1200" dirty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D</a:t>
            </a:r>
            <a:r>
              <a:rPr lang="en-US" sz="2800" kern="1200" dirty="0">
                <a:latin typeface="+mn-lt"/>
                <a:ea typeface="+mn-ea"/>
                <a:cs typeface="+mn-cs"/>
              </a:rPr>
              <a:t>omestic</a:t>
            </a:r>
            <a:r>
              <a:rPr lang="en-US" sz="2800" kern="1200" dirty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 production to grow until 2030, but Brazilian market remains net importer with power demand growth</a:t>
            </a:r>
          </a:p>
          <a:p>
            <a:endParaRPr lang="pt-BR" sz="2800" kern="1200" dirty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931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Base_apresentação_IDE_PPT_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9334" y="0"/>
            <a:ext cx="9494199" cy="682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 txBox="1">
            <a:spLocks/>
          </p:cNvSpPr>
          <p:nvPr/>
        </p:nvSpPr>
        <p:spPr>
          <a:xfrm>
            <a:off x="547170" y="534320"/>
            <a:ext cx="8932376" cy="102062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sym typeface="Arial"/>
              </a:rPr>
              <a:t>Recent Developments on the Brazilian Natural Gas Regulatory Framework</a:t>
            </a:r>
          </a:p>
        </p:txBody>
      </p:sp>
      <p:grpSp>
        <p:nvGrpSpPr>
          <p:cNvPr id="9" name="Group 73"/>
          <p:cNvGrpSpPr/>
          <p:nvPr/>
        </p:nvGrpSpPr>
        <p:grpSpPr>
          <a:xfrm>
            <a:off x="684027" y="3289369"/>
            <a:ext cx="10745973" cy="3196098"/>
            <a:chOff x="533399" y="3166382"/>
            <a:chExt cx="9266474" cy="2741171"/>
          </a:xfrm>
          <a:solidFill>
            <a:schemeClr val="accent1">
              <a:lumMod val="75000"/>
            </a:schemeClr>
          </a:solidFill>
        </p:grpSpPr>
        <p:grpSp>
          <p:nvGrpSpPr>
            <p:cNvPr id="10" name="Group 367"/>
            <p:cNvGrpSpPr/>
            <p:nvPr/>
          </p:nvGrpSpPr>
          <p:grpSpPr bwMode="auto">
            <a:xfrm>
              <a:off x="533399" y="3382766"/>
              <a:ext cx="8962023" cy="2524787"/>
              <a:chOff x="6270625" y="5495926"/>
              <a:chExt cx="3043238" cy="1150938"/>
            </a:xfrm>
            <a:grpFill/>
          </p:grpSpPr>
          <p:sp>
            <p:nvSpPr>
              <p:cNvPr id="65" name="Freeform 37"/>
              <p:cNvSpPr>
                <a:spLocks noEditPoints="1"/>
              </p:cNvSpPr>
              <p:nvPr/>
            </p:nvSpPr>
            <p:spPr bwMode="auto">
              <a:xfrm>
                <a:off x="6270625" y="5495926"/>
                <a:ext cx="3043238" cy="1150938"/>
              </a:xfrm>
              <a:custGeom>
                <a:avLst/>
                <a:gdLst>
                  <a:gd name="T0" fmla="*/ 2147483647 w 502"/>
                  <a:gd name="T1" fmla="*/ 2147483647 h 190"/>
                  <a:gd name="T2" fmla="*/ 2147483647 w 502"/>
                  <a:gd name="T3" fmla="*/ 2147483647 h 190"/>
                  <a:gd name="T4" fmla="*/ 2147483647 w 502"/>
                  <a:gd name="T5" fmla="*/ 2147483647 h 190"/>
                  <a:gd name="T6" fmla="*/ 2147483647 w 502"/>
                  <a:gd name="T7" fmla="*/ 2147483647 h 190"/>
                  <a:gd name="T8" fmla="*/ 2147483647 w 502"/>
                  <a:gd name="T9" fmla="*/ 2147483647 h 190"/>
                  <a:gd name="T10" fmla="*/ 2147483647 w 502"/>
                  <a:gd name="T11" fmla="*/ 2147483647 h 190"/>
                  <a:gd name="T12" fmla="*/ 2147483647 w 502"/>
                  <a:gd name="T13" fmla="*/ 2147483647 h 190"/>
                  <a:gd name="T14" fmla="*/ 2147483647 w 502"/>
                  <a:gd name="T15" fmla="*/ 2147483647 h 190"/>
                  <a:gd name="T16" fmla="*/ 2147483647 w 502"/>
                  <a:gd name="T17" fmla="*/ 2147483647 h 190"/>
                  <a:gd name="T18" fmla="*/ 2147483647 w 502"/>
                  <a:gd name="T19" fmla="*/ 2147483647 h 190"/>
                  <a:gd name="T20" fmla="*/ 2147483647 w 502"/>
                  <a:gd name="T21" fmla="*/ 2147483647 h 190"/>
                  <a:gd name="T22" fmla="*/ 2147483647 w 502"/>
                  <a:gd name="T23" fmla="*/ 2147483647 h 190"/>
                  <a:gd name="T24" fmla="*/ 2147483647 w 502"/>
                  <a:gd name="T25" fmla="*/ 2147483647 h 190"/>
                  <a:gd name="T26" fmla="*/ 2147483647 w 502"/>
                  <a:gd name="T27" fmla="*/ 2147483647 h 190"/>
                  <a:gd name="T28" fmla="*/ 2147483647 w 502"/>
                  <a:gd name="T29" fmla="*/ 2147483647 h 190"/>
                  <a:gd name="T30" fmla="*/ 2147483647 w 502"/>
                  <a:gd name="T31" fmla="*/ 2147483647 h 190"/>
                  <a:gd name="T32" fmla="*/ 2147483647 w 502"/>
                  <a:gd name="T33" fmla="*/ 2147483647 h 190"/>
                  <a:gd name="T34" fmla="*/ 2147483647 w 502"/>
                  <a:gd name="T35" fmla="*/ 2147483647 h 190"/>
                  <a:gd name="T36" fmla="*/ 2147483647 w 502"/>
                  <a:gd name="T37" fmla="*/ 2147483647 h 190"/>
                  <a:gd name="T38" fmla="*/ 2147483647 w 502"/>
                  <a:gd name="T39" fmla="*/ 2147483647 h 190"/>
                  <a:gd name="T40" fmla="*/ 2147483647 w 502"/>
                  <a:gd name="T41" fmla="*/ 2147483647 h 190"/>
                  <a:gd name="T42" fmla="*/ 2147483647 w 502"/>
                  <a:gd name="T43" fmla="*/ 2147483647 h 190"/>
                  <a:gd name="T44" fmla="*/ 2147483647 w 502"/>
                  <a:gd name="T45" fmla="*/ 2147483647 h 190"/>
                  <a:gd name="T46" fmla="*/ 2147483647 w 502"/>
                  <a:gd name="T47" fmla="*/ 2147483647 h 190"/>
                  <a:gd name="T48" fmla="*/ 2147483647 w 502"/>
                  <a:gd name="T49" fmla="*/ 2147483647 h 190"/>
                  <a:gd name="T50" fmla="*/ 2147483647 w 502"/>
                  <a:gd name="T51" fmla="*/ 2147483647 h 190"/>
                  <a:gd name="T52" fmla="*/ 2147483647 w 502"/>
                  <a:gd name="T53" fmla="*/ 2147483647 h 190"/>
                  <a:gd name="T54" fmla="*/ 2147483647 w 502"/>
                  <a:gd name="T55" fmla="*/ 2147483647 h 190"/>
                  <a:gd name="T56" fmla="*/ 2147483647 w 502"/>
                  <a:gd name="T57" fmla="*/ 2147483647 h 190"/>
                  <a:gd name="T58" fmla="*/ 2147483647 w 502"/>
                  <a:gd name="T59" fmla="*/ 2147483647 h 190"/>
                  <a:gd name="T60" fmla="*/ 2147483647 w 502"/>
                  <a:gd name="T61" fmla="*/ 2147483647 h 190"/>
                  <a:gd name="T62" fmla="*/ 2147483647 w 502"/>
                  <a:gd name="T63" fmla="*/ 2147483647 h 190"/>
                  <a:gd name="T64" fmla="*/ 2147483647 w 502"/>
                  <a:gd name="T65" fmla="*/ 2147483647 h 190"/>
                  <a:gd name="T66" fmla="*/ 2147483647 w 502"/>
                  <a:gd name="T67" fmla="*/ 2147483647 h 190"/>
                  <a:gd name="T68" fmla="*/ 2147483647 w 502"/>
                  <a:gd name="T69" fmla="*/ 2147483647 h 190"/>
                  <a:gd name="T70" fmla="*/ 2147483647 w 502"/>
                  <a:gd name="T71" fmla="*/ 2147483647 h 190"/>
                  <a:gd name="T72" fmla="*/ 2147483647 w 502"/>
                  <a:gd name="T73" fmla="*/ 2147483647 h 190"/>
                  <a:gd name="T74" fmla="*/ 2147483647 w 502"/>
                  <a:gd name="T75" fmla="*/ 2147483647 h 190"/>
                  <a:gd name="T76" fmla="*/ 2147483647 w 502"/>
                  <a:gd name="T77" fmla="*/ 2147483647 h 190"/>
                  <a:gd name="T78" fmla="*/ 2147483647 w 502"/>
                  <a:gd name="T79" fmla="*/ 2147483647 h 190"/>
                  <a:gd name="T80" fmla="*/ 2147483647 w 502"/>
                  <a:gd name="T81" fmla="*/ 2147483647 h 190"/>
                  <a:gd name="T82" fmla="*/ 2147483647 w 502"/>
                  <a:gd name="T83" fmla="*/ 2147483647 h 190"/>
                  <a:gd name="T84" fmla="*/ 2147483647 w 502"/>
                  <a:gd name="T85" fmla="*/ 2147483647 h 190"/>
                  <a:gd name="T86" fmla="*/ 2147483647 w 502"/>
                  <a:gd name="T87" fmla="*/ 2147483647 h 190"/>
                  <a:gd name="T88" fmla="*/ 2147483647 w 502"/>
                  <a:gd name="T89" fmla="*/ 2147483647 h 190"/>
                  <a:gd name="T90" fmla="*/ 2147483647 w 502"/>
                  <a:gd name="T91" fmla="*/ 2147483647 h 190"/>
                  <a:gd name="T92" fmla="*/ 2147483647 w 502"/>
                  <a:gd name="T93" fmla="*/ 2147483647 h 190"/>
                  <a:gd name="T94" fmla="*/ 2147483647 w 502"/>
                  <a:gd name="T95" fmla="*/ 2147483647 h 190"/>
                  <a:gd name="T96" fmla="*/ 2147483647 w 502"/>
                  <a:gd name="T97" fmla="*/ 2147483647 h 190"/>
                  <a:gd name="T98" fmla="*/ 2147483647 w 502"/>
                  <a:gd name="T99" fmla="*/ 2147483647 h 190"/>
                  <a:gd name="T100" fmla="*/ 2147483647 w 502"/>
                  <a:gd name="T101" fmla="*/ 2147483647 h 190"/>
                  <a:gd name="T102" fmla="*/ 2147483647 w 502"/>
                  <a:gd name="T103" fmla="*/ 2147483647 h 190"/>
                  <a:gd name="T104" fmla="*/ 2147483647 w 502"/>
                  <a:gd name="T105" fmla="*/ 2147483647 h 19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02"/>
                  <a:gd name="T160" fmla="*/ 0 h 190"/>
                  <a:gd name="T161" fmla="*/ 502 w 502"/>
                  <a:gd name="T162" fmla="*/ 190 h 19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02" h="190">
                    <a:moveTo>
                      <a:pt x="352" y="127"/>
                    </a:moveTo>
                    <a:cubicBezTo>
                      <a:pt x="353" y="127"/>
                      <a:pt x="353" y="127"/>
                      <a:pt x="353" y="127"/>
                    </a:cubicBezTo>
                    <a:cubicBezTo>
                      <a:pt x="354" y="126"/>
                      <a:pt x="355" y="126"/>
                      <a:pt x="356" y="126"/>
                    </a:cubicBezTo>
                    <a:cubicBezTo>
                      <a:pt x="356" y="125"/>
                      <a:pt x="357" y="125"/>
                      <a:pt x="358" y="125"/>
                    </a:cubicBezTo>
                    <a:cubicBezTo>
                      <a:pt x="358" y="124"/>
                      <a:pt x="359" y="124"/>
                      <a:pt x="360" y="123"/>
                    </a:cubicBezTo>
                    <a:cubicBezTo>
                      <a:pt x="361" y="123"/>
                      <a:pt x="362" y="122"/>
                      <a:pt x="363" y="122"/>
                    </a:cubicBezTo>
                    <a:cubicBezTo>
                      <a:pt x="366" y="120"/>
                      <a:pt x="369" y="118"/>
                      <a:pt x="372" y="116"/>
                    </a:cubicBezTo>
                    <a:cubicBezTo>
                      <a:pt x="376" y="114"/>
                      <a:pt x="379" y="112"/>
                      <a:pt x="383" y="110"/>
                    </a:cubicBezTo>
                    <a:cubicBezTo>
                      <a:pt x="386" y="108"/>
                      <a:pt x="389" y="106"/>
                      <a:pt x="393" y="104"/>
                    </a:cubicBezTo>
                    <a:cubicBezTo>
                      <a:pt x="396" y="103"/>
                      <a:pt x="399" y="101"/>
                      <a:pt x="402" y="99"/>
                    </a:cubicBezTo>
                    <a:cubicBezTo>
                      <a:pt x="406" y="97"/>
                      <a:pt x="409" y="95"/>
                      <a:pt x="413" y="92"/>
                    </a:cubicBezTo>
                    <a:cubicBezTo>
                      <a:pt x="417" y="89"/>
                      <a:pt x="422" y="86"/>
                      <a:pt x="426" y="83"/>
                    </a:cubicBezTo>
                    <a:cubicBezTo>
                      <a:pt x="430" y="81"/>
                      <a:pt x="433" y="78"/>
                      <a:pt x="436" y="75"/>
                    </a:cubicBezTo>
                    <a:cubicBezTo>
                      <a:pt x="440" y="73"/>
                      <a:pt x="443" y="70"/>
                      <a:pt x="446" y="67"/>
                    </a:cubicBezTo>
                    <a:cubicBezTo>
                      <a:pt x="447" y="66"/>
                      <a:pt x="448" y="64"/>
                      <a:pt x="449" y="63"/>
                    </a:cubicBezTo>
                    <a:cubicBezTo>
                      <a:pt x="449" y="63"/>
                      <a:pt x="450" y="62"/>
                      <a:pt x="450" y="62"/>
                    </a:cubicBezTo>
                    <a:cubicBezTo>
                      <a:pt x="450" y="61"/>
                      <a:pt x="448" y="62"/>
                      <a:pt x="448" y="62"/>
                    </a:cubicBezTo>
                    <a:cubicBezTo>
                      <a:pt x="446" y="63"/>
                      <a:pt x="444" y="64"/>
                      <a:pt x="443" y="66"/>
                    </a:cubicBezTo>
                    <a:cubicBezTo>
                      <a:pt x="441" y="66"/>
                      <a:pt x="440" y="67"/>
                      <a:pt x="439" y="68"/>
                    </a:cubicBezTo>
                    <a:cubicBezTo>
                      <a:pt x="437" y="70"/>
                      <a:pt x="435" y="71"/>
                      <a:pt x="434" y="72"/>
                    </a:cubicBezTo>
                    <a:cubicBezTo>
                      <a:pt x="431" y="74"/>
                      <a:pt x="428" y="77"/>
                      <a:pt x="425" y="79"/>
                    </a:cubicBezTo>
                    <a:cubicBezTo>
                      <a:pt x="424" y="79"/>
                      <a:pt x="424" y="79"/>
                      <a:pt x="424" y="79"/>
                    </a:cubicBezTo>
                    <a:cubicBezTo>
                      <a:pt x="424" y="79"/>
                      <a:pt x="424" y="79"/>
                      <a:pt x="424" y="79"/>
                    </a:cubicBezTo>
                    <a:cubicBezTo>
                      <a:pt x="424" y="79"/>
                      <a:pt x="424" y="79"/>
                      <a:pt x="424" y="79"/>
                    </a:cubicBezTo>
                    <a:cubicBezTo>
                      <a:pt x="424" y="79"/>
                      <a:pt x="424" y="79"/>
                      <a:pt x="423" y="79"/>
                    </a:cubicBezTo>
                    <a:cubicBezTo>
                      <a:pt x="423" y="80"/>
                      <a:pt x="423" y="79"/>
                      <a:pt x="423" y="79"/>
                    </a:cubicBezTo>
                    <a:cubicBezTo>
                      <a:pt x="423" y="79"/>
                      <a:pt x="424" y="78"/>
                      <a:pt x="424" y="78"/>
                    </a:cubicBezTo>
                    <a:cubicBezTo>
                      <a:pt x="424" y="78"/>
                      <a:pt x="423" y="78"/>
                      <a:pt x="423" y="78"/>
                    </a:cubicBezTo>
                    <a:cubicBezTo>
                      <a:pt x="423" y="78"/>
                      <a:pt x="423" y="78"/>
                      <a:pt x="423" y="78"/>
                    </a:cubicBezTo>
                    <a:cubicBezTo>
                      <a:pt x="422" y="78"/>
                      <a:pt x="422" y="78"/>
                      <a:pt x="422" y="78"/>
                    </a:cubicBezTo>
                    <a:cubicBezTo>
                      <a:pt x="421" y="79"/>
                      <a:pt x="421" y="79"/>
                      <a:pt x="421" y="79"/>
                    </a:cubicBezTo>
                    <a:cubicBezTo>
                      <a:pt x="420" y="79"/>
                      <a:pt x="420" y="80"/>
                      <a:pt x="419" y="80"/>
                    </a:cubicBezTo>
                    <a:cubicBezTo>
                      <a:pt x="418" y="81"/>
                      <a:pt x="416" y="83"/>
                      <a:pt x="415" y="84"/>
                    </a:cubicBezTo>
                    <a:cubicBezTo>
                      <a:pt x="409" y="88"/>
                      <a:pt x="402" y="92"/>
                      <a:pt x="396" y="96"/>
                    </a:cubicBezTo>
                    <a:cubicBezTo>
                      <a:pt x="387" y="102"/>
                      <a:pt x="378" y="107"/>
                      <a:pt x="369" y="112"/>
                    </a:cubicBezTo>
                    <a:cubicBezTo>
                      <a:pt x="359" y="117"/>
                      <a:pt x="350" y="122"/>
                      <a:pt x="340" y="126"/>
                    </a:cubicBezTo>
                    <a:cubicBezTo>
                      <a:pt x="336" y="128"/>
                      <a:pt x="333" y="130"/>
                      <a:pt x="329" y="131"/>
                    </a:cubicBezTo>
                    <a:cubicBezTo>
                      <a:pt x="326" y="132"/>
                      <a:pt x="324" y="133"/>
                      <a:pt x="321" y="134"/>
                    </a:cubicBezTo>
                    <a:cubicBezTo>
                      <a:pt x="321" y="134"/>
                      <a:pt x="320" y="134"/>
                      <a:pt x="320" y="134"/>
                    </a:cubicBezTo>
                    <a:cubicBezTo>
                      <a:pt x="320" y="135"/>
                      <a:pt x="319" y="135"/>
                      <a:pt x="319" y="135"/>
                    </a:cubicBezTo>
                    <a:cubicBezTo>
                      <a:pt x="318" y="135"/>
                      <a:pt x="316" y="136"/>
                      <a:pt x="315" y="136"/>
                    </a:cubicBezTo>
                    <a:cubicBezTo>
                      <a:pt x="313" y="138"/>
                      <a:pt x="310" y="139"/>
                      <a:pt x="307" y="140"/>
                    </a:cubicBezTo>
                    <a:cubicBezTo>
                      <a:pt x="306" y="140"/>
                      <a:pt x="305" y="141"/>
                      <a:pt x="304" y="141"/>
                    </a:cubicBezTo>
                    <a:cubicBezTo>
                      <a:pt x="304" y="141"/>
                      <a:pt x="303" y="141"/>
                      <a:pt x="303" y="141"/>
                    </a:cubicBezTo>
                    <a:cubicBezTo>
                      <a:pt x="303" y="141"/>
                      <a:pt x="303" y="141"/>
                      <a:pt x="303" y="141"/>
                    </a:cubicBezTo>
                    <a:cubicBezTo>
                      <a:pt x="303" y="141"/>
                      <a:pt x="303" y="141"/>
                      <a:pt x="303" y="141"/>
                    </a:cubicBezTo>
                    <a:cubicBezTo>
                      <a:pt x="303" y="141"/>
                      <a:pt x="303" y="141"/>
                      <a:pt x="303" y="141"/>
                    </a:cubicBezTo>
                    <a:cubicBezTo>
                      <a:pt x="303" y="141"/>
                      <a:pt x="303" y="141"/>
                      <a:pt x="303" y="141"/>
                    </a:cubicBezTo>
                    <a:cubicBezTo>
                      <a:pt x="303" y="141"/>
                      <a:pt x="304" y="141"/>
                      <a:pt x="304" y="141"/>
                    </a:cubicBezTo>
                    <a:cubicBezTo>
                      <a:pt x="306" y="140"/>
                      <a:pt x="307" y="139"/>
                      <a:pt x="309" y="138"/>
                    </a:cubicBezTo>
                    <a:cubicBezTo>
                      <a:pt x="321" y="132"/>
                      <a:pt x="333" y="127"/>
                      <a:pt x="345" y="121"/>
                    </a:cubicBezTo>
                    <a:cubicBezTo>
                      <a:pt x="352" y="118"/>
                      <a:pt x="358" y="115"/>
                      <a:pt x="364" y="112"/>
                    </a:cubicBezTo>
                    <a:cubicBezTo>
                      <a:pt x="369" y="109"/>
                      <a:pt x="374" y="107"/>
                      <a:pt x="379" y="105"/>
                    </a:cubicBezTo>
                    <a:cubicBezTo>
                      <a:pt x="380" y="104"/>
                      <a:pt x="381" y="104"/>
                      <a:pt x="382" y="103"/>
                    </a:cubicBezTo>
                    <a:cubicBezTo>
                      <a:pt x="383" y="103"/>
                      <a:pt x="384" y="102"/>
                      <a:pt x="385" y="102"/>
                    </a:cubicBezTo>
                    <a:cubicBezTo>
                      <a:pt x="387" y="100"/>
                      <a:pt x="390" y="99"/>
                      <a:pt x="392" y="97"/>
                    </a:cubicBezTo>
                    <a:cubicBezTo>
                      <a:pt x="398" y="93"/>
                      <a:pt x="404" y="89"/>
                      <a:pt x="410" y="85"/>
                    </a:cubicBezTo>
                    <a:cubicBezTo>
                      <a:pt x="417" y="80"/>
                      <a:pt x="424" y="75"/>
                      <a:pt x="430" y="71"/>
                    </a:cubicBezTo>
                    <a:cubicBezTo>
                      <a:pt x="433" y="69"/>
                      <a:pt x="436" y="66"/>
                      <a:pt x="440" y="64"/>
                    </a:cubicBezTo>
                    <a:cubicBezTo>
                      <a:pt x="442" y="62"/>
                      <a:pt x="445" y="61"/>
                      <a:pt x="448" y="59"/>
                    </a:cubicBezTo>
                    <a:cubicBezTo>
                      <a:pt x="449" y="58"/>
                      <a:pt x="450" y="58"/>
                      <a:pt x="450" y="57"/>
                    </a:cubicBezTo>
                    <a:cubicBezTo>
                      <a:pt x="451" y="57"/>
                      <a:pt x="452" y="56"/>
                      <a:pt x="453" y="56"/>
                    </a:cubicBezTo>
                    <a:cubicBezTo>
                      <a:pt x="454" y="54"/>
                      <a:pt x="456" y="53"/>
                      <a:pt x="458" y="51"/>
                    </a:cubicBezTo>
                    <a:cubicBezTo>
                      <a:pt x="461" y="49"/>
                      <a:pt x="464" y="46"/>
                      <a:pt x="467" y="43"/>
                    </a:cubicBezTo>
                    <a:cubicBezTo>
                      <a:pt x="468" y="42"/>
                      <a:pt x="469" y="41"/>
                      <a:pt x="470" y="40"/>
                    </a:cubicBezTo>
                    <a:cubicBezTo>
                      <a:pt x="470" y="39"/>
                      <a:pt x="470" y="39"/>
                      <a:pt x="470" y="39"/>
                    </a:cubicBezTo>
                    <a:cubicBezTo>
                      <a:pt x="470" y="39"/>
                      <a:pt x="471" y="38"/>
                      <a:pt x="470" y="38"/>
                    </a:cubicBezTo>
                    <a:cubicBezTo>
                      <a:pt x="470" y="38"/>
                      <a:pt x="470" y="38"/>
                      <a:pt x="470" y="38"/>
                    </a:cubicBezTo>
                    <a:cubicBezTo>
                      <a:pt x="470" y="39"/>
                      <a:pt x="470" y="39"/>
                      <a:pt x="470" y="39"/>
                    </a:cubicBezTo>
                    <a:cubicBezTo>
                      <a:pt x="470" y="39"/>
                      <a:pt x="469" y="39"/>
                      <a:pt x="469" y="39"/>
                    </a:cubicBezTo>
                    <a:cubicBezTo>
                      <a:pt x="469" y="39"/>
                      <a:pt x="469" y="40"/>
                      <a:pt x="468" y="40"/>
                    </a:cubicBezTo>
                    <a:cubicBezTo>
                      <a:pt x="466" y="41"/>
                      <a:pt x="465" y="43"/>
                      <a:pt x="463" y="44"/>
                    </a:cubicBezTo>
                    <a:cubicBezTo>
                      <a:pt x="460" y="47"/>
                      <a:pt x="457" y="50"/>
                      <a:pt x="453" y="52"/>
                    </a:cubicBezTo>
                    <a:cubicBezTo>
                      <a:pt x="453" y="52"/>
                      <a:pt x="453" y="53"/>
                      <a:pt x="452" y="53"/>
                    </a:cubicBezTo>
                    <a:cubicBezTo>
                      <a:pt x="452" y="53"/>
                      <a:pt x="451" y="53"/>
                      <a:pt x="451" y="54"/>
                    </a:cubicBezTo>
                    <a:cubicBezTo>
                      <a:pt x="451" y="54"/>
                      <a:pt x="450" y="54"/>
                      <a:pt x="450" y="54"/>
                    </a:cubicBezTo>
                    <a:cubicBezTo>
                      <a:pt x="449" y="54"/>
                      <a:pt x="449" y="53"/>
                      <a:pt x="447" y="53"/>
                    </a:cubicBezTo>
                    <a:cubicBezTo>
                      <a:pt x="447" y="53"/>
                      <a:pt x="446" y="54"/>
                      <a:pt x="446" y="54"/>
                    </a:cubicBezTo>
                    <a:cubicBezTo>
                      <a:pt x="446" y="54"/>
                      <a:pt x="446" y="54"/>
                      <a:pt x="446" y="53"/>
                    </a:cubicBezTo>
                    <a:cubicBezTo>
                      <a:pt x="446" y="53"/>
                      <a:pt x="446" y="53"/>
                      <a:pt x="446" y="53"/>
                    </a:cubicBezTo>
                    <a:cubicBezTo>
                      <a:pt x="446" y="53"/>
                      <a:pt x="446" y="53"/>
                      <a:pt x="446" y="53"/>
                    </a:cubicBezTo>
                    <a:cubicBezTo>
                      <a:pt x="446" y="53"/>
                      <a:pt x="446" y="53"/>
                      <a:pt x="446" y="53"/>
                    </a:cubicBezTo>
                    <a:cubicBezTo>
                      <a:pt x="446" y="53"/>
                      <a:pt x="446" y="53"/>
                      <a:pt x="446" y="53"/>
                    </a:cubicBezTo>
                    <a:cubicBezTo>
                      <a:pt x="447" y="53"/>
                      <a:pt x="447" y="53"/>
                      <a:pt x="447" y="52"/>
                    </a:cubicBezTo>
                    <a:cubicBezTo>
                      <a:pt x="448" y="52"/>
                      <a:pt x="448" y="52"/>
                      <a:pt x="449" y="51"/>
                    </a:cubicBezTo>
                    <a:cubicBezTo>
                      <a:pt x="451" y="50"/>
                      <a:pt x="454" y="48"/>
                      <a:pt x="456" y="47"/>
                    </a:cubicBezTo>
                    <a:cubicBezTo>
                      <a:pt x="459" y="45"/>
                      <a:pt x="462" y="42"/>
                      <a:pt x="465" y="40"/>
                    </a:cubicBezTo>
                    <a:cubicBezTo>
                      <a:pt x="468" y="37"/>
                      <a:pt x="472" y="34"/>
                      <a:pt x="475" y="30"/>
                    </a:cubicBezTo>
                    <a:cubicBezTo>
                      <a:pt x="477" y="28"/>
                      <a:pt x="478" y="26"/>
                      <a:pt x="480" y="24"/>
                    </a:cubicBezTo>
                    <a:cubicBezTo>
                      <a:pt x="482" y="22"/>
                      <a:pt x="483" y="20"/>
                      <a:pt x="485" y="18"/>
                    </a:cubicBezTo>
                    <a:cubicBezTo>
                      <a:pt x="487" y="16"/>
                      <a:pt x="488" y="15"/>
                      <a:pt x="490" y="13"/>
                    </a:cubicBezTo>
                    <a:cubicBezTo>
                      <a:pt x="492" y="11"/>
                      <a:pt x="494" y="10"/>
                      <a:pt x="496" y="8"/>
                    </a:cubicBezTo>
                    <a:cubicBezTo>
                      <a:pt x="496" y="8"/>
                      <a:pt x="497" y="7"/>
                      <a:pt x="497" y="7"/>
                    </a:cubicBezTo>
                    <a:cubicBezTo>
                      <a:pt x="497" y="7"/>
                      <a:pt x="497" y="7"/>
                      <a:pt x="498" y="6"/>
                    </a:cubicBezTo>
                    <a:cubicBezTo>
                      <a:pt x="498" y="6"/>
                      <a:pt x="499" y="5"/>
                      <a:pt x="499" y="5"/>
                    </a:cubicBezTo>
                    <a:cubicBezTo>
                      <a:pt x="500" y="4"/>
                      <a:pt x="500" y="3"/>
                      <a:pt x="501" y="2"/>
                    </a:cubicBezTo>
                    <a:cubicBezTo>
                      <a:pt x="501" y="2"/>
                      <a:pt x="502" y="1"/>
                      <a:pt x="502" y="0"/>
                    </a:cubicBezTo>
                    <a:cubicBezTo>
                      <a:pt x="502" y="0"/>
                      <a:pt x="502" y="0"/>
                      <a:pt x="501" y="0"/>
                    </a:cubicBezTo>
                    <a:cubicBezTo>
                      <a:pt x="501" y="0"/>
                      <a:pt x="501" y="0"/>
                      <a:pt x="501" y="1"/>
                    </a:cubicBezTo>
                    <a:cubicBezTo>
                      <a:pt x="501" y="1"/>
                      <a:pt x="501" y="1"/>
                      <a:pt x="501" y="1"/>
                    </a:cubicBezTo>
                    <a:cubicBezTo>
                      <a:pt x="500" y="1"/>
                      <a:pt x="500" y="2"/>
                      <a:pt x="499" y="2"/>
                    </a:cubicBezTo>
                    <a:cubicBezTo>
                      <a:pt x="498" y="3"/>
                      <a:pt x="498" y="4"/>
                      <a:pt x="497" y="4"/>
                    </a:cubicBezTo>
                    <a:cubicBezTo>
                      <a:pt x="495" y="6"/>
                      <a:pt x="492" y="9"/>
                      <a:pt x="490" y="11"/>
                    </a:cubicBezTo>
                    <a:cubicBezTo>
                      <a:pt x="484" y="16"/>
                      <a:pt x="478" y="22"/>
                      <a:pt x="471" y="28"/>
                    </a:cubicBezTo>
                    <a:cubicBezTo>
                      <a:pt x="465" y="33"/>
                      <a:pt x="459" y="38"/>
                      <a:pt x="452" y="44"/>
                    </a:cubicBezTo>
                    <a:cubicBezTo>
                      <a:pt x="450" y="45"/>
                      <a:pt x="448" y="47"/>
                      <a:pt x="446" y="49"/>
                    </a:cubicBezTo>
                    <a:cubicBezTo>
                      <a:pt x="445" y="49"/>
                      <a:pt x="445" y="49"/>
                      <a:pt x="444" y="50"/>
                    </a:cubicBezTo>
                    <a:cubicBezTo>
                      <a:pt x="444" y="50"/>
                      <a:pt x="444" y="50"/>
                      <a:pt x="444" y="50"/>
                    </a:cubicBezTo>
                    <a:cubicBezTo>
                      <a:pt x="444" y="50"/>
                      <a:pt x="443" y="50"/>
                      <a:pt x="443" y="50"/>
                    </a:cubicBezTo>
                    <a:cubicBezTo>
                      <a:pt x="443" y="50"/>
                      <a:pt x="443" y="50"/>
                      <a:pt x="443" y="50"/>
                    </a:cubicBezTo>
                    <a:cubicBezTo>
                      <a:pt x="442" y="50"/>
                      <a:pt x="442" y="50"/>
                      <a:pt x="441" y="51"/>
                    </a:cubicBezTo>
                    <a:cubicBezTo>
                      <a:pt x="441" y="51"/>
                      <a:pt x="441" y="51"/>
                      <a:pt x="441" y="51"/>
                    </a:cubicBezTo>
                    <a:cubicBezTo>
                      <a:pt x="441" y="51"/>
                      <a:pt x="441" y="51"/>
                      <a:pt x="441" y="51"/>
                    </a:cubicBezTo>
                    <a:cubicBezTo>
                      <a:pt x="441" y="51"/>
                      <a:pt x="441" y="51"/>
                      <a:pt x="441" y="51"/>
                    </a:cubicBezTo>
                    <a:cubicBezTo>
                      <a:pt x="441" y="51"/>
                      <a:pt x="441" y="51"/>
                      <a:pt x="441" y="51"/>
                    </a:cubicBezTo>
                    <a:cubicBezTo>
                      <a:pt x="441" y="50"/>
                      <a:pt x="442" y="50"/>
                      <a:pt x="442" y="50"/>
                    </a:cubicBezTo>
                    <a:cubicBezTo>
                      <a:pt x="443" y="49"/>
                      <a:pt x="445" y="48"/>
                      <a:pt x="446" y="47"/>
                    </a:cubicBezTo>
                    <a:cubicBezTo>
                      <a:pt x="455" y="40"/>
                      <a:pt x="463" y="33"/>
                      <a:pt x="470" y="26"/>
                    </a:cubicBezTo>
                    <a:cubicBezTo>
                      <a:pt x="473" y="23"/>
                      <a:pt x="476" y="20"/>
                      <a:pt x="479" y="17"/>
                    </a:cubicBezTo>
                    <a:cubicBezTo>
                      <a:pt x="479" y="16"/>
                      <a:pt x="480" y="15"/>
                      <a:pt x="480" y="15"/>
                    </a:cubicBezTo>
                    <a:cubicBezTo>
                      <a:pt x="480" y="14"/>
                      <a:pt x="480" y="14"/>
                      <a:pt x="479" y="14"/>
                    </a:cubicBezTo>
                    <a:cubicBezTo>
                      <a:pt x="479" y="14"/>
                      <a:pt x="478" y="14"/>
                      <a:pt x="478" y="15"/>
                    </a:cubicBezTo>
                    <a:cubicBezTo>
                      <a:pt x="477" y="15"/>
                      <a:pt x="476" y="16"/>
                      <a:pt x="476" y="16"/>
                    </a:cubicBezTo>
                    <a:cubicBezTo>
                      <a:pt x="473" y="18"/>
                      <a:pt x="471" y="20"/>
                      <a:pt x="469" y="22"/>
                    </a:cubicBezTo>
                    <a:cubicBezTo>
                      <a:pt x="462" y="27"/>
                      <a:pt x="456" y="32"/>
                      <a:pt x="449" y="38"/>
                    </a:cubicBezTo>
                    <a:cubicBezTo>
                      <a:pt x="442" y="43"/>
                      <a:pt x="435" y="49"/>
                      <a:pt x="428" y="54"/>
                    </a:cubicBezTo>
                    <a:cubicBezTo>
                      <a:pt x="422" y="58"/>
                      <a:pt x="417" y="62"/>
                      <a:pt x="412" y="65"/>
                    </a:cubicBezTo>
                    <a:cubicBezTo>
                      <a:pt x="390" y="79"/>
                      <a:pt x="368" y="93"/>
                      <a:pt x="345" y="104"/>
                    </a:cubicBezTo>
                    <a:cubicBezTo>
                      <a:pt x="337" y="108"/>
                      <a:pt x="330" y="111"/>
                      <a:pt x="322" y="115"/>
                    </a:cubicBezTo>
                    <a:cubicBezTo>
                      <a:pt x="315" y="119"/>
                      <a:pt x="307" y="123"/>
                      <a:pt x="299" y="126"/>
                    </a:cubicBezTo>
                    <a:cubicBezTo>
                      <a:pt x="292" y="129"/>
                      <a:pt x="284" y="132"/>
                      <a:pt x="277" y="135"/>
                    </a:cubicBezTo>
                    <a:cubicBezTo>
                      <a:pt x="273" y="136"/>
                      <a:pt x="268" y="138"/>
                      <a:pt x="264" y="140"/>
                    </a:cubicBezTo>
                    <a:cubicBezTo>
                      <a:pt x="262" y="140"/>
                      <a:pt x="261" y="141"/>
                      <a:pt x="259" y="141"/>
                    </a:cubicBezTo>
                    <a:cubicBezTo>
                      <a:pt x="259" y="141"/>
                      <a:pt x="259" y="142"/>
                      <a:pt x="258" y="142"/>
                    </a:cubicBezTo>
                    <a:cubicBezTo>
                      <a:pt x="258" y="142"/>
                      <a:pt x="258" y="142"/>
                      <a:pt x="258" y="142"/>
                    </a:cubicBezTo>
                    <a:cubicBezTo>
                      <a:pt x="258" y="142"/>
                      <a:pt x="258" y="142"/>
                      <a:pt x="258" y="142"/>
                    </a:cubicBezTo>
                    <a:cubicBezTo>
                      <a:pt x="258" y="142"/>
                      <a:pt x="258" y="142"/>
                      <a:pt x="258" y="142"/>
                    </a:cubicBezTo>
                    <a:cubicBezTo>
                      <a:pt x="258" y="142"/>
                      <a:pt x="258" y="142"/>
                      <a:pt x="258" y="142"/>
                    </a:cubicBezTo>
                    <a:cubicBezTo>
                      <a:pt x="259" y="142"/>
                      <a:pt x="260" y="142"/>
                      <a:pt x="261" y="141"/>
                    </a:cubicBezTo>
                    <a:cubicBezTo>
                      <a:pt x="265" y="140"/>
                      <a:pt x="268" y="139"/>
                      <a:pt x="271" y="138"/>
                    </a:cubicBezTo>
                    <a:cubicBezTo>
                      <a:pt x="282" y="134"/>
                      <a:pt x="292" y="130"/>
                      <a:pt x="302" y="125"/>
                    </a:cubicBezTo>
                    <a:cubicBezTo>
                      <a:pt x="313" y="121"/>
                      <a:pt x="324" y="115"/>
                      <a:pt x="335" y="110"/>
                    </a:cubicBezTo>
                    <a:cubicBezTo>
                      <a:pt x="339" y="108"/>
                      <a:pt x="343" y="106"/>
                      <a:pt x="348" y="104"/>
                    </a:cubicBezTo>
                    <a:cubicBezTo>
                      <a:pt x="349" y="104"/>
                      <a:pt x="350" y="103"/>
                      <a:pt x="352" y="102"/>
                    </a:cubicBezTo>
                    <a:cubicBezTo>
                      <a:pt x="353" y="102"/>
                      <a:pt x="354" y="102"/>
                      <a:pt x="355" y="101"/>
                    </a:cubicBezTo>
                    <a:cubicBezTo>
                      <a:pt x="355" y="101"/>
                      <a:pt x="355" y="101"/>
                      <a:pt x="355" y="101"/>
                    </a:cubicBezTo>
                    <a:cubicBezTo>
                      <a:pt x="355" y="101"/>
                      <a:pt x="355" y="101"/>
                      <a:pt x="355" y="101"/>
                    </a:cubicBezTo>
                    <a:cubicBezTo>
                      <a:pt x="355" y="101"/>
                      <a:pt x="355" y="101"/>
                      <a:pt x="355" y="101"/>
                    </a:cubicBezTo>
                    <a:cubicBezTo>
                      <a:pt x="355" y="101"/>
                      <a:pt x="354" y="101"/>
                      <a:pt x="354" y="102"/>
                    </a:cubicBezTo>
                    <a:cubicBezTo>
                      <a:pt x="354" y="102"/>
                      <a:pt x="353" y="102"/>
                      <a:pt x="352" y="103"/>
                    </a:cubicBezTo>
                    <a:cubicBezTo>
                      <a:pt x="349" y="105"/>
                      <a:pt x="345" y="107"/>
                      <a:pt x="342" y="108"/>
                    </a:cubicBezTo>
                    <a:cubicBezTo>
                      <a:pt x="331" y="114"/>
                      <a:pt x="320" y="119"/>
                      <a:pt x="309" y="124"/>
                    </a:cubicBezTo>
                    <a:cubicBezTo>
                      <a:pt x="297" y="130"/>
                      <a:pt x="285" y="135"/>
                      <a:pt x="273" y="139"/>
                    </a:cubicBezTo>
                    <a:cubicBezTo>
                      <a:pt x="269" y="141"/>
                      <a:pt x="264" y="142"/>
                      <a:pt x="260" y="144"/>
                    </a:cubicBezTo>
                    <a:cubicBezTo>
                      <a:pt x="258" y="145"/>
                      <a:pt x="256" y="146"/>
                      <a:pt x="254" y="146"/>
                    </a:cubicBezTo>
                    <a:cubicBezTo>
                      <a:pt x="253" y="147"/>
                      <a:pt x="252" y="147"/>
                      <a:pt x="251" y="147"/>
                    </a:cubicBezTo>
                    <a:cubicBezTo>
                      <a:pt x="250" y="148"/>
                      <a:pt x="250" y="148"/>
                      <a:pt x="249" y="148"/>
                    </a:cubicBezTo>
                    <a:cubicBezTo>
                      <a:pt x="248" y="148"/>
                      <a:pt x="247" y="149"/>
                      <a:pt x="245" y="149"/>
                    </a:cubicBezTo>
                    <a:cubicBezTo>
                      <a:pt x="245" y="149"/>
                      <a:pt x="244" y="149"/>
                      <a:pt x="244" y="149"/>
                    </a:cubicBezTo>
                    <a:cubicBezTo>
                      <a:pt x="243" y="149"/>
                      <a:pt x="242" y="150"/>
                      <a:pt x="241" y="150"/>
                    </a:cubicBezTo>
                    <a:cubicBezTo>
                      <a:pt x="181" y="167"/>
                      <a:pt x="122" y="178"/>
                      <a:pt x="60" y="176"/>
                    </a:cubicBezTo>
                    <a:cubicBezTo>
                      <a:pt x="50" y="176"/>
                      <a:pt x="40" y="175"/>
                      <a:pt x="30" y="174"/>
                    </a:cubicBezTo>
                    <a:cubicBezTo>
                      <a:pt x="28" y="173"/>
                      <a:pt x="25" y="173"/>
                      <a:pt x="23" y="173"/>
                    </a:cubicBezTo>
                    <a:cubicBezTo>
                      <a:pt x="21" y="172"/>
                      <a:pt x="18" y="172"/>
                      <a:pt x="16" y="172"/>
                    </a:cubicBezTo>
                    <a:cubicBezTo>
                      <a:pt x="15" y="172"/>
                      <a:pt x="14" y="172"/>
                      <a:pt x="13" y="172"/>
                    </a:cubicBezTo>
                    <a:cubicBezTo>
                      <a:pt x="12" y="172"/>
                      <a:pt x="12" y="172"/>
                      <a:pt x="13" y="173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3" y="173"/>
                      <a:pt x="14" y="173"/>
                      <a:pt x="14" y="173"/>
                    </a:cubicBezTo>
                    <a:cubicBezTo>
                      <a:pt x="15" y="173"/>
                      <a:pt x="15" y="173"/>
                      <a:pt x="16" y="174"/>
                    </a:cubicBezTo>
                    <a:cubicBezTo>
                      <a:pt x="19" y="174"/>
                      <a:pt x="22" y="175"/>
                      <a:pt x="25" y="175"/>
                    </a:cubicBezTo>
                    <a:cubicBezTo>
                      <a:pt x="33" y="177"/>
                      <a:pt x="42" y="178"/>
                      <a:pt x="50" y="179"/>
                    </a:cubicBezTo>
                    <a:lnTo>
                      <a:pt x="87" y="181"/>
                    </a:lnTo>
                    <a:cubicBezTo>
                      <a:pt x="66" y="181"/>
                      <a:pt x="46" y="179"/>
                      <a:pt x="25" y="177"/>
                    </a:cubicBezTo>
                    <a:cubicBezTo>
                      <a:pt x="19" y="176"/>
                      <a:pt x="14" y="175"/>
                      <a:pt x="8" y="174"/>
                    </a:cubicBezTo>
                    <a:cubicBezTo>
                      <a:pt x="7" y="173"/>
                      <a:pt x="6" y="173"/>
                      <a:pt x="5" y="173"/>
                    </a:cubicBezTo>
                    <a:cubicBezTo>
                      <a:pt x="5" y="173"/>
                      <a:pt x="4" y="173"/>
                      <a:pt x="3" y="173"/>
                    </a:cubicBezTo>
                    <a:cubicBezTo>
                      <a:pt x="3" y="173"/>
                      <a:pt x="2" y="173"/>
                      <a:pt x="2" y="173"/>
                    </a:cubicBezTo>
                    <a:cubicBezTo>
                      <a:pt x="1" y="173"/>
                      <a:pt x="1" y="173"/>
                      <a:pt x="0" y="173"/>
                    </a:cubicBezTo>
                    <a:cubicBezTo>
                      <a:pt x="0" y="173"/>
                      <a:pt x="0" y="174"/>
                      <a:pt x="1" y="174"/>
                    </a:cubicBezTo>
                    <a:cubicBezTo>
                      <a:pt x="1" y="174"/>
                      <a:pt x="1" y="174"/>
                      <a:pt x="2" y="174"/>
                    </a:cubicBezTo>
                    <a:cubicBezTo>
                      <a:pt x="3" y="175"/>
                      <a:pt x="4" y="175"/>
                      <a:pt x="5" y="175"/>
                    </a:cubicBezTo>
                    <a:cubicBezTo>
                      <a:pt x="9" y="176"/>
                      <a:pt x="13" y="177"/>
                      <a:pt x="16" y="178"/>
                    </a:cubicBezTo>
                    <a:cubicBezTo>
                      <a:pt x="19" y="178"/>
                      <a:pt x="22" y="179"/>
                      <a:pt x="24" y="179"/>
                    </a:cubicBezTo>
                    <a:cubicBezTo>
                      <a:pt x="24" y="179"/>
                      <a:pt x="25" y="179"/>
                      <a:pt x="25" y="179"/>
                    </a:cubicBezTo>
                    <a:cubicBezTo>
                      <a:pt x="25" y="179"/>
                      <a:pt x="25" y="179"/>
                      <a:pt x="25" y="179"/>
                    </a:cubicBezTo>
                    <a:cubicBezTo>
                      <a:pt x="25" y="179"/>
                      <a:pt x="25" y="179"/>
                      <a:pt x="25" y="179"/>
                    </a:cubicBezTo>
                    <a:cubicBezTo>
                      <a:pt x="25" y="179"/>
                      <a:pt x="25" y="179"/>
                      <a:pt x="25" y="179"/>
                    </a:cubicBezTo>
                    <a:cubicBezTo>
                      <a:pt x="25" y="179"/>
                      <a:pt x="25" y="179"/>
                      <a:pt x="25" y="179"/>
                    </a:cubicBezTo>
                    <a:cubicBezTo>
                      <a:pt x="25" y="179"/>
                      <a:pt x="24" y="179"/>
                      <a:pt x="24" y="179"/>
                    </a:cubicBezTo>
                    <a:cubicBezTo>
                      <a:pt x="23" y="179"/>
                      <a:pt x="21" y="179"/>
                      <a:pt x="20" y="179"/>
                    </a:cubicBezTo>
                    <a:cubicBezTo>
                      <a:pt x="19" y="179"/>
                      <a:pt x="18" y="179"/>
                      <a:pt x="17" y="179"/>
                    </a:cubicBezTo>
                    <a:cubicBezTo>
                      <a:pt x="17" y="179"/>
                      <a:pt x="16" y="179"/>
                      <a:pt x="16" y="179"/>
                    </a:cubicBezTo>
                    <a:cubicBezTo>
                      <a:pt x="16" y="179"/>
                      <a:pt x="16" y="179"/>
                      <a:pt x="16" y="179"/>
                    </a:cubicBezTo>
                    <a:cubicBezTo>
                      <a:pt x="16" y="179"/>
                      <a:pt x="16" y="179"/>
                      <a:pt x="16" y="179"/>
                    </a:cubicBezTo>
                    <a:cubicBezTo>
                      <a:pt x="16" y="179"/>
                      <a:pt x="17" y="179"/>
                      <a:pt x="17" y="179"/>
                    </a:cubicBezTo>
                    <a:cubicBezTo>
                      <a:pt x="20" y="180"/>
                      <a:pt x="23" y="181"/>
                      <a:pt x="26" y="181"/>
                    </a:cubicBezTo>
                    <a:cubicBezTo>
                      <a:pt x="68" y="189"/>
                      <a:pt x="109" y="188"/>
                      <a:pt x="151" y="183"/>
                    </a:cubicBezTo>
                    <a:lnTo>
                      <a:pt x="192" y="177"/>
                    </a:lnTo>
                    <a:cubicBezTo>
                      <a:pt x="160" y="184"/>
                      <a:pt x="129" y="189"/>
                      <a:pt x="96" y="189"/>
                    </a:cubicBezTo>
                    <a:cubicBezTo>
                      <a:pt x="84" y="189"/>
                      <a:pt x="73" y="188"/>
                      <a:pt x="62" y="188"/>
                    </a:cubicBezTo>
                    <a:cubicBezTo>
                      <a:pt x="55" y="187"/>
                      <a:pt x="48" y="186"/>
                      <a:pt x="42" y="186"/>
                    </a:cubicBezTo>
                    <a:cubicBezTo>
                      <a:pt x="39" y="185"/>
                      <a:pt x="37" y="185"/>
                      <a:pt x="35" y="185"/>
                    </a:cubicBezTo>
                    <a:cubicBezTo>
                      <a:pt x="34" y="185"/>
                      <a:pt x="33" y="185"/>
                      <a:pt x="33" y="185"/>
                    </a:cubicBezTo>
                    <a:cubicBezTo>
                      <a:pt x="32" y="185"/>
                      <a:pt x="32" y="185"/>
                      <a:pt x="32" y="184"/>
                    </a:cubicBezTo>
                    <a:cubicBezTo>
                      <a:pt x="32" y="184"/>
                      <a:pt x="32" y="184"/>
                      <a:pt x="32" y="184"/>
                    </a:cubicBezTo>
                    <a:cubicBezTo>
                      <a:pt x="32" y="184"/>
                      <a:pt x="32" y="184"/>
                      <a:pt x="32" y="185"/>
                    </a:cubicBezTo>
                    <a:cubicBezTo>
                      <a:pt x="32" y="185"/>
                      <a:pt x="32" y="185"/>
                      <a:pt x="32" y="185"/>
                    </a:cubicBezTo>
                    <a:cubicBezTo>
                      <a:pt x="32" y="185"/>
                      <a:pt x="32" y="185"/>
                      <a:pt x="32" y="185"/>
                    </a:cubicBezTo>
                    <a:cubicBezTo>
                      <a:pt x="32" y="185"/>
                      <a:pt x="32" y="185"/>
                      <a:pt x="32" y="185"/>
                    </a:cubicBezTo>
                    <a:cubicBezTo>
                      <a:pt x="33" y="185"/>
                      <a:pt x="34" y="185"/>
                      <a:pt x="35" y="185"/>
                    </a:cubicBezTo>
                    <a:cubicBezTo>
                      <a:pt x="38" y="186"/>
                      <a:pt x="41" y="186"/>
                      <a:pt x="44" y="187"/>
                    </a:cubicBezTo>
                    <a:cubicBezTo>
                      <a:pt x="54" y="188"/>
                      <a:pt x="64" y="189"/>
                      <a:pt x="74" y="189"/>
                    </a:cubicBezTo>
                    <a:cubicBezTo>
                      <a:pt x="91" y="190"/>
                      <a:pt x="108" y="190"/>
                      <a:pt x="125" y="188"/>
                    </a:cubicBezTo>
                    <a:cubicBezTo>
                      <a:pt x="158" y="185"/>
                      <a:pt x="191" y="180"/>
                      <a:pt x="223" y="173"/>
                    </a:cubicBezTo>
                    <a:cubicBezTo>
                      <a:pt x="231" y="171"/>
                      <a:pt x="238" y="169"/>
                      <a:pt x="246" y="167"/>
                    </a:cubicBezTo>
                    <a:cubicBezTo>
                      <a:pt x="260" y="163"/>
                      <a:pt x="274" y="158"/>
                      <a:pt x="288" y="153"/>
                    </a:cubicBezTo>
                    <a:cubicBezTo>
                      <a:pt x="307" y="146"/>
                      <a:pt x="325" y="138"/>
                      <a:pt x="344" y="130"/>
                    </a:cubicBezTo>
                    <a:cubicBezTo>
                      <a:pt x="347" y="129"/>
                      <a:pt x="350" y="128"/>
                      <a:pt x="352" y="127"/>
                    </a:cubicBezTo>
                    <a:moveTo>
                      <a:pt x="315" y="133"/>
                    </a:moveTo>
                    <a:cubicBezTo>
                      <a:pt x="366" y="111"/>
                      <a:pt x="286" y="146"/>
                      <a:pt x="269" y="152"/>
                    </a:cubicBezTo>
                    <a:cubicBezTo>
                      <a:pt x="269" y="152"/>
                      <a:pt x="268" y="153"/>
                      <a:pt x="268" y="153"/>
                    </a:cubicBezTo>
                    <a:cubicBezTo>
                      <a:pt x="267" y="153"/>
                      <a:pt x="267" y="153"/>
                      <a:pt x="267" y="153"/>
                    </a:cubicBezTo>
                    <a:cubicBezTo>
                      <a:pt x="266" y="153"/>
                      <a:pt x="266" y="153"/>
                      <a:pt x="266" y="153"/>
                    </a:cubicBezTo>
                    <a:cubicBezTo>
                      <a:pt x="265" y="153"/>
                      <a:pt x="265" y="153"/>
                      <a:pt x="265" y="153"/>
                    </a:cubicBezTo>
                    <a:cubicBezTo>
                      <a:pt x="265" y="153"/>
                      <a:pt x="265" y="153"/>
                      <a:pt x="264" y="153"/>
                    </a:cubicBezTo>
                    <a:cubicBezTo>
                      <a:pt x="264" y="153"/>
                      <a:pt x="264" y="153"/>
                      <a:pt x="263" y="153"/>
                    </a:cubicBezTo>
                    <a:lnTo>
                      <a:pt x="315" y="133"/>
                    </a:lnTo>
                    <a:moveTo>
                      <a:pt x="181" y="175"/>
                    </a:moveTo>
                    <a:cubicBezTo>
                      <a:pt x="202" y="170"/>
                      <a:pt x="223" y="165"/>
                      <a:pt x="244" y="159"/>
                    </a:cubicBezTo>
                    <a:cubicBezTo>
                      <a:pt x="246" y="158"/>
                      <a:pt x="249" y="158"/>
                      <a:pt x="252" y="157"/>
                    </a:cubicBezTo>
                    <a:cubicBezTo>
                      <a:pt x="253" y="157"/>
                      <a:pt x="254" y="156"/>
                      <a:pt x="254" y="156"/>
                    </a:cubicBezTo>
                    <a:cubicBezTo>
                      <a:pt x="255" y="156"/>
                      <a:pt x="255" y="156"/>
                      <a:pt x="255" y="156"/>
                    </a:cubicBezTo>
                    <a:cubicBezTo>
                      <a:pt x="255" y="156"/>
                      <a:pt x="255" y="156"/>
                      <a:pt x="256" y="156"/>
                    </a:cubicBezTo>
                    <a:cubicBezTo>
                      <a:pt x="256" y="156"/>
                      <a:pt x="256" y="156"/>
                      <a:pt x="256" y="156"/>
                    </a:cubicBezTo>
                    <a:cubicBezTo>
                      <a:pt x="256" y="156"/>
                      <a:pt x="256" y="156"/>
                      <a:pt x="256" y="156"/>
                    </a:cubicBezTo>
                    <a:cubicBezTo>
                      <a:pt x="256" y="156"/>
                      <a:pt x="255" y="156"/>
                      <a:pt x="255" y="156"/>
                    </a:cubicBezTo>
                    <a:cubicBezTo>
                      <a:pt x="255" y="156"/>
                      <a:pt x="254" y="157"/>
                      <a:pt x="253" y="157"/>
                    </a:cubicBezTo>
                    <a:cubicBezTo>
                      <a:pt x="250" y="158"/>
                      <a:pt x="247" y="159"/>
                      <a:pt x="244" y="160"/>
                    </a:cubicBezTo>
                    <a:cubicBezTo>
                      <a:pt x="242" y="161"/>
                      <a:pt x="240" y="161"/>
                      <a:pt x="237" y="162"/>
                    </a:cubicBezTo>
                    <a:cubicBezTo>
                      <a:pt x="235" y="163"/>
                      <a:pt x="233" y="163"/>
                      <a:pt x="231" y="164"/>
                    </a:cubicBezTo>
                    <a:cubicBezTo>
                      <a:pt x="229" y="164"/>
                      <a:pt x="227" y="165"/>
                      <a:pt x="225" y="165"/>
                    </a:cubicBezTo>
                    <a:cubicBezTo>
                      <a:pt x="223" y="166"/>
                      <a:pt x="220" y="166"/>
                      <a:pt x="218" y="167"/>
                    </a:cubicBezTo>
                    <a:cubicBezTo>
                      <a:pt x="201" y="172"/>
                      <a:pt x="181" y="176"/>
                      <a:pt x="164" y="178"/>
                    </a:cubicBezTo>
                    <a:cubicBezTo>
                      <a:pt x="160" y="178"/>
                      <a:pt x="169" y="177"/>
                      <a:pt x="173" y="176"/>
                    </a:cubicBezTo>
                    <a:cubicBezTo>
                      <a:pt x="175" y="176"/>
                      <a:pt x="176" y="176"/>
                      <a:pt x="178" y="175"/>
                    </a:cubicBezTo>
                    <a:cubicBezTo>
                      <a:pt x="179" y="175"/>
                      <a:pt x="179" y="175"/>
                      <a:pt x="180" y="175"/>
                    </a:cubicBezTo>
                    <a:cubicBezTo>
                      <a:pt x="180" y="175"/>
                      <a:pt x="180" y="175"/>
                      <a:pt x="181" y="175"/>
                    </a:cubicBezTo>
                    <a:cubicBezTo>
                      <a:pt x="181" y="175"/>
                      <a:pt x="181" y="175"/>
                      <a:pt x="181" y="175"/>
                    </a:cubicBezTo>
                    <a:moveTo>
                      <a:pt x="227" y="158"/>
                    </a:moveTo>
                    <a:cubicBezTo>
                      <a:pt x="227" y="158"/>
                      <a:pt x="227" y="158"/>
                      <a:pt x="227" y="158"/>
                    </a:cubicBezTo>
                    <a:cubicBezTo>
                      <a:pt x="227" y="158"/>
                      <a:pt x="228" y="158"/>
                      <a:pt x="228" y="158"/>
                    </a:cubicBezTo>
                    <a:cubicBezTo>
                      <a:pt x="229" y="157"/>
                      <a:pt x="230" y="157"/>
                      <a:pt x="232" y="157"/>
                    </a:cubicBezTo>
                    <a:cubicBezTo>
                      <a:pt x="235" y="156"/>
                      <a:pt x="239" y="155"/>
                      <a:pt x="242" y="154"/>
                    </a:cubicBezTo>
                    <a:cubicBezTo>
                      <a:pt x="245" y="153"/>
                      <a:pt x="247" y="152"/>
                      <a:pt x="250" y="151"/>
                    </a:cubicBezTo>
                    <a:cubicBezTo>
                      <a:pt x="255" y="149"/>
                      <a:pt x="260" y="148"/>
                      <a:pt x="265" y="146"/>
                    </a:cubicBezTo>
                    <a:cubicBezTo>
                      <a:pt x="265" y="146"/>
                      <a:pt x="266" y="146"/>
                      <a:pt x="266" y="146"/>
                    </a:cubicBezTo>
                    <a:cubicBezTo>
                      <a:pt x="266" y="146"/>
                      <a:pt x="266" y="146"/>
                      <a:pt x="266" y="146"/>
                    </a:cubicBezTo>
                    <a:cubicBezTo>
                      <a:pt x="266" y="146"/>
                      <a:pt x="266" y="146"/>
                      <a:pt x="266" y="146"/>
                    </a:cubicBezTo>
                    <a:cubicBezTo>
                      <a:pt x="266" y="146"/>
                      <a:pt x="266" y="146"/>
                      <a:pt x="266" y="146"/>
                    </a:cubicBezTo>
                    <a:cubicBezTo>
                      <a:pt x="266" y="146"/>
                      <a:pt x="265" y="146"/>
                      <a:pt x="265" y="147"/>
                    </a:cubicBezTo>
                    <a:cubicBezTo>
                      <a:pt x="262" y="148"/>
                      <a:pt x="259" y="149"/>
                      <a:pt x="256" y="150"/>
                    </a:cubicBezTo>
                    <a:cubicBezTo>
                      <a:pt x="251" y="152"/>
                      <a:pt x="247" y="154"/>
                      <a:pt x="242" y="155"/>
                    </a:cubicBezTo>
                    <a:cubicBezTo>
                      <a:pt x="239" y="156"/>
                      <a:pt x="236" y="157"/>
                      <a:pt x="233" y="158"/>
                    </a:cubicBezTo>
                    <a:cubicBezTo>
                      <a:pt x="232" y="158"/>
                      <a:pt x="231" y="158"/>
                      <a:pt x="230" y="159"/>
                    </a:cubicBezTo>
                    <a:cubicBezTo>
                      <a:pt x="229" y="159"/>
                      <a:pt x="228" y="159"/>
                      <a:pt x="227" y="159"/>
                    </a:cubicBezTo>
                    <a:cubicBezTo>
                      <a:pt x="227" y="159"/>
                      <a:pt x="227" y="159"/>
                      <a:pt x="227" y="159"/>
                    </a:cubicBezTo>
                    <a:cubicBezTo>
                      <a:pt x="227" y="159"/>
                      <a:pt x="227" y="159"/>
                      <a:pt x="227" y="158"/>
                    </a:cubicBezTo>
                    <a:cubicBezTo>
                      <a:pt x="227" y="158"/>
                      <a:pt x="227" y="158"/>
                      <a:pt x="227" y="158"/>
                    </a:cubicBezTo>
                    <a:cubicBezTo>
                      <a:pt x="227" y="158"/>
                      <a:pt x="227" y="158"/>
                      <a:pt x="227" y="158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en-US" sz="240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66" name="Freeform 40"/>
              <p:cNvSpPr>
                <a:spLocks/>
              </p:cNvSpPr>
              <p:nvPr/>
            </p:nvSpPr>
            <p:spPr bwMode="auto">
              <a:xfrm>
                <a:off x="7991475" y="5932488"/>
                <a:ext cx="795338" cy="411163"/>
              </a:xfrm>
              <a:custGeom>
                <a:avLst/>
                <a:gdLst>
                  <a:gd name="T0" fmla="*/ 2147483647 w 131"/>
                  <a:gd name="T1" fmla="*/ 2147483647 h 68"/>
                  <a:gd name="T2" fmla="*/ 2147483647 w 131"/>
                  <a:gd name="T3" fmla="*/ 2147483647 h 68"/>
                  <a:gd name="T4" fmla="*/ 2147483647 w 131"/>
                  <a:gd name="T5" fmla="*/ 2147483647 h 68"/>
                  <a:gd name="T6" fmla="*/ 2147483647 w 131"/>
                  <a:gd name="T7" fmla="*/ 0 h 68"/>
                  <a:gd name="T8" fmla="*/ 2147483647 w 131"/>
                  <a:gd name="T9" fmla="*/ 2147483647 h 68"/>
                  <a:gd name="T10" fmla="*/ 2147483647 w 131"/>
                  <a:gd name="T11" fmla="*/ 2147483647 h 68"/>
                  <a:gd name="T12" fmla="*/ 2147483647 w 131"/>
                  <a:gd name="T13" fmla="*/ 2147483647 h 68"/>
                  <a:gd name="T14" fmla="*/ 2147483647 w 131"/>
                  <a:gd name="T15" fmla="*/ 2147483647 h 68"/>
                  <a:gd name="T16" fmla="*/ 0 w 131"/>
                  <a:gd name="T17" fmla="*/ 2147483647 h 68"/>
                  <a:gd name="T18" fmla="*/ 0 w 131"/>
                  <a:gd name="T19" fmla="*/ 2147483647 h 68"/>
                  <a:gd name="T20" fmla="*/ 0 w 131"/>
                  <a:gd name="T21" fmla="*/ 2147483647 h 68"/>
                  <a:gd name="T22" fmla="*/ 2147483647 w 131"/>
                  <a:gd name="T23" fmla="*/ 2147483647 h 68"/>
                  <a:gd name="T24" fmla="*/ 2147483647 w 131"/>
                  <a:gd name="T25" fmla="*/ 2147483647 h 6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31"/>
                  <a:gd name="T40" fmla="*/ 0 h 68"/>
                  <a:gd name="T41" fmla="*/ 131 w 131"/>
                  <a:gd name="T42" fmla="*/ 68 h 6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31" h="68">
                    <a:moveTo>
                      <a:pt x="7" y="64"/>
                    </a:moveTo>
                    <a:cubicBezTo>
                      <a:pt x="17" y="60"/>
                      <a:pt x="27" y="56"/>
                      <a:pt x="38" y="51"/>
                    </a:cubicBezTo>
                    <a:cubicBezTo>
                      <a:pt x="53" y="44"/>
                      <a:pt x="68" y="36"/>
                      <a:pt x="83" y="28"/>
                    </a:cubicBezTo>
                    <a:lnTo>
                      <a:pt x="131" y="0"/>
                    </a:lnTo>
                    <a:cubicBezTo>
                      <a:pt x="107" y="15"/>
                      <a:pt x="82" y="30"/>
                      <a:pt x="57" y="43"/>
                    </a:cubicBezTo>
                    <a:cubicBezTo>
                      <a:pt x="40" y="52"/>
                      <a:pt x="23" y="59"/>
                      <a:pt x="6" y="66"/>
                    </a:cubicBezTo>
                    <a:cubicBezTo>
                      <a:pt x="5" y="66"/>
                      <a:pt x="3" y="67"/>
                      <a:pt x="2" y="67"/>
                    </a:cubicBezTo>
                    <a:cubicBezTo>
                      <a:pt x="2" y="67"/>
                      <a:pt x="1" y="67"/>
                      <a:pt x="1" y="68"/>
                    </a:cubicBezTo>
                    <a:cubicBezTo>
                      <a:pt x="1" y="68"/>
                      <a:pt x="0" y="68"/>
                      <a:pt x="0" y="6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67"/>
                      <a:pt x="1" y="67"/>
                      <a:pt x="1" y="67"/>
                    </a:cubicBezTo>
                    <a:cubicBezTo>
                      <a:pt x="3" y="66"/>
                      <a:pt x="5" y="65"/>
                      <a:pt x="7" y="64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en-US" sz="240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67" name="Freeform 41"/>
              <p:cNvSpPr>
                <a:spLocks/>
              </p:cNvSpPr>
              <p:nvPr/>
            </p:nvSpPr>
            <p:spPr bwMode="auto">
              <a:xfrm>
                <a:off x="6748463" y="6496051"/>
                <a:ext cx="752475" cy="84138"/>
              </a:xfrm>
              <a:custGeom>
                <a:avLst/>
                <a:gdLst>
                  <a:gd name="T0" fmla="*/ 2147483647 w 124"/>
                  <a:gd name="T1" fmla="*/ 0 h 14"/>
                  <a:gd name="T2" fmla="*/ 2147483647 w 124"/>
                  <a:gd name="T3" fmla="*/ 2147483647 h 14"/>
                  <a:gd name="T4" fmla="*/ 2147483647 w 124"/>
                  <a:gd name="T5" fmla="*/ 2147483647 h 14"/>
                  <a:gd name="T6" fmla="*/ 2147483647 w 124"/>
                  <a:gd name="T7" fmla="*/ 2147483647 h 14"/>
                  <a:gd name="T8" fmla="*/ 2147483647 w 124"/>
                  <a:gd name="T9" fmla="*/ 2147483647 h 14"/>
                  <a:gd name="T10" fmla="*/ 0 w 124"/>
                  <a:gd name="T11" fmla="*/ 2147483647 h 14"/>
                  <a:gd name="T12" fmla="*/ 0 w 124"/>
                  <a:gd name="T13" fmla="*/ 2147483647 h 14"/>
                  <a:gd name="T14" fmla="*/ 0 w 124"/>
                  <a:gd name="T15" fmla="*/ 2147483647 h 14"/>
                  <a:gd name="T16" fmla="*/ 2147483647 w 124"/>
                  <a:gd name="T17" fmla="*/ 2147483647 h 14"/>
                  <a:gd name="T18" fmla="*/ 2147483647 w 124"/>
                  <a:gd name="T19" fmla="*/ 2147483647 h 14"/>
                  <a:gd name="T20" fmla="*/ 2147483647 w 124"/>
                  <a:gd name="T21" fmla="*/ 2147483647 h 14"/>
                  <a:gd name="T22" fmla="*/ 2147483647 w 124"/>
                  <a:gd name="T23" fmla="*/ 2147483647 h 14"/>
                  <a:gd name="T24" fmla="*/ 2147483647 w 124"/>
                  <a:gd name="T25" fmla="*/ 0 h 14"/>
                  <a:gd name="T26" fmla="*/ 2147483647 w 124"/>
                  <a:gd name="T27" fmla="*/ 0 h 1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24"/>
                  <a:gd name="T43" fmla="*/ 0 h 14"/>
                  <a:gd name="T44" fmla="*/ 124 w 124"/>
                  <a:gd name="T45" fmla="*/ 14 h 1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24" h="14">
                    <a:moveTo>
                      <a:pt x="116" y="0"/>
                    </a:moveTo>
                    <a:cubicBezTo>
                      <a:pt x="99" y="5"/>
                      <a:pt x="82" y="7"/>
                      <a:pt x="65" y="9"/>
                    </a:cubicBezTo>
                    <a:cubicBezTo>
                      <a:pt x="48" y="11"/>
                      <a:pt x="30" y="12"/>
                      <a:pt x="13" y="13"/>
                    </a:cubicBezTo>
                    <a:cubicBezTo>
                      <a:pt x="10" y="13"/>
                      <a:pt x="8" y="13"/>
                      <a:pt x="6" y="13"/>
                    </a:cubicBezTo>
                    <a:cubicBezTo>
                      <a:pt x="4" y="13"/>
                      <a:pt x="3" y="13"/>
                      <a:pt x="1" y="13"/>
                    </a:cubicBezTo>
                    <a:cubicBezTo>
                      <a:pt x="1" y="13"/>
                      <a:pt x="0" y="13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" y="14"/>
                      <a:pt x="1" y="14"/>
                      <a:pt x="2" y="14"/>
                    </a:cubicBezTo>
                    <a:cubicBezTo>
                      <a:pt x="3" y="14"/>
                      <a:pt x="4" y="14"/>
                      <a:pt x="5" y="14"/>
                    </a:cubicBezTo>
                    <a:cubicBezTo>
                      <a:pt x="16" y="14"/>
                      <a:pt x="28" y="14"/>
                      <a:pt x="39" y="13"/>
                    </a:cubicBezTo>
                    <a:cubicBezTo>
                      <a:pt x="56" y="12"/>
                      <a:pt x="72" y="10"/>
                      <a:pt x="89" y="7"/>
                    </a:cubicBezTo>
                    <a:cubicBezTo>
                      <a:pt x="101" y="5"/>
                      <a:pt x="112" y="3"/>
                      <a:pt x="124" y="0"/>
                    </a:cubicBezTo>
                    <a:cubicBezTo>
                      <a:pt x="121" y="0"/>
                      <a:pt x="118" y="0"/>
                      <a:pt x="116" y="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en-US" sz="240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</p:grpSp>
        <p:grpSp>
          <p:nvGrpSpPr>
            <p:cNvPr id="11" name="Group 193"/>
            <p:cNvGrpSpPr>
              <a:grpSpLocks/>
            </p:cNvGrpSpPr>
            <p:nvPr/>
          </p:nvGrpSpPr>
          <p:grpSpPr bwMode="auto">
            <a:xfrm rot="3290149" flipH="1" flipV="1">
              <a:off x="8262323" y="3067979"/>
              <a:ext cx="1439148" cy="1635953"/>
              <a:chOff x="3679650" y="3891722"/>
              <a:chExt cx="371635" cy="407885"/>
            </a:xfrm>
            <a:grpFill/>
          </p:grpSpPr>
          <p:sp>
            <p:nvSpPr>
              <p:cNvPr id="12" name="Freeform 18"/>
              <p:cNvSpPr>
                <a:spLocks noEditPoints="1"/>
              </p:cNvSpPr>
              <p:nvPr/>
            </p:nvSpPr>
            <p:spPr bwMode="auto">
              <a:xfrm rot="17639318" flipH="1">
                <a:off x="3780665" y="3880256"/>
                <a:ext cx="9139" cy="8009"/>
              </a:xfrm>
              <a:custGeom>
                <a:avLst/>
                <a:gdLst/>
                <a:ahLst/>
                <a:cxnLst>
                  <a:cxn ang="0">
                    <a:pos x="63" y="32"/>
                  </a:cxn>
                  <a:cxn ang="0">
                    <a:pos x="66" y="34"/>
                  </a:cxn>
                  <a:cxn ang="0">
                    <a:pos x="0" y="0"/>
                  </a:cxn>
                  <a:cxn ang="0">
                    <a:pos x="63" y="3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66" h="34">
                    <a:moveTo>
                      <a:pt x="63" y="32"/>
                    </a:moveTo>
                    <a:cubicBezTo>
                      <a:pt x="64" y="33"/>
                      <a:pt x="66" y="34"/>
                      <a:pt x="66" y="34"/>
                    </a:cubicBezTo>
                    <a:lnTo>
                      <a:pt x="0" y="0"/>
                    </a:lnTo>
                    <a:cubicBezTo>
                      <a:pt x="21" y="11"/>
                      <a:pt x="63" y="32"/>
                      <a:pt x="63" y="32"/>
                    </a:cubicBez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3" name="Freeform 54"/>
              <p:cNvSpPr>
                <a:spLocks/>
              </p:cNvSpPr>
              <p:nvPr/>
            </p:nvSpPr>
            <p:spPr bwMode="auto">
              <a:xfrm rot="17639318" flipH="1">
                <a:off x="3833762" y="4139793"/>
                <a:ext cx="43584" cy="85914"/>
              </a:xfrm>
              <a:custGeom>
                <a:avLst/>
                <a:gdLst/>
                <a:ahLst/>
                <a:cxnLst>
                  <a:cxn ang="0">
                    <a:pos x="299" y="369"/>
                  </a:cxn>
                  <a:cxn ang="0">
                    <a:pos x="0" y="0"/>
                  </a:cxn>
                  <a:cxn ang="0">
                    <a:pos x="299" y="369"/>
                  </a:cxn>
                </a:cxnLst>
                <a:rect l="0" t="0" r="r" b="b"/>
                <a:pathLst>
                  <a:path w="299" h="393">
                    <a:moveTo>
                      <a:pt x="299" y="369"/>
                    </a:moveTo>
                    <a:cubicBezTo>
                      <a:pt x="217" y="247"/>
                      <a:pt x="127" y="84"/>
                      <a:pt x="0" y="0"/>
                    </a:cubicBezTo>
                    <a:cubicBezTo>
                      <a:pt x="24" y="99"/>
                      <a:pt x="184" y="393"/>
                      <a:pt x="299" y="36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4" name="Freeform 56"/>
              <p:cNvSpPr>
                <a:spLocks/>
              </p:cNvSpPr>
              <p:nvPr/>
            </p:nvSpPr>
            <p:spPr bwMode="auto">
              <a:xfrm rot="17639318" flipH="1">
                <a:off x="4023297" y="4058729"/>
                <a:ext cx="16168" cy="6552"/>
              </a:xfrm>
              <a:custGeom>
                <a:avLst/>
                <a:gdLst/>
                <a:ahLst/>
                <a:cxnLst>
                  <a:cxn ang="0">
                    <a:pos x="109" y="0"/>
                  </a:cxn>
                  <a:cxn ang="0">
                    <a:pos x="0" y="27"/>
                  </a:cxn>
                  <a:cxn ang="0">
                    <a:pos x="110" y="21"/>
                  </a:cxn>
                  <a:cxn ang="0">
                    <a:pos x="109" y="0"/>
                  </a:cxn>
                </a:cxnLst>
                <a:rect l="0" t="0" r="r" b="b"/>
                <a:pathLst>
                  <a:path w="110" h="27">
                    <a:moveTo>
                      <a:pt x="109" y="0"/>
                    </a:moveTo>
                    <a:cubicBezTo>
                      <a:pt x="72" y="9"/>
                      <a:pt x="0" y="27"/>
                      <a:pt x="0" y="27"/>
                    </a:cubicBezTo>
                    <a:cubicBezTo>
                      <a:pt x="37" y="25"/>
                      <a:pt x="110" y="21"/>
                      <a:pt x="110" y="21"/>
                    </a:cubicBezTo>
                    <a:cubicBezTo>
                      <a:pt x="106" y="14"/>
                      <a:pt x="106" y="8"/>
                      <a:pt x="10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5" name="Freeform 57"/>
              <p:cNvSpPr>
                <a:spLocks noEditPoints="1"/>
              </p:cNvSpPr>
              <p:nvPr/>
            </p:nvSpPr>
            <p:spPr bwMode="auto">
              <a:xfrm rot="17639318" flipH="1">
                <a:off x="3918235" y="4254066"/>
                <a:ext cx="703" cy="728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4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4" y="1"/>
                    </a:lnTo>
                    <a:cubicBezTo>
                      <a:pt x="3" y="1"/>
                      <a:pt x="2" y="0"/>
                      <a:pt x="2" y="0"/>
                    </a:cubicBezTo>
                    <a:lnTo>
                      <a:pt x="1" y="0"/>
                    </a:lnTo>
                    <a:lnTo>
                      <a:pt x="2" y="0"/>
                    </a:lnTo>
                    <a:cubicBezTo>
                      <a:pt x="2" y="0"/>
                      <a:pt x="3" y="1"/>
                      <a:pt x="4" y="1"/>
                    </a:cubicBezTo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6" name="Freeform 58"/>
              <p:cNvSpPr>
                <a:spLocks/>
              </p:cNvSpPr>
              <p:nvPr/>
            </p:nvSpPr>
            <p:spPr bwMode="auto">
              <a:xfrm rot="17639318" flipH="1">
                <a:off x="3944457" y="4252561"/>
                <a:ext cx="1406" cy="29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4"/>
                  </a:cxn>
                  <a:cxn ang="0">
                    <a:pos x="0" y="0"/>
                  </a:cxn>
                </a:cxnLst>
                <a:rect l="0" t="0" r="r" b="b"/>
                <a:pathLst>
                  <a:path w="15" h="14">
                    <a:moveTo>
                      <a:pt x="0" y="0"/>
                    </a:moveTo>
                    <a:cubicBezTo>
                      <a:pt x="5" y="4"/>
                      <a:pt x="15" y="14"/>
                      <a:pt x="15" y="14"/>
                    </a:cubicBezTo>
                    <a:cubicBezTo>
                      <a:pt x="9" y="6"/>
                      <a:pt x="9" y="5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7" name="Freeform 59"/>
              <p:cNvSpPr>
                <a:spLocks noEditPoints="1"/>
              </p:cNvSpPr>
              <p:nvPr/>
            </p:nvSpPr>
            <p:spPr bwMode="auto">
              <a:xfrm rot="17639318" flipH="1">
                <a:off x="3914434" y="4248537"/>
                <a:ext cx="703" cy="1456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0" y="3"/>
                  </a:cxn>
                  <a:cxn ang="0">
                    <a:pos x="5" y="0"/>
                  </a:cxn>
                  <a:cxn ang="0">
                    <a:pos x="4" y="1"/>
                  </a:cxn>
                  <a:cxn ang="0">
                    <a:pos x="0" y="3"/>
                  </a:cxn>
                  <a:cxn ang="0">
                    <a:pos x="0" y="3"/>
                  </a:cxn>
                </a:cxnLst>
                <a:rect l="0" t="0" r="r" b="b"/>
                <a:pathLst>
                  <a:path w="5" h="3">
                    <a:moveTo>
                      <a:pt x="4" y="1"/>
                    </a:moveTo>
                    <a:lnTo>
                      <a:pt x="0" y="3"/>
                    </a:lnTo>
                    <a:cubicBezTo>
                      <a:pt x="2" y="2"/>
                      <a:pt x="5" y="0"/>
                      <a:pt x="5" y="0"/>
                    </a:cubicBezTo>
                    <a:cubicBezTo>
                      <a:pt x="5" y="0"/>
                      <a:pt x="4" y="1"/>
                      <a:pt x="4" y="1"/>
                    </a:cubicBezTo>
                    <a:close/>
                    <a:moveTo>
                      <a:pt x="0" y="3"/>
                    </a:moveTo>
                    <a:lnTo>
                      <a:pt x="0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8" name="Freeform 60"/>
              <p:cNvSpPr>
                <a:spLocks/>
              </p:cNvSpPr>
              <p:nvPr/>
            </p:nvSpPr>
            <p:spPr bwMode="auto">
              <a:xfrm rot="17639318" flipH="1">
                <a:off x="3923988" y="4180034"/>
                <a:ext cx="1406" cy="145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9" name="Freeform 61"/>
              <p:cNvSpPr>
                <a:spLocks noEditPoints="1"/>
              </p:cNvSpPr>
              <p:nvPr/>
            </p:nvSpPr>
            <p:spPr bwMode="auto">
              <a:xfrm rot="17639318" flipH="1">
                <a:off x="3964984" y="4239066"/>
                <a:ext cx="703" cy="145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lnTo>
                      <a:pt x="0" y="2"/>
                    </a:lnTo>
                    <a:cubicBezTo>
                      <a:pt x="0" y="1"/>
                      <a:pt x="1" y="0"/>
                      <a:pt x="1" y="0"/>
                    </a:cubicBezTo>
                    <a:close/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20" name="Freeform 62"/>
              <p:cNvSpPr>
                <a:spLocks noEditPoints="1"/>
              </p:cNvSpPr>
              <p:nvPr/>
            </p:nvSpPr>
            <p:spPr bwMode="auto">
              <a:xfrm rot="17639318" flipH="1">
                <a:off x="3915930" y="4277740"/>
                <a:ext cx="1406" cy="145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1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0"/>
                      <a:pt x="1" y="0"/>
                      <a:pt x="0" y="1"/>
                    </a:cubicBezTo>
                    <a:lnTo>
                      <a:pt x="1" y="0"/>
                    </a:lnTo>
                    <a:close/>
                    <a:moveTo>
                      <a:pt x="0" y="1"/>
                    </a:moveTo>
                    <a:lnTo>
                      <a:pt x="0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21" name="Freeform 63"/>
              <p:cNvSpPr>
                <a:spLocks/>
              </p:cNvSpPr>
              <p:nvPr/>
            </p:nvSpPr>
            <p:spPr bwMode="auto">
              <a:xfrm rot="17639318" flipH="1">
                <a:off x="3917220" y="4252780"/>
                <a:ext cx="703" cy="3640"/>
              </a:xfrm>
              <a:custGeom>
                <a:avLst/>
                <a:gdLst/>
                <a:ahLst/>
                <a:cxnLst>
                  <a:cxn ang="0">
                    <a:pos x="4" y="12"/>
                  </a:cxn>
                  <a:cxn ang="0">
                    <a:pos x="5" y="12"/>
                  </a:cxn>
                  <a:cxn ang="0">
                    <a:pos x="0" y="0"/>
                  </a:cxn>
                  <a:cxn ang="0">
                    <a:pos x="4" y="12"/>
                  </a:cxn>
                </a:cxnLst>
                <a:rect l="0" t="0" r="r" b="b"/>
                <a:pathLst>
                  <a:path w="5" h="12">
                    <a:moveTo>
                      <a:pt x="4" y="12"/>
                    </a:moveTo>
                    <a:cubicBezTo>
                      <a:pt x="4" y="12"/>
                      <a:pt x="5" y="12"/>
                      <a:pt x="5" y="12"/>
                    </a:cubicBezTo>
                    <a:cubicBezTo>
                      <a:pt x="3" y="8"/>
                      <a:pt x="2" y="5"/>
                      <a:pt x="0" y="0"/>
                    </a:cubicBezTo>
                    <a:cubicBezTo>
                      <a:pt x="0" y="2"/>
                      <a:pt x="3" y="12"/>
                      <a:pt x="4" y="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22" name="Freeform 64"/>
              <p:cNvSpPr>
                <a:spLocks/>
              </p:cNvSpPr>
              <p:nvPr/>
            </p:nvSpPr>
            <p:spPr bwMode="auto">
              <a:xfrm rot="17639318" flipH="1">
                <a:off x="3880990" y="4266587"/>
                <a:ext cx="5624" cy="145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32" y="6"/>
                  </a:cxn>
                  <a:cxn ang="0">
                    <a:pos x="37" y="5"/>
                  </a:cxn>
                  <a:cxn ang="0">
                    <a:pos x="3" y="0"/>
                  </a:cxn>
                  <a:cxn ang="0">
                    <a:pos x="0" y="1"/>
                  </a:cxn>
                </a:cxnLst>
                <a:rect l="0" t="0" r="r" b="b"/>
                <a:pathLst>
                  <a:path w="37" h="6">
                    <a:moveTo>
                      <a:pt x="0" y="1"/>
                    </a:moveTo>
                    <a:cubicBezTo>
                      <a:pt x="11" y="3"/>
                      <a:pt x="32" y="6"/>
                      <a:pt x="32" y="6"/>
                    </a:cubicBezTo>
                    <a:cubicBezTo>
                      <a:pt x="34" y="6"/>
                      <a:pt x="37" y="5"/>
                      <a:pt x="37" y="5"/>
                    </a:cubicBezTo>
                    <a:cubicBezTo>
                      <a:pt x="26" y="3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23" name="Freeform 65"/>
              <p:cNvSpPr>
                <a:spLocks/>
              </p:cNvSpPr>
              <p:nvPr/>
            </p:nvSpPr>
            <p:spPr bwMode="auto">
              <a:xfrm rot="17639318" flipH="1">
                <a:off x="3975503" y="4039048"/>
                <a:ext cx="26713" cy="61159"/>
              </a:xfrm>
              <a:custGeom>
                <a:avLst/>
                <a:gdLst/>
                <a:ahLst/>
                <a:cxnLst>
                  <a:cxn ang="0">
                    <a:pos x="37" y="248"/>
                  </a:cxn>
                  <a:cxn ang="0">
                    <a:pos x="37" y="257"/>
                  </a:cxn>
                  <a:cxn ang="0">
                    <a:pos x="56" y="240"/>
                  </a:cxn>
                  <a:cxn ang="0">
                    <a:pos x="41" y="244"/>
                  </a:cxn>
                  <a:cxn ang="0">
                    <a:pos x="136" y="162"/>
                  </a:cxn>
                  <a:cxn ang="0">
                    <a:pos x="184" y="119"/>
                  </a:cxn>
                  <a:cxn ang="0">
                    <a:pos x="37" y="246"/>
                  </a:cxn>
                  <a:cxn ang="0">
                    <a:pos x="37" y="248"/>
                  </a:cxn>
                </a:cxnLst>
                <a:rect l="0" t="0" r="r" b="b"/>
                <a:pathLst>
                  <a:path w="184" h="284">
                    <a:moveTo>
                      <a:pt x="37" y="248"/>
                    </a:moveTo>
                    <a:cubicBezTo>
                      <a:pt x="37" y="251"/>
                      <a:pt x="37" y="257"/>
                      <a:pt x="37" y="257"/>
                    </a:cubicBezTo>
                    <a:cubicBezTo>
                      <a:pt x="43" y="253"/>
                      <a:pt x="56" y="240"/>
                      <a:pt x="56" y="240"/>
                    </a:cubicBezTo>
                    <a:cubicBezTo>
                      <a:pt x="51" y="241"/>
                      <a:pt x="41" y="244"/>
                      <a:pt x="41" y="244"/>
                    </a:cubicBezTo>
                    <a:cubicBezTo>
                      <a:pt x="72" y="216"/>
                      <a:pt x="136" y="162"/>
                      <a:pt x="136" y="162"/>
                    </a:cubicBezTo>
                    <a:cubicBezTo>
                      <a:pt x="152" y="147"/>
                      <a:pt x="184" y="119"/>
                      <a:pt x="184" y="119"/>
                    </a:cubicBezTo>
                    <a:cubicBezTo>
                      <a:pt x="33" y="0"/>
                      <a:pt x="36" y="28"/>
                      <a:pt x="37" y="246"/>
                    </a:cubicBezTo>
                    <a:cubicBezTo>
                      <a:pt x="0" y="284"/>
                      <a:pt x="30" y="254"/>
                      <a:pt x="37" y="24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24" name="Freeform 66"/>
              <p:cNvSpPr>
                <a:spLocks noEditPoints="1"/>
              </p:cNvSpPr>
              <p:nvPr/>
            </p:nvSpPr>
            <p:spPr bwMode="auto">
              <a:xfrm rot="17639318" flipH="1">
                <a:off x="3923988" y="4180034"/>
                <a:ext cx="1406" cy="145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lnTo>
                      <a:pt x="1" y="0"/>
                    </a:lnTo>
                    <a:close/>
                    <a:moveTo>
                      <a:pt x="1" y="0"/>
                    </a:moveTo>
                    <a:lnTo>
                      <a:pt x="0" y="0"/>
                    </a:ln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25" name="Freeform 67"/>
              <p:cNvSpPr>
                <a:spLocks/>
              </p:cNvSpPr>
              <p:nvPr/>
            </p:nvSpPr>
            <p:spPr bwMode="auto">
              <a:xfrm rot="17639318" flipH="1">
                <a:off x="3786490" y="4054991"/>
                <a:ext cx="28119" cy="70624"/>
              </a:xfrm>
              <a:custGeom>
                <a:avLst/>
                <a:gdLst/>
                <a:ahLst/>
                <a:cxnLst>
                  <a:cxn ang="0">
                    <a:pos x="192" y="324"/>
                  </a:cxn>
                  <a:cxn ang="0">
                    <a:pos x="9" y="13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9" y="13"/>
                  </a:cxn>
                  <a:cxn ang="0">
                    <a:pos x="195" y="330"/>
                  </a:cxn>
                  <a:cxn ang="0">
                    <a:pos x="192" y="324"/>
                  </a:cxn>
                </a:cxnLst>
                <a:rect l="0" t="0" r="r" b="b"/>
                <a:pathLst>
                  <a:path w="195" h="330">
                    <a:moveTo>
                      <a:pt x="192" y="324"/>
                    </a:moveTo>
                    <a:cubicBezTo>
                      <a:pt x="135" y="215"/>
                      <a:pt x="78" y="115"/>
                      <a:pt x="9" y="13"/>
                    </a:cubicBezTo>
                    <a:cubicBezTo>
                      <a:pt x="9" y="13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9" y="13"/>
                      <a:pt x="9" y="13"/>
                    </a:cubicBezTo>
                    <a:cubicBezTo>
                      <a:pt x="79" y="117"/>
                      <a:pt x="137" y="219"/>
                      <a:pt x="195" y="330"/>
                    </a:cubicBezTo>
                    <a:cubicBezTo>
                      <a:pt x="194" y="328"/>
                      <a:pt x="192" y="324"/>
                      <a:pt x="192" y="32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26" name="Freeform 68"/>
              <p:cNvSpPr>
                <a:spLocks/>
              </p:cNvSpPr>
              <p:nvPr/>
            </p:nvSpPr>
            <p:spPr bwMode="auto">
              <a:xfrm rot="17639318" flipH="1">
                <a:off x="3903814" y="4230135"/>
                <a:ext cx="703" cy="1456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2"/>
                  </a:cxn>
                  <a:cxn ang="0">
                    <a:pos x="6" y="1"/>
                  </a:cxn>
                  <a:cxn ang="0">
                    <a:pos x="3" y="0"/>
                  </a:cxn>
                </a:cxnLst>
                <a:rect l="0" t="0" r="r" b="b"/>
                <a:pathLst>
                  <a:path w="6" h="2">
                    <a:moveTo>
                      <a:pt x="3" y="0"/>
                    </a:moveTo>
                    <a:cubicBezTo>
                      <a:pt x="2" y="1"/>
                      <a:pt x="0" y="2"/>
                      <a:pt x="0" y="2"/>
                    </a:cubicBezTo>
                    <a:cubicBezTo>
                      <a:pt x="2" y="2"/>
                      <a:pt x="6" y="1"/>
                      <a:pt x="6" y="1"/>
                    </a:cubicBezTo>
                    <a:cubicBezTo>
                      <a:pt x="5" y="1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27" name="Freeform 69"/>
              <p:cNvSpPr>
                <a:spLocks/>
              </p:cNvSpPr>
              <p:nvPr/>
            </p:nvSpPr>
            <p:spPr bwMode="auto">
              <a:xfrm rot="17639318" flipH="1">
                <a:off x="3783077" y="4061162"/>
                <a:ext cx="703" cy="1456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0" y="0"/>
                  </a:cxn>
                  <a:cxn ang="0">
                    <a:pos x="6" y="9"/>
                  </a:cxn>
                  <a:cxn ang="0">
                    <a:pos x="1" y="1"/>
                  </a:cxn>
                </a:cxnLst>
                <a:rect l="0" t="0" r="r" b="b"/>
                <a:pathLst>
                  <a:path w="6" h="9">
                    <a:moveTo>
                      <a:pt x="1" y="1"/>
                    </a:moveTo>
                    <a:cubicBezTo>
                      <a:pt x="1" y="1"/>
                      <a:pt x="0" y="0"/>
                      <a:pt x="0" y="0"/>
                    </a:cubicBezTo>
                    <a:cubicBezTo>
                      <a:pt x="3" y="3"/>
                      <a:pt x="4" y="7"/>
                      <a:pt x="6" y="9"/>
                    </a:cubicBezTo>
                    <a:cubicBezTo>
                      <a:pt x="5" y="6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28" name="Freeform 70"/>
              <p:cNvSpPr>
                <a:spLocks noEditPoints="1"/>
              </p:cNvSpPr>
              <p:nvPr/>
            </p:nvSpPr>
            <p:spPr bwMode="auto">
              <a:xfrm rot="17639318" flipH="1">
                <a:off x="3943621" y="4146285"/>
                <a:ext cx="703" cy="1456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  <a:moveTo>
                      <a:pt x="0" y="1"/>
                    </a:moveTo>
                    <a:lnTo>
                      <a:pt x="0" y="1"/>
                    </a:ln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29" name="Freeform 71"/>
              <p:cNvSpPr>
                <a:spLocks noEditPoints="1"/>
              </p:cNvSpPr>
              <p:nvPr/>
            </p:nvSpPr>
            <p:spPr bwMode="auto">
              <a:xfrm rot="17639318" flipH="1">
                <a:off x="3943621" y="4146285"/>
                <a:ext cx="703" cy="1456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3">
                    <a:moveTo>
                      <a:pt x="1" y="3"/>
                    </a:moveTo>
                    <a:lnTo>
                      <a:pt x="4" y="0"/>
                    </a:lnTo>
                    <a:lnTo>
                      <a:pt x="0" y="3"/>
                    </a:lnTo>
                    <a:cubicBezTo>
                      <a:pt x="0" y="3"/>
                      <a:pt x="1" y="3"/>
                      <a:pt x="1" y="3"/>
                    </a:cubicBezTo>
                    <a:close/>
                    <a:moveTo>
                      <a:pt x="4" y="0"/>
                    </a:move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30" name="Freeform 72"/>
              <p:cNvSpPr>
                <a:spLocks/>
              </p:cNvSpPr>
              <p:nvPr/>
            </p:nvSpPr>
            <p:spPr bwMode="auto">
              <a:xfrm rot="17639318" flipH="1">
                <a:off x="3951750" y="4270170"/>
                <a:ext cx="2812" cy="4368"/>
              </a:xfrm>
              <a:custGeom>
                <a:avLst/>
                <a:gdLst/>
                <a:ahLst/>
                <a:cxnLst>
                  <a:cxn ang="0">
                    <a:pos x="19" y="19"/>
                  </a:cxn>
                  <a:cxn ang="0">
                    <a:pos x="0" y="0"/>
                  </a:cxn>
                  <a:cxn ang="0">
                    <a:pos x="19" y="19"/>
                  </a:cxn>
                </a:cxnLst>
                <a:rect l="0" t="0" r="r" b="b"/>
                <a:pathLst>
                  <a:path w="19" h="19">
                    <a:moveTo>
                      <a:pt x="19" y="19"/>
                    </a:moveTo>
                    <a:cubicBezTo>
                      <a:pt x="14" y="14"/>
                      <a:pt x="6" y="4"/>
                      <a:pt x="0" y="0"/>
                    </a:cubicBezTo>
                    <a:cubicBezTo>
                      <a:pt x="6" y="6"/>
                      <a:pt x="19" y="19"/>
                      <a:pt x="19" y="1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31" name="Freeform 73"/>
              <p:cNvSpPr>
                <a:spLocks noEditPoints="1"/>
              </p:cNvSpPr>
              <p:nvPr/>
            </p:nvSpPr>
            <p:spPr bwMode="auto">
              <a:xfrm rot="17639318" flipH="1">
                <a:off x="3873635" y="4192508"/>
                <a:ext cx="64673" cy="85186"/>
              </a:xfrm>
              <a:custGeom>
                <a:avLst/>
                <a:gdLst/>
                <a:ahLst/>
                <a:cxnLst>
                  <a:cxn ang="0">
                    <a:pos x="221" y="368"/>
                  </a:cxn>
                  <a:cxn ang="0">
                    <a:pos x="216" y="364"/>
                  </a:cxn>
                  <a:cxn ang="0">
                    <a:pos x="236" y="385"/>
                  </a:cxn>
                  <a:cxn ang="0">
                    <a:pos x="230" y="378"/>
                  </a:cxn>
                  <a:cxn ang="0">
                    <a:pos x="221" y="368"/>
                  </a:cxn>
                  <a:cxn ang="0">
                    <a:pos x="230" y="378"/>
                  </a:cxn>
                  <a:cxn ang="0">
                    <a:pos x="179" y="260"/>
                  </a:cxn>
                  <a:cxn ang="0">
                    <a:pos x="203" y="124"/>
                  </a:cxn>
                  <a:cxn ang="0">
                    <a:pos x="299" y="27"/>
                  </a:cxn>
                  <a:cxn ang="0">
                    <a:pos x="377" y="2"/>
                  </a:cxn>
                  <a:cxn ang="0">
                    <a:pos x="385" y="2"/>
                  </a:cxn>
                  <a:cxn ang="0">
                    <a:pos x="299" y="28"/>
                  </a:cxn>
                  <a:cxn ang="0">
                    <a:pos x="204" y="125"/>
                  </a:cxn>
                  <a:cxn ang="0">
                    <a:pos x="180" y="260"/>
                  </a:cxn>
                  <a:cxn ang="0">
                    <a:pos x="237" y="384"/>
                  </a:cxn>
                  <a:cxn ang="0">
                    <a:pos x="230" y="378"/>
                  </a:cxn>
                  <a:cxn ang="0">
                    <a:pos x="377" y="2"/>
                  </a:cxn>
                  <a:cxn ang="0">
                    <a:pos x="384" y="1"/>
                  </a:cxn>
                  <a:cxn ang="0">
                    <a:pos x="0" y="39"/>
                  </a:cxn>
                  <a:cxn ang="0">
                    <a:pos x="1" y="39"/>
                  </a:cxn>
                  <a:cxn ang="0">
                    <a:pos x="377" y="2"/>
                  </a:cxn>
                  <a:cxn ang="0">
                    <a:pos x="384" y="1"/>
                  </a:cxn>
                  <a:cxn ang="0">
                    <a:pos x="433" y="1"/>
                  </a:cxn>
                  <a:cxn ang="0">
                    <a:pos x="418" y="1"/>
                  </a:cxn>
                  <a:cxn ang="0">
                    <a:pos x="398" y="1"/>
                  </a:cxn>
                  <a:cxn ang="0">
                    <a:pos x="384" y="1"/>
                  </a:cxn>
                  <a:cxn ang="0">
                    <a:pos x="418" y="1"/>
                  </a:cxn>
                  <a:cxn ang="0">
                    <a:pos x="398" y="1"/>
                  </a:cxn>
                  <a:cxn ang="0">
                    <a:pos x="385" y="2"/>
                  </a:cxn>
                  <a:cxn ang="0">
                    <a:pos x="433" y="2"/>
                  </a:cxn>
                  <a:cxn ang="0">
                    <a:pos x="418" y="1"/>
                  </a:cxn>
                </a:cxnLst>
                <a:rect l="0" t="0" r="r" b="b"/>
                <a:pathLst>
                  <a:path w="433" h="385">
                    <a:moveTo>
                      <a:pt x="221" y="368"/>
                    </a:moveTo>
                    <a:cubicBezTo>
                      <a:pt x="220" y="366"/>
                      <a:pt x="216" y="364"/>
                      <a:pt x="216" y="364"/>
                    </a:cubicBezTo>
                    <a:cubicBezTo>
                      <a:pt x="218" y="366"/>
                      <a:pt x="236" y="385"/>
                      <a:pt x="236" y="385"/>
                    </a:cubicBezTo>
                    <a:cubicBezTo>
                      <a:pt x="234" y="382"/>
                      <a:pt x="232" y="380"/>
                      <a:pt x="230" y="378"/>
                    </a:cubicBezTo>
                    <a:cubicBezTo>
                      <a:pt x="227" y="374"/>
                      <a:pt x="224" y="371"/>
                      <a:pt x="221" y="368"/>
                    </a:cubicBezTo>
                    <a:close/>
                    <a:moveTo>
                      <a:pt x="230" y="378"/>
                    </a:moveTo>
                    <a:cubicBezTo>
                      <a:pt x="201" y="342"/>
                      <a:pt x="186" y="307"/>
                      <a:pt x="179" y="260"/>
                    </a:cubicBezTo>
                    <a:cubicBezTo>
                      <a:pt x="174" y="209"/>
                      <a:pt x="181" y="170"/>
                      <a:pt x="203" y="124"/>
                    </a:cubicBezTo>
                    <a:cubicBezTo>
                      <a:pt x="228" y="80"/>
                      <a:pt x="255" y="52"/>
                      <a:pt x="299" y="27"/>
                    </a:cubicBezTo>
                    <a:cubicBezTo>
                      <a:pt x="326" y="14"/>
                      <a:pt x="351" y="5"/>
                      <a:pt x="377" y="2"/>
                    </a:cubicBezTo>
                    <a:lnTo>
                      <a:pt x="385" y="2"/>
                    </a:lnTo>
                    <a:cubicBezTo>
                      <a:pt x="356" y="5"/>
                      <a:pt x="329" y="13"/>
                      <a:pt x="299" y="28"/>
                    </a:cubicBezTo>
                    <a:cubicBezTo>
                      <a:pt x="256" y="53"/>
                      <a:pt x="228" y="81"/>
                      <a:pt x="204" y="125"/>
                    </a:cubicBezTo>
                    <a:cubicBezTo>
                      <a:pt x="182" y="170"/>
                      <a:pt x="175" y="209"/>
                      <a:pt x="180" y="260"/>
                    </a:cubicBezTo>
                    <a:cubicBezTo>
                      <a:pt x="188" y="310"/>
                      <a:pt x="204" y="345"/>
                      <a:pt x="237" y="384"/>
                    </a:cubicBezTo>
                    <a:cubicBezTo>
                      <a:pt x="235" y="382"/>
                      <a:pt x="232" y="380"/>
                      <a:pt x="230" y="378"/>
                    </a:cubicBezTo>
                    <a:close/>
                    <a:moveTo>
                      <a:pt x="377" y="2"/>
                    </a:moveTo>
                    <a:cubicBezTo>
                      <a:pt x="380" y="2"/>
                      <a:pt x="382" y="1"/>
                      <a:pt x="384" y="1"/>
                    </a:cubicBezTo>
                    <a:cubicBezTo>
                      <a:pt x="254" y="2"/>
                      <a:pt x="129" y="16"/>
                      <a:pt x="0" y="39"/>
                    </a:cubicBezTo>
                    <a:cubicBezTo>
                      <a:pt x="0" y="39"/>
                      <a:pt x="1" y="39"/>
                      <a:pt x="1" y="39"/>
                    </a:cubicBezTo>
                    <a:cubicBezTo>
                      <a:pt x="127" y="17"/>
                      <a:pt x="250" y="3"/>
                      <a:pt x="377" y="2"/>
                    </a:cubicBezTo>
                    <a:close/>
                    <a:moveTo>
                      <a:pt x="384" y="1"/>
                    </a:moveTo>
                    <a:cubicBezTo>
                      <a:pt x="400" y="0"/>
                      <a:pt x="415" y="0"/>
                      <a:pt x="433" y="1"/>
                    </a:cubicBezTo>
                    <a:lnTo>
                      <a:pt x="418" y="1"/>
                    </a:lnTo>
                    <a:cubicBezTo>
                      <a:pt x="411" y="1"/>
                      <a:pt x="404" y="1"/>
                      <a:pt x="398" y="1"/>
                    </a:cubicBezTo>
                    <a:lnTo>
                      <a:pt x="384" y="1"/>
                    </a:lnTo>
                    <a:close/>
                    <a:moveTo>
                      <a:pt x="418" y="1"/>
                    </a:moveTo>
                    <a:cubicBezTo>
                      <a:pt x="411" y="1"/>
                      <a:pt x="404" y="1"/>
                      <a:pt x="398" y="1"/>
                    </a:cubicBezTo>
                    <a:cubicBezTo>
                      <a:pt x="393" y="1"/>
                      <a:pt x="389" y="1"/>
                      <a:pt x="385" y="2"/>
                    </a:cubicBezTo>
                    <a:cubicBezTo>
                      <a:pt x="401" y="2"/>
                      <a:pt x="417" y="2"/>
                      <a:pt x="433" y="2"/>
                    </a:cubicBezTo>
                    <a:cubicBezTo>
                      <a:pt x="428" y="2"/>
                      <a:pt x="423" y="1"/>
                      <a:pt x="418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32" name="Freeform 74"/>
              <p:cNvSpPr>
                <a:spLocks noEditPoints="1"/>
              </p:cNvSpPr>
              <p:nvPr/>
            </p:nvSpPr>
            <p:spPr bwMode="auto">
              <a:xfrm rot="17639318" flipH="1">
                <a:off x="3887283" y="4193938"/>
                <a:ext cx="23901" cy="4368"/>
              </a:xfrm>
              <a:custGeom>
                <a:avLst/>
                <a:gdLst/>
                <a:ahLst/>
                <a:cxnLst>
                  <a:cxn ang="0">
                    <a:pos x="45" y="8"/>
                  </a:cxn>
                  <a:cxn ang="0">
                    <a:pos x="74" y="8"/>
                  </a:cxn>
                  <a:cxn ang="0">
                    <a:pos x="138" y="5"/>
                  </a:cxn>
                  <a:cxn ang="0">
                    <a:pos x="165" y="0"/>
                  </a:cxn>
                  <a:cxn ang="0">
                    <a:pos x="16" y="11"/>
                  </a:cxn>
                  <a:cxn ang="0">
                    <a:pos x="0" y="18"/>
                  </a:cxn>
                  <a:cxn ang="0">
                    <a:pos x="70" y="9"/>
                  </a:cxn>
                  <a:cxn ang="0">
                    <a:pos x="45" y="8"/>
                  </a:cxn>
                  <a:cxn ang="0">
                    <a:pos x="165" y="0"/>
                  </a:cxn>
                  <a:cxn ang="0">
                    <a:pos x="165" y="0"/>
                  </a:cxn>
                  <a:cxn ang="0">
                    <a:pos x="70" y="9"/>
                  </a:cxn>
                  <a:cxn ang="0">
                    <a:pos x="71" y="9"/>
                  </a:cxn>
                  <a:cxn ang="0">
                    <a:pos x="70" y="9"/>
                  </a:cxn>
                </a:cxnLst>
                <a:rect l="0" t="0" r="r" b="b"/>
                <a:pathLst>
                  <a:path w="165" h="18">
                    <a:moveTo>
                      <a:pt x="45" y="8"/>
                    </a:moveTo>
                    <a:cubicBezTo>
                      <a:pt x="55" y="8"/>
                      <a:pt x="74" y="8"/>
                      <a:pt x="74" y="8"/>
                    </a:cubicBezTo>
                    <a:cubicBezTo>
                      <a:pt x="95" y="7"/>
                      <a:pt x="138" y="5"/>
                      <a:pt x="138" y="5"/>
                    </a:cubicBezTo>
                    <a:cubicBezTo>
                      <a:pt x="147" y="3"/>
                      <a:pt x="164" y="0"/>
                      <a:pt x="165" y="0"/>
                    </a:cubicBezTo>
                    <a:cubicBezTo>
                      <a:pt x="157" y="0"/>
                      <a:pt x="14" y="6"/>
                      <a:pt x="16" y="11"/>
                    </a:cubicBezTo>
                    <a:cubicBezTo>
                      <a:pt x="11" y="13"/>
                      <a:pt x="5" y="16"/>
                      <a:pt x="0" y="18"/>
                    </a:cubicBezTo>
                    <a:cubicBezTo>
                      <a:pt x="17" y="12"/>
                      <a:pt x="66" y="9"/>
                      <a:pt x="70" y="9"/>
                    </a:cubicBezTo>
                    <a:cubicBezTo>
                      <a:pt x="62" y="9"/>
                      <a:pt x="47" y="8"/>
                      <a:pt x="45" y="8"/>
                    </a:cubicBezTo>
                    <a:close/>
                    <a:moveTo>
                      <a:pt x="165" y="0"/>
                    </a:moveTo>
                    <a:lnTo>
                      <a:pt x="165" y="0"/>
                    </a:lnTo>
                    <a:close/>
                    <a:moveTo>
                      <a:pt x="70" y="9"/>
                    </a:moveTo>
                    <a:cubicBezTo>
                      <a:pt x="71" y="9"/>
                      <a:pt x="71" y="9"/>
                      <a:pt x="71" y="9"/>
                    </a:cubicBezTo>
                    <a:lnTo>
                      <a:pt x="70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33" name="Freeform 75"/>
              <p:cNvSpPr>
                <a:spLocks noEditPoints="1"/>
              </p:cNvSpPr>
              <p:nvPr/>
            </p:nvSpPr>
            <p:spPr bwMode="auto">
              <a:xfrm rot="17639318" flipH="1">
                <a:off x="3888529" y="4194498"/>
                <a:ext cx="6326" cy="728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41" y="0"/>
                  </a:cxn>
                  <a:cxn ang="0">
                    <a:pos x="0" y="6"/>
                  </a:cxn>
                  <a:cxn ang="0">
                    <a:pos x="41" y="0"/>
                  </a:cxn>
                  <a:cxn ang="0">
                    <a:pos x="41" y="0"/>
                  </a:cxn>
                </a:cxnLst>
                <a:rect l="0" t="0" r="r" b="b"/>
                <a:pathLst>
                  <a:path w="41" h="6">
                    <a:moveTo>
                      <a:pt x="0" y="6"/>
                    </a:moveTo>
                    <a:cubicBezTo>
                      <a:pt x="13" y="5"/>
                      <a:pt x="40" y="0"/>
                      <a:pt x="41" y="0"/>
                    </a:cubicBezTo>
                    <a:cubicBezTo>
                      <a:pt x="24" y="1"/>
                      <a:pt x="16" y="3"/>
                      <a:pt x="0" y="6"/>
                    </a:cubicBezTo>
                    <a:close/>
                    <a:moveTo>
                      <a:pt x="41" y="0"/>
                    </a:move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34" name="Freeform 76"/>
              <p:cNvSpPr>
                <a:spLocks noEditPoints="1"/>
              </p:cNvSpPr>
              <p:nvPr/>
            </p:nvSpPr>
            <p:spPr bwMode="auto">
              <a:xfrm rot="17639318" flipH="1">
                <a:off x="3941339" y="4247060"/>
                <a:ext cx="703" cy="145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lnTo>
                      <a:pt x="0" y="4"/>
                    </a:lnTo>
                    <a:lnTo>
                      <a:pt x="3" y="0"/>
                    </a:lnTo>
                    <a:cubicBezTo>
                      <a:pt x="3" y="0"/>
                      <a:pt x="2" y="0"/>
                      <a:pt x="2" y="0"/>
                    </a:cubicBezTo>
                    <a:close/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35" name="Freeform 77"/>
              <p:cNvSpPr>
                <a:spLocks noEditPoints="1"/>
              </p:cNvSpPr>
              <p:nvPr/>
            </p:nvSpPr>
            <p:spPr bwMode="auto">
              <a:xfrm rot="17639318" flipH="1">
                <a:off x="3907719" y="4273393"/>
                <a:ext cx="2812" cy="5097"/>
              </a:xfrm>
              <a:custGeom>
                <a:avLst/>
                <a:gdLst/>
                <a:ahLst/>
                <a:cxnLst>
                  <a:cxn ang="0">
                    <a:pos x="1" y="23"/>
                  </a:cxn>
                  <a:cxn ang="0">
                    <a:pos x="1" y="22"/>
                  </a:cxn>
                  <a:cxn ang="0">
                    <a:pos x="1" y="23"/>
                  </a:cxn>
                  <a:cxn ang="0">
                    <a:pos x="1" y="22"/>
                  </a:cxn>
                  <a:cxn ang="0">
                    <a:pos x="17" y="0"/>
                  </a:cxn>
                  <a:cxn ang="0">
                    <a:pos x="1" y="22"/>
                  </a:cxn>
                  <a:cxn ang="0">
                    <a:pos x="17" y="0"/>
                  </a:cxn>
                  <a:cxn ang="0">
                    <a:pos x="17" y="0"/>
                  </a:cxn>
                  <a:cxn ang="0">
                    <a:pos x="1" y="23"/>
                  </a:cxn>
                  <a:cxn ang="0">
                    <a:pos x="0" y="23"/>
                  </a:cxn>
                  <a:cxn ang="0">
                    <a:pos x="1" y="23"/>
                  </a:cxn>
                </a:cxnLst>
                <a:rect l="0" t="0" r="r" b="b"/>
                <a:pathLst>
                  <a:path w="17" h="23">
                    <a:moveTo>
                      <a:pt x="1" y="23"/>
                    </a:moveTo>
                    <a:lnTo>
                      <a:pt x="1" y="22"/>
                    </a:lnTo>
                    <a:lnTo>
                      <a:pt x="1" y="23"/>
                    </a:lnTo>
                    <a:close/>
                    <a:moveTo>
                      <a:pt x="1" y="22"/>
                    </a:moveTo>
                    <a:cubicBezTo>
                      <a:pt x="6" y="16"/>
                      <a:pt x="16" y="1"/>
                      <a:pt x="17" y="0"/>
                    </a:cubicBezTo>
                    <a:cubicBezTo>
                      <a:pt x="12" y="6"/>
                      <a:pt x="4" y="18"/>
                      <a:pt x="1" y="22"/>
                    </a:cubicBezTo>
                    <a:close/>
                    <a:moveTo>
                      <a:pt x="17" y="0"/>
                    </a:moveTo>
                    <a:lnTo>
                      <a:pt x="17" y="0"/>
                    </a:lnTo>
                    <a:close/>
                    <a:moveTo>
                      <a:pt x="1" y="23"/>
                    </a:moveTo>
                    <a:lnTo>
                      <a:pt x="0" y="23"/>
                    </a:lnTo>
                    <a:cubicBezTo>
                      <a:pt x="0" y="23"/>
                      <a:pt x="0" y="23"/>
                      <a:pt x="1" y="2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36" name="Freeform 78"/>
              <p:cNvSpPr>
                <a:spLocks noEditPoints="1"/>
              </p:cNvSpPr>
              <p:nvPr/>
            </p:nvSpPr>
            <p:spPr bwMode="auto">
              <a:xfrm rot="17639318" flipH="1">
                <a:off x="4029243" y="4073514"/>
                <a:ext cx="15465" cy="4368"/>
              </a:xfrm>
              <a:custGeom>
                <a:avLst/>
                <a:gdLst/>
                <a:ahLst/>
                <a:cxnLst>
                  <a:cxn ang="0">
                    <a:pos x="85" y="24"/>
                  </a:cxn>
                  <a:cxn ang="0">
                    <a:pos x="91" y="23"/>
                  </a:cxn>
                  <a:cxn ang="0">
                    <a:pos x="93" y="12"/>
                  </a:cxn>
                  <a:cxn ang="0">
                    <a:pos x="95" y="12"/>
                  </a:cxn>
                  <a:cxn ang="0">
                    <a:pos x="95" y="15"/>
                  </a:cxn>
                  <a:cxn ang="0">
                    <a:pos x="97" y="12"/>
                  </a:cxn>
                  <a:cxn ang="0">
                    <a:pos x="97" y="12"/>
                  </a:cxn>
                  <a:cxn ang="0">
                    <a:pos x="101" y="8"/>
                  </a:cxn>
                  <a:cxn ang="0">
                    <a:pos x="99" y="8"/>
                  </a:cxn>
                  <a:cxn ang="0">
                    <a:pos x="105" y="0"/>
                  </a:cxn>
                  <a:cxn ang="0">
                    <a:pos x="93" y="12"/>
                  </a:cxn>
                  <a:cxn ang="0">
                    <a:pos x="94" y="8"/>
                  </a:cxn>
                  <a:cxn ang="0">
                    <a:pos x="0" y="17"/>
                  </a:cxn>
                  <a:cxn ang="0">
                    <a:pos x="93" y="12"/>
                  </a:cxn>
                  <a:cxn ang="0">
                    <a:pos x="85" y="24"/>
                  </a:cxn>
                  <a:cxn ang="0">
                    <a:pos x="105" y="0"/>
                  </a:cxn>
                  <a:cxn ang="0">
                    <a:pos x="105" y="0"/>
                  </a:cxn>
                  <a:cxn ang="0">
                    <a:pos x="0" y="17"/>
                  </a:cxn>
                  <a:cxn ang="0">
                    <a:pos x="0" y="17"/>
                  </a:cxn>
                </a:cxnLst>
                <a:rect l="0" t="0" r="r" b="b"/>
                <a:pathLst>
                  <a:path w="105" h="24">
                    <a:moveTo>
                      <a:pt x="85" y="24"/>
                    </a:moveTo>
                    <a:cubicBezTo>
                      <a:pt x="87" y="23"/>
                      <a:pt x="91" y="23"/>
                      <a:pt x="91" y="23"/>
                    </a:cubicBezTo>
                    <a:cubicBezTo>
                      <a:pt x="94" y="16"/>
                      <a:pt x="92" y="19"/>
                      <a:pt x="93" y="12"/>
                    </a:cubicBezTo>
                    <a:cubicBezTo>
                      <a:pt x="94" y="12"/>
                      <a:pt x="95" y="12"/>
                      <a:pt x="95" y="12"/>
                    </a:cubicBezTo>
                    <a:cubicBezTo>
                      <a:pt x="95" y="13"/>
                      <a:pt x="95" y="15"/>
                      <a:pt x="95" y="15"/>
                    </a:cubicBezTo>
                    <a:cubicBezTo>
                      <a:pt x="96" y="14"/>
                      <a:pt x="97" y="12"/>
                      <a:pt x="97" y="12"/>
                    </a:cubicBezTo>
                    <a:cubicBezTo>
                      <a:pt x="97" y="12"/>
                      <a:pt x="97" y="12"/>
                      <a:pt x="97" y="12"/>
                    </a:cubicBezTo>
                    <a:cubicBezTo>
                      <a:pt x="99" y="11"/>
                      <a:pt x="101" y="8"/>
                      <a:pt x="101" y="8"/>
                    </a:cubicBezTo>
                    <a:cubicBezTo>
                      <a:pt x="100" y="8"/>
                      <a:pt x="99" y="8"/>
                      <a:pt x="99" y="8"/>
                    </a:cubicBezTo>
                    <a:cubicBezTo>
                      <a:pt x="101" y="5"/>
                      <a:pt x="105" y="0"/>
                      <a:pt x="105" y="0"/>
                    </a:cubicBezTo>
                    <a:lnTo>
                      <a:pt x="93" y="12"/>
                    </a:lnTo>
                    <a:cubicBezTo>
                      <a:pt x="93" y="11"/>
                      <a:pt x="94" y="8"/>
                      <a:pt x="94" y="8"/>
                    </a:cubicBezTo>
                    <a:lnTo>
                      <a:pt x="0" y="17"/>
                    </a:lnTo>
                    <a:cubicBezTo>
                      <a:pt x="31" y="15"/>
                      <a:pt x="93" y="12"/>
                      <a:pt x="93" y="12"/>
                    </a:cubicBezTo>
                    <a:cubicBezTo>
                      <a:pt x="89" y="16"/>
                      <a:pt x="87" y="19"/>
                      <a:pt x="85" y="24"/>
                    </a:cubicBezTo>
                    <a:close/>
                    <a:moveTo>
                      <a:pt x="105" y="0"/>
                    </a:moveTo>
                    <a:lnTo>
                      <a:pt x="105" y="0"/>
                    </a:lnTo>
                    <a:close/>
                    <a:moveTo>
                      <a:pt x="0" y="17"/>
                    </a:moveTo>
                    <a:lnTo>
                      <a:pt x="0" y="1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37" name="Freeform 79"/>
              <p:cNvSpPr>
                <a:spLocks noEditPoints="1"/>
              </p:cNvSpPr>
              <p:nvPr/>
            </p:nvSpPr>
            <p:spPr bwMode="auto">
              <a:xfrm rot="17639318" flipH="1">
                <a:off x="3738577" y="3953260"/>
                <a:ext cx="240415" cy="337830"/>
              </a:xfrm>
              <a:custGeom>
                <a:avLst/>
                <a:gdLst/>
                <a:ahLst/>
                <a:cxnLst>
                  <a:cxn ang="0">
                    <a:pos x="7" y="1501"/>
                  </a:cxn>
                  <a:cxn ang="0">
                    <a:pos x="942" y="1505"/>
                  </a:cxn>
                  <a:cxn ang="0">
                    <a:pos x="1381" y="1453"/>
                  </a:cxn>
                  <a:cxn ang="0">
                    <a:pos x="1389" y="1454"/>
                  </a:cxn>
                  <a:cxn ang="0">
                    <a:pos x="1435" y="1454"/>
                  </a:cxn>
                  <a:cxn ang="0">
                    <a:pos x="1435" y="1454"/>
                  </a:cxn>
                  <a:cxn ang="0">
                    <a:pos x="1435" y="1449"/>
                  </a:cxn>
                  <a:cxn ang="0">
                    <a:pos x="1604" y="1346"/>
                  </a:cxn>
                  <a:cxn ang="0">
                    <a:pos x="1612" y="1334"/>
                  </a:cxn>
                  <a:cxn ang="0">
                    <a:pos x="1533" y="1397"/>
                  </a:cxn>
                  <a:cxn ang="0">
                    <a:pos x="1538" y="1402"/>
                  </a:cxn>
                  <a:cxn ang="0">
                    <a:pos x="1579" y="1405"/>
                  </a:cxn>
                  <a:cxn ang="0">
                    <a:pos x="1643" y="1325"/>
                  </a:cxn>
                  <a:cxn ang="0">
                    <a:pos x="1626" y="1298"/>
                  </a:cxn>
                  <a:cxn ang="0">
                    <a:pos x="1474" y="1138"/>
                  </a:cxn>
                  <a:cxn ang="0">
                    <a:pos x="1558" y="1110"/>
                  </a:cxn>
                  <a:cxn ang="0">
                    <a:pos x="1175" y="597"/>
                  </a:cxn>
                  <a:cxn ang="0">
                    <a:pos x="1326" y="927"/>
                  </a:cxn>
                  <a:cxn ang="0">
                    <a:pos x="1341" y="983"/>
                  </a:cxn>
                  <a:cxn ang="0">
                    <a:pos x="1341" y="983"/>
                  </a:cxn>
                  <a:cxn ang="0">
                    <a:pos x="1310" y="901"/>
                  </a:cxn>
                  <a:cxn ang="0">
                    <a:pos x="1065" y="464"/>
                  </a:cxn>
                  <a:cxn ang="0">
                    <a:pos x="917" y="122"/>
                  </a:cxn>
                  <a:cxn ang="0">
                    <a:pos x="656" y="51"/>
                  </a:cxn>
                  <a:cxn ang="0">
                    <a:pos x="756" y="291"/>
                  </a:cxn>
                  <a:cxn ang="0">
                    <a:pos x="1164" y="1061"/>
                  </a:cxn>
                  <a:cxn ang="0">
                    <a:pos x="1205" y="1149"/>
                  </a:cxn>
                  <a:cxn ang="0">
                    <a:pos x="1187" y="1149"/>
                  </a:cxn>
                  <a:cxn ang="0">
                    <a:pos x="1126" y="1156"/>
                  </a:cxn>
                  <a:cxn ang="0">
                    <a:pos x="1092" y="1163"/>
                  </a:cxn>
                  <a:cxn ang="0">
                    <a:pos x="915" y="1197"/>
                  </a:cxn>
                  <a:cxn ang="0">
                    <a:pos x="265" y="1267"/>
                  </a:cxn>
                  <a:cxn ang="0">
                    <a:pos x="87" y="1429"/>
                  </a:cxn>
                  <a:cxn ang="0">
                    <a:pos x="1435" y="1454"/>
                  </a:cxn>
                  <a:cxn ang="0">
                    <a:pos x="1187" y="1367"/>
                  </a:cxn>
                  <a:cxn ang="0">
                    <a:pos x="1567" y="1311"/>
                  </a:cxn>
                  <a:cxn ang="0">
                    <a:pos x="1539" y="1389"/>
                  </a:cxn>
                  <a:cxn ang="0">
                    <a:pos x="1533" y="1408"/>
                  </a:cxn>
                  <a:cxn ang="0">
                    <a:pos x="1458" y="1117"/>
                  </a:cxn>
                  <a:cxn ang="0">
                    <a:pos x="1103" y="501"/>
                  </a:cxn>
                  <a:cxn ang="0">
                    <a:pos x="1304" y="915"/>
                  </a:cxn>
                  <a:cxn ang="0">
                    <a:pos x="1237" y="794"/>
                  </a:cxn>
                  <a:cxn ang="0">
                    <a:pos x="1156" y="705"/>
                  </a:cxn>
                  <a:cxn ang="0">
                    <a:pos x="1062" y="524"/>
                  </a:cxn>
                  <a:cxn ang="0">
                    <a:pos x="1124" y="628"/>
                  </a:cxn>
                  <a:cxn ang="0">
                    <a:pos x="1304" y="914"/>
                  </a:cxn>
                  <a:cxn ang="0">
                    <a:pos x="1308" y="924"/>
                  </a:cxn>
                  <a:cxn ang="0">
                    <a:pos x="1320" y="916"/>
                  </a:cxn>
                  <a:cxn ang="0">
                    <a:pos x="998" y="712"/>
                  </a:cxn>
                  <a:cxn ang="0">
                    <a:pos x="771" y="312"/>
                  </a:cxn>
                  <a:cxn ang="0">
                    <a:pos x="1598" y="1110"/>
                  </a:cxn>
                  <a:cxn ang="0">
                    <a:pos x="1206" y="1146"/>
                  </a:cxn>
                  <a:cxn ang="0">
                    <a:pos x="1151" y="1158"/>
                  </a:cxn>
                  <a:cxn ang="0">
                    <a:pos x="1185" y="1149"/>
                  </a:cxn>
                  <a:cxn ang="0">
                    <a:pos x="1128" y="1155"/>
                  </a:cxn>
                  <a:cxn ang="0">
                    <a:pos x="1152" y="1151"/>
                  </a:cxn>
                </a:cxnLst>
                <a:rect l="0" t="0" r="r" b="b"/>
                <a:pathLst>
                  <a:path w="1652" h="1599">
                    <a:moveTo>
                      <a:pt x="62" y="1490"/>
                    </a:moveTo>
                    <a:cubicBezTo>
                      <a:pt x="62" y="1491"/>
                      <a:pt x="62" y="1495"/>
                      <a:pt x="62" y="1495"/>
                    </a:cubicBezTo>
                    <a:cubicBezTo>
                      <a:pt x="52" y="1497"/>
                      <a:pt x="13" y="1498"/>
                      <a:pt x="9" y="1498"/>
                    </a:cubicBezTo>
                    <a:lnTo>
                      <a:pt x="8" y="1502"/>
                    </a:lnTo>
                    <a:cubicBezTo>
                      <a:pt x="8" y="1502"/>
                      <a:pt x="7" y="1501"/>
                      <a:pt x="7" y="1501"/>
                    </a:cubicBezTo>
                    <a:cubicBezTo>
                      <a:pt x="5" y="1504"/>
                      <a:pt x="5" y="1505"/>
                      <a:pt x="6" y="1508"/>
                    </a:cubicBezTo>
                    <a:cubicBezTo>
                      <a:pt x="5" y="1508"/>
                      <a:pt x="3" y="1509"/>
                      <a:pt x="3" y="1509"/>
                    </a:cubicBezTo>
                    <a:cubicBezTo>
                      <a:pt x="0" y="1517"/>
                      <a:pt x="16" y="1555"/>
                      <a:pt x="15" y="1553"/>
                    </a:cubicBezTo>
                    <a:cubicBezTo>
                      <a:pt x="242" y="1551"/>
                      <a:pt x="198" y="1599"/>
                      <a:pt x="644" y="1541"/>
                    </a:cubicBezTo>
                    <a:cubicBezTo>
                      <a:pt x="744" y="1532"/>
                      <a:pt x="942" y="1505"/>
                      <a:pt x="942" y="1505"/>
                    </a:cubicBezTo>
                    <a:cubicBezTo>
                      <a:pt x="1055" y="1497"/>
                      <a:pt x="1147" y="1479"/>
                      <a:pt x="1256" y="1446"/>
                    </a:cubicBezTo>
                    <a:cubicBezTo>
                      <a:pt x="1289" y="1447"/>
                      <a:pt x="1340" y="1451"/>
                      <a:pt x="1379" y="1453"/>
                    </a:cubicBezTo>
                    <a:lnTo>
                      <a:pt x="1385" y="1460"/>
                    </a:lnTo>
                    <a:cubicBezTo>
                      <a:pt x="1386" y="1460"/>
                      <a:pt x="1387" y="1461"/>
                      <a:pt x="1387" y="1461"/>
                    </a:cubicBezTo>
                    <a:lnTo>
                      <a:pt x="1381" y="1453"/>
                    </a:lnTo>
                    <a:lnTo>
                      <a:pt x="1382" y="1453"/>
                    </a:lnTo>
                    <a:cubicBezTo>
                      <a:pt x="1390" y="1463"/>
                      <a:pt x="1399" y="1472"/>
                      <a:pt x="1408" y="1482"/>
                    </a:cubicBezTo>
                    <a:cubicBezTo>
                      <a:pt x="1407" y="1482"/>
                      <a:pt x="1406" y="1480"/>
                      <a:pt x="1406" y="1480"/>
                    </a:cubicBezTo>
                    <a:cubicBezTo>
                      <a:pt x="1406" y="1481"/>
                      <a:pt x="1416" y="1491"/>
                      <a:pt x="1416" y="1491"/>
                    </a:cubicBezTo>
                    <a:cubicBezTo>
                      <a:pt x="1405" y="1478"/>
                      <a:pt x="1396" y="1466"/>
                      <a:pt x="1389" y="1454"/>
                    </a:cubicBezTo>
                    <a:cubicBezTo>
                      <a:pt x="1416" y="1455"/>
                      <a:pt x="1435" y="1457"/>
                      <a:pt x="1435" y="1457"/>
                    </a:cubicBezTo>
                    <a:lnTo>
                      <a:pt x="1435" y="1454"/>
                    </a:lnTo>
                    <a:lnTo>
                      <a:pt x="1435" y="1454"/>
                    </a:lnTo>
                    <a:lnTo>
                      <a:pt x="1435" y="1454"/>
                    </a:lnTo>
                    <a:lnTo>
                      <a:pt x="1435" y="1454"/>
                    </a:lnTo>
                    <a:lnTo>
                      <a:pt x="1435" y="1454"/>
                    </a:lnTo>
                    <a:lnTo>
                      <a:pt x="1435" y="1454"/>
                    </a:lnTo>
                    <a:lnTo>
                      <a:pt x="1435" y="1454"/>
                    </a:lnTo>
                    <a:lnTo>
                      <a:pt x="1435" y="1454"/>
                    </a:lnTo>
                    <a:lnTo>
                      <a:pt x="1435" y="1454"/>
                    </a:lnTo>
                    <a:lnTo>
                      <a:pt x="1435" y="1454"/>
                    </a:lnTo>
                    <a:lnTo>
                      <a:pt x="1435" y="1454"/>
                    </a:lnTo>
                    <a:lnTo>
                      <a:pt x="1435" y="1449"/>
                    </a:lnTo>
                    <a:cubicBezTo>
                      <a:pt x="1436" y="1449"/>
                      <a:pt x="1439" y="1449"/>
                      <a:pt x="1440" y="1449"/>
                    </a:cubicBezTo>
                    <a:cubicBezTo>
                      <a:pt x="1439" y="1449"/>
                      <a:pt x="1436" y="1449"/>
                      <a:pt x="1435" y="1449"/>
                    </a:cubicBezTo>
                    <a:cubicBezTo>
                      <a:pt x="1436" y="1446"/>
                      <a:pt x="1436" y="1440"/>
                      <a:pt x="1436" y="1440"/>
                    </a:cubicBezTo>
                    <a:cubicBezTo>
                      <a:pt x="1438" y="1412"/>
                      <a:pt x="1410" y="1395"/>
                      <a:pt x="1372" y="1384"/>
                    </a:cubicBezTo>
                    <a:cubicBezTo>
                      <a:pt x="1436" y="1388"/>
                      <a:pt x="1498" y="1384"/>
                      <a:pt x="1584" y="1360"/>
                    </a:cubicBezTo>
                    <a:cubicBezTo>
                      <a:pt x="1589" y="1360"/>
                      <a:pt x="1593" y="1358"/>
                      <a:pt x="1597" y="1356"/>
                    </a:cubicBezTo>
                    <a:cubicBezTo>
                      <a:pt x="1600" y="1353"/>
                      <a:pt x="1602" y="1350"/>
                      <a:pt x="1604" y="1346"/>
                    </a:cubicBezTo>
                    <a:cubicBezTo>
                      <a:pt x="1605" y="1342"/>
                      <a:pt x="1605" y="1339"/>
                      <a:pt x="1604" y="1335"/>
                    </a:cubicBezTo>
                    <a:cubicBezTo>
                      <a:pt x="1603" y="1331"/>
                      <a:pt x="1602" y="1329"/>
                      <a:pt x="1599" y="1326"/>
                    </a:cubicBezTo>
                    <a:cubicBezTo>
                      <a:pt x="1588" y="1322"/>
                      <a:pt x="1578" y="1317"/>
                      <a:pt x="1568" y="1312"/>
                    </a:cubicBezTo>
                    <a:cubicBezTo>
                      <a:pt x="1578" y="1316"/>
                      <a:pt x="1593" y="1320"/>
                      <a:pt x="1604" y="1322"/>
                    </a:cubicBezTo>
                    <a:cubicBezTo>
                      <a:pt x="1608" y="1325"/>
                      <a:pt x="1610" y="1329"/>
                      <a:pt x="1612" y="1334"/>
                    </a:cubicBezTo>
                    <a:cubicBezTo>
                      <a:pt x="1614" y="1340"/>
                      <a:pt x="1613" y="1344"/>
                      <a:pt x="1612" y="1350"/>
                    </a:cubicBezTo>
                    <a:cubicBezTo>
                      <a:pt x="1609" y="1356"/>
                      <a:pt x="1606" y="1360"/>
                      <a:pt x="1601" y="1364"/>
                    </a:cubicBezTo>
                    <a:cubicBezTo>
                      <a:pt x="1595" y="1368"/>
                      <a:pt x="1590" y="1370"/>
                      <a:pt x="1583" y="1370"/>
                    </a:cubicBezTo>
                    <a:cubicBezTo>
                      <a:pt x="1568" y="1377"/>
                      <a:pt x="1553" y="1385"/>
                      <a:pt x="1538" y="1391"/>
                    </a:cubicBezTo>
                    <a:lnTo>
                      <a:pt x="1533" y="1397"/>
                    </a:lnTo>
                    <a:cubicBezTo>
                      <a:pt x="1537" y="1392"/>
                      <a:pt x="1532" y="1399"/>
                      <a:pt x="1526" y="1407"/>
                    </a:cubicBezTo>
                    <a:cubicBezTo>
                      <a:pt x="1526" y="1407"/>
                      <a:pt x="1526" y="1406"/>
                      <a:pt x="1526" y="1406"/>
                    </a:cubicBezTo>
                    <a:cubicBezTo>
                      <a:pt x="1523" y="1410"/>
                      <a:pt x="1536" y="1403"/>
                      <a:pt x="1537" y="1402"/>
                    </a:cubicBezTo>
                    <a:lnTo>
                      <a:pt x="1533" y="1408"/>
                    </a:lnTo>
                    <a:cubicBezTo>
                      <a:pt x="1535" y="1406"/>
                      <a:pt x="1536" y="1403"/>
                      <a:pt x="1538" y="1402"/>
                    </a:cubicBezTo>
                    <a:cubicBezTo>
                      <a:pt x="1538" y="1402"/>
                      <a:pt x="1537" y="1403"/>
                      <a:pt x="1537" y="1403"/>
                    </a:cubicBezTo>
                    <a:cubicBezTo>
                      <a:pt x="1540" y="1400"/>
                      <a:pt x="1554" y="1394"/>
                      <a:pt x="1553" y="1395"/>
                    </a:cubicBezTo>
                    <a:cubicBezTo>
                      <a:pt x="1552" y="1397"/>
                      <a:pt x="1549" y="1400"/>
                      <a:pt x="1549" y="1400"/>
                    </a:cubicBezTo>
                    <a:cubicBezTo>
                      <a:pt x="1542" y="1405"/>
                      <a:pt x="1520" y="1413"/>
                      <a:pt x="1516" y="1417"/>
                    </a:cubicBezTo>
                    <a:cubicBezTo>
                      <a:pt x="1517" y="1418"/>
                      <a:pt x="1579" y="1405"/>
                      <a:pt x="1579" y="1405"/>
                    </a:cubicBezTo>
                    <a:cubicBezTo>
                      <a:pt x="1594" y="1406"/>
                      <a:pt x="1605" y="1404"/>
                      <a:pt x="1619" y="1396"/>
                    </a:cubicBezTo>
                    <a:cubicBezTo>
                      <a:pt x="1631" y="1389"/>
                      <a:pt x="1639" y="1381"/>
                      <a:pt x="1645" y="1367"/>
                    </a:cubicBezTo>
                    <a:cubicBezTo>
                      <a:pt x="1650" y="1357"/>
                      <a:pt x="1652" y="1347"/>
                      <a:pt x="1652" y="1335"/>
                    </a:cubicBezTo>
                    <a:cubicBezTo>
                      <a:pt x="1651" y="1335"/>
                      <a:pt x="1646" y="1329"/>
                      <a:pt x="1646" y="1329"/>
                    </a:cubicBezTo>
                    <a:cubicBezTo>
                      <a:pt x="1646" y="1329"/>
                      <a:pt x="1643" y="1325"/>
                      <a:pt x="1643" y="1325"/>
                    </a:cubicBezTo>
                    <a:cubicBezTo>
                      <a:pt x="1640" y="1314"/>
                      <a:pt x="1636" y="1307"/>
                      <a:pt x="1629" y="1299"/>
                    </a:cubicBezTo>
                    <a:cubicBezTo>
                      <a:pt x="1629" y="1299"/>
                      <a:pt x="1627" y="1298"/>
                      <a:pt x="1627" y="1298"/>
                    </a:cubicBezTo>
                    <a:cubicBezTo>
                      <a:pt x="1629" y="1297"/>
                      <a:pt x="1634" y="1294"/>
                      <a:pt x="1634" y="1294"/>
                    </a:cubicBezTo>
                    <a:cubicBezTo>
                      <a:pt x="1633" y="1294"/>
                      <a:pt x="1633" y="1294"/>
                      <a:pt x="1633" y="1294"/>
                    </a:cubicBezTo>
                    <a:cubicBezTo>
                      <a:pt x="1631" y="1295"/>
                      <a:pt x="1626" y="1298"/>
                      <a:pt x="1626" y="1298"/>
                    </a:cubicBezTo>
                    <a:cubicBezTo>
                      <a:pt x="1625" y="1297"/>
                      <a:pt x="1621" y="1295"/>
                      <a:pt x="1621" y="1295"/>
                    </a:cubicBezTo>
                    <a:cubicBezTo>
                      <a:pt x="1622" y="1295"/>
                      <a:pt x="1624" y="1294"/>
                      <a:pt x="1624" y="1294"/>
                    </a:cubicBezTo>
                    <a:cubicBezTo>
                      <a:pt x="1623" y="1294"/>
                      <a:pt x="1621" y="1295"/>
                      <a:pt x="1621" y="1295"/>
                    </a:cubicBezTo>
                    <a:cubicBezTo>
                      <a:pt x="1623" y="1294"/>
                      <a:pt x="1628" y="1291"/>
                      <a:pt x="1628" y="1291"/>
                    </a:cubicBezTo>
                    <a:cubicBezTo>
                      <a:pt x="1578" y="1266"/>
                      <a:pt x="1516" y="1193"/>
                      <a:pt x="1474" y="1138"/>
                    </a:cubicBezTo>
                    <a:lnTo>
                      <a:pt x="1478" y="1136"/>
                    </a:lnTo>
                    <a:cubicBezTo>
                      <a:pt x="1505" y="1122"/>
                      <a:pt x="1530" y="1114"/>
                      <a:pt x="1557" y="1111"/>
                    </a:cubicBezTo>
                    <a:cubicBezTo>
                      <a:pt x="1523" y="1111"/>
                      <a:pt x="1490" y="1113"/>
                      <a:pt x="1457" y="1115"/>
                    </a:cubicBezTo>
                    <a:lnTo>
                      <a:pt x="1456" y="1114"/>
                    </a:lnTo>
                    <a:cubicBezTo>
                      <a:pt x="1490" y="1112"/>
                      <a:pt x="1524" y="1111"/>
                      <a:pt x="1558" y="1110"/>
                    </a:cubicBezTo>
                    <a:lnTo>
                      <a:pt x="1562" y="1110"/>
                    </a:lnTo>
                    <a:cubicBezTo>
                      <a:pt x="1526" y="1110"/>
                      <a:pt x="1491" y="1112"/>
                      <a:pt x="1456" y="1114"/>
                    </a:cubicBezTo>
                    <a:cubicBezTo>
                      <a:pt x="1437" y="1088"/>
                      <a:pt x="1426" y="1071"/>
                      <a:pt x="1426" y="1072"/>
                    </a:cubicBezTo>
                    <a:cubicBezTo>
                      <a:pt x="1424" y="1050"/>
                      <a:pt x="1420" y="1005"/>
                      <a:pt x="1420" y="1005"/>
                    </a:cubicBezTo>
                    <a:cubicBezTo>
                      <a:pt x="1368" y="891"/>
                      <a:pt x="1247" y="701"/>
                      <a:pt x="1175" y="597"/>
                    </a:cubicBezTo>
                    <a:cubicBezTo>
                      <a:pt x="1177" y="596"/>
                      <a:pt x="1105" y="504"/>
                      <a:pt x="1103" y="501"/>
                    </a:cubicBezTo>
                    <a:cubicBezTo>
                      <a:pt x="1112" y="513"/>
                      <a:pt x="1171" y="600"/>
                      <a:pt x="1171" y="600"/>
                    </a:cubicBezTo>
                    <a:cubicBezTo>
                      <a:pt x="1257" y="735"/>
                      <a:pt x="1355" y="912"/>
                      <a:pt x="1418" y="1060"/>
                    </a:cubicBezTo>
                    <a:cubicBezTo>
                      <a:pt x="1385" y="1012"/>
                      <a:pt x="1320" y="916"/>
                      <a:pt x="1320" y="916"/>
                    </a:cubicBezTo>
                    <a:cubicBezTo>
                      <a:pt x="1322" y="920"/>
                      <a:pt x="1326" y="927"/>
                      <a:pt x="1326" y="927"/>
                    </a:cubicBezTo>
                    <a:cubicBezTo>
                      <a:pt x="1323" y="922"/>
                      <a:pt x="1316" y="912"/>
                      <a:pt x="1316" y="912"/>
                    </a:cubicBezTo>
                    <a:cubicBezTo>
                      <a:pt x="1335" y="951"/>
                      <a:pt x="1373" y="1030"/>
                      <a:pt x="1373" y="1030"/>
                    </a:cubicBezTo>
                    <a:cubicBezTo>
                      <a:pt x="1350" y="992"/>
                      <a:pt x="1334" y="943"/>
                      <a:pt x="1310" y="903"/>
                    </a:cubicBezTo>
                    <a:cubicBezTo>
                      <a:pt x="1327" y="938"/>
                      <a:pt x="1358" y="1008"/>
                      <a:pt x="1358" y="1008"/>
                    </a:cubicBezTo>
                    <a:cubicBezTo>
                      <a:pt x="1353" y="999"/>
                      <a:pt x="1341" y="983"/>
                      <a:pt x="1341" y="983"/>
                    </a:cubicBezTo>
                    <a:cubicBezTo>
                      <a:pt x="1344" y="988"/>
                      <a:pt x="1349" y="998"/>
                      <a:pt x="1349" y="998"/>
                    </a:cubicBezTo>
                    <a:cubicBezTo>
                      <a:pt x="1345" y="991"/>
                      <a:pt x="1338" y="978"/>
                      <a:pt x="1338" y="978"/>
                    </a:cubicBezTo>
                    <a:cubicBezTo>
                      <a:pt x="1336" y="975"/>
                      <a:pt x="1332" y="970"/>
                      <a:pt x="1332" y="970"/>
                    </a:cubicBezTo>
                    <a:cubicBezTo>
                      <a:pt x="1329" y="962"/>
                      <a:pt x="1322" y="948"/>
                      <a:pt x="1322" y="947"/>
                    </a:cubicBezTo>
                    <a:cubicBezTo>
                      <a:pt x="1328" y="959"/>
                      <a:pt x="1334" y="971"/>
                      <a:pt x="1341" y="983"/>
                    </a:cubicBezTo>
                    <a:cubicBezTo>
                      <a:pt x="1321" y="941"/>
                      <a:pt x="1280" y="859"/>
                      <a:pt x="1280" y="859"/>
                    </a:cubicBezTo>
                    <a:cubicBezTo>
                      <a:pt x="1290" y="873"/>
                      <a:pt x="1310" y="902"/>
                      <a:pt x="1310" y="903"/>
                    </a:cubicBezTo>
                    <a:lnTo>
                      <a:pt x="1305" y="894"/>
                    </a:lnTo>
                    <a:lnTo>
                      <a:pt x="1316" y="912"/>
                    </a:lnTo>
                    <a:lnTo>
                      <a:pt x="1310" y="901"/>
                    </a:lnTo>
                    <a:lnTo>
                      <a:pt x="1320" y="916"/>
                    </a:lnTo>
                    <a:cubicBezTo>
                      <a:pt x="1301" y="877"/>
                      <a:pt x="1260" y="801"/>
                      <a:pt x="1260" y="801"/>
                    </a:cubicBezTo>
                    <a:cubicBezTo>
                      <a:pt x="1251" y="784"/>
                      <a:pt x="1158" y="607"/>
                      <a:pt x="1156" y="609"/>
                    </a:cubicBezTo>
                    <a:cubicBezTo>
                      <a:pt x="1158" y="607"/>
                      <a:pt x="1065" y="462"/>
                      <a:pt x="1065" y="462"/>
                    </a:cubicBezTo>
                    <a:cubicBezTo>
                      <a:pt x="1065" y="462"/>
                      <a:pt x="1065" y="464"/>
                      <a:pt x="1065" y="464"/>
                    </a:cubicBezTo>
                    <a:cubicBezTo>
                      <a:pt x="1063" y="459"/>
                      <a:pt x="1055" y="451"/>
                      <a:pt x="1060" y="447"/>
                    </a:cubicBezTo>
                    <a:cubicBezTo>
                      <a:pt x="1053" y="425"/>
                      <a:pt x="1038" y="381"/>
                      <a:pt x="1038" y="381"/>
                    </a:cubicBezTo>
                    <a:cubicBezTo>
                      <a:pt x="1046" y="401"/>
                      <a:pt x="1060" y="439"/>
                      <a:pt x="1060" y="439"/>
                    </a:cubicBezTo>
                    <a:cubicBezTo>
                      <a:pt x="1056" y="422"/>
                      <a:pt x="1051" y="405"/>
                      <a:pt x="1045" y="389"/>
                    </a:cubicBezTo>
                    <a:cubicBezTo>
                      <a:pt x="1008" y="281"/>
                      <a:pt x="1003" y="207"/>
                      <a:pt x="917" y="122"/>
                    </a:cubicBezTo>
                    <a:cubicBezTo>
                      <a:pt x="840" y="57"/>
                      <a:pt x="762" y="40"/>
                      <a:pt x="662" y="50"/>
                    </a:cubicBezTo>
                    <a:cubicBezTo>
                      <a:pt x="662" y="50"/>
                      <a:pt x="657" y="47"/>
                      <a:pt x="657" y="47"/>
                    </a:cubicBezTo>
                    <a:cubicBezTo>
                      <a:pt x="550" y="0"/>
                      <a:pt x="591" y="16"/>
                      <a:pt x="657" y="48"/>
                    </a:cubicBezTo>
                    <a:cubicBezTo>
                      <a:pt x="656" y="49"/>
                      <a:pt x="660" y="51"/>
                      <a:pt x="660" y="51"/>
                    </a:cubicBezTo>
                    <a:cubicBezTo>
                      <a:pt x="660" y="51"/>
                      <a:pt x="656" y="51"/>
                      <a:pt x="656" y="51"/>
                    </a:cubicBezTo>
                    <a:cubicBezTo>
                      <a:pt x="656" y="51"/>
                      <a:pt x="649" y="53"/>
                      <a:pt x="649" y="53"/>
                    </a:cubicBezTo>
                    <a:cubicBezTo>
                      <a:pt x="584" y="22"/>
                      <a:pt x="614" y="35"/>
                      <a:pt x="649" y="53"/>
                    </a:cubicBezTo>
                    <a:cubicBezTo>
                      <a:pt x="646" y="54"/>
                      <a:pt x="644" y="55"/>
                      <a:pt x="643" y="59"/>
                    </a:cubicBezTo>
                    <a:cubicBezTo>
                      <a:pt x="551" y="22"/>
                      <a:pt x="524" y="79"/>
                      <a:pt x="616" y="168"/>
                    </a:cubicBezTo>
                    <a:cubicBezTo>
                      <a:pt x="663" y="210"/>
                      <a:pt x="710" y="248"/>
                      <a:pt x="756" y="291"/>
                    </a:cubicBezTo>
                    <a:cubicBezTo>
                      <a:pt x="757" y="293"/>
                      <a:pt x="771" y="312"/>
                      <a:pt x="771" y="312"/>
                    </a:cubicBezTo>
                    <a:cubicBezTo>
                      <a:pt x="858" y="442"/>
                      <a:pt x="926" y="569"/>
                      <a:pt x="995" y="708"/>
                    </a:cubicBezTo>
                    <a:cubicBezTo>
                      <a:pt x="1015" y="748"/>
                      <a:pt x="1035" y="788"/>
                      <a:pt x="1054" y="828"/>
                    </a:cubicBezTo>
                    <a:cubicBezTo>
                      <a:pt x="1041" y="801"/>
                      <a:pt x="1030" y="776"/>
                      <a:pt x="1020" y="756"/>
                    </a:cubicBezTo>
                    <a:cubicBezTo>
                      <a:pt x="1070" y="857"/>
                      <a:pt x="1116" y="958"/>
                      <a:pt x="1164" y="1061"/>
                    </a:cubicBezTo>
                    <a:cubicBezTo>
                      <a:pt x="1174" y="1083"/>
                      <a:pt x="1191" y="1118"/>
                      <a:pt x="1202" y="1143"/>
                    </a:cubicBezTo>
                    <a:lnTo>
                      <a:pt x="1193" y="1145"/>
                    </a:lnTo>
                    <a:cubicBezTo>
                      <a:pt x="1193" y="1145"/>
                      <a:pt x="1194" y="1145"/>
                      <a:pt x="1194" y="1145"/>
                    </a:cubicBezTo>
                    <a:lnTo>
                      <a:pt x="1202" y="1144"/>
                    </a:lnTo>
                    <a:lnTo>
                      <a:pt x="1205" y="1149"/>
                    </a:lnTo>
                    <a:cubicBezTo>
                      <a:pt x="1194" y="1150"/>
                      <a:pt x="1178" y="1153"/>
                      <a:pt x="1170" y="1155"/>
                    </a:cubicBezTo>
                    <a:lnTo>
                      <a:pt x="1159" y="1157"/>
                    </a:lnTo>
                    <a:lnTo>
                      <a:pt x="1159" y="1157"/>
                    </a:lnTo>
                    <a:cubicBezTo>
                      <a:pt x="1174" y="1154"/>
                      <a:pt x="1203" y="1148"/>
                      <a:pt x="1204" y="1148"/>
                    </a:cubicBezTo>
                    <a:lnTo>
                      <a:pt x="1187" y="1149"/>
                    </a:lnTo>
                    <a:cubicBezTo>
                      <a:pt x="1174" y="1151"/>
                      <a:pt x="1158" y="1156"/>
                      <a:pt x="1146" y="1156"/>
                    </a:cubicBezTo>
                    <a:cubicBezTo>
                      <a:pt x="1159" y="1154"/>
                      <a:pt x="1184" y="1149"/>
                      <a:pt x="1185" y="1149"/>
                    </a:cubicBezTo>
                    <a:cubicBezTo>
                      <a:pt x="1167" y="1150"/>
                      <a:pt x="1154" y="1156"/>
                      <a:pt x="1136" y="1156"/>
                    </a:cubicBezTo>
                    <a:cubicBezTo>
                      <a:pt x="1146" y="1154"/>
                      <a:pt x="1167" y="1150"/>
                      <a:pt x="1168" y="1150"/>
                    </a:cubicBezTo>
                    <a:cubicBezTo>
                      <a:pt x="1151" y="1151"/>
                      <a:pt x="1147" y="1156"/>
                      <a:pt x="1126" y="1156"/>
                    </a:cubicBezTo>
                    <a:lnTo>
                      <a:pt x="1128" y="1155"/>
                    </a:lnTo>
                    <a:cubicBezTo>
                      <a:pt x="1127" y="1156"/>
                      <a:pt x="1126" y="1156"/>
                      <a:pt x="1126" y="1156"/>
                    </a:cubicBezTo>
                    <a:cubicBezTo>
                      <a:pt x="1112" y="1156"/>
                      <a:pt x="1098" y="1154"/>
                      <a:pt x="1084" y="1155"/>
                    </a:cubicBezTo>
                    <a:cubicBezTo>
                      <a:pt x="1097" y="1155"/>
                      <a:pt x="1123" y="1156"/>
                      <a:pt x="1123" y="1156"/>
                    </a:cubicBezTo>
                    <a:cubicBezTo>
                      <a:pt x="1113" y="1158"/>
                      <a:pt x="1092" y="1163"/>
                      <a:pt x="1092" y="1163"/>
                    </a:cubicBezTo>
                    <a:cubicBezTo>
                      <a:pt x="1078" y="1163"/>
                      <a:pt x="1043" y="1163"/>
                      <a:pt x="1043" y="1163"/>
                    </a:cubicBezTo>
                    <a:cubicBezTo>
                      <a:pt x="1035" y="1167"/>
                      <a:pt x="1020" y="1174"/>
                      <a:pt x="1020" y="1174"/>
                    </a:cubicBezTo>
                    <a:cubicBezTo>
                      <a:pt x="1000" y="1178"/>
                      <a:pt x="960" y="1186"/>
                      <a:pt x="960" y="1186"/>
                    </a:cubicBezTo>
                    <a:cubicBezTo>
                      <a:pt x="962" y="1185"/>
                      <a:pt x="967" y="1183"/>
                      <a:pt x="967" y="1183"/>
                    </a:cubicBezTo>
                    <a:cubicBezTo>
                      <a:pt x="945" y="1185"/>
                      <a:pt x="934" y="1190"/>
                      <a:pt x="915" y="1197"/>
                    </a:cubicBezTo>
                    <a:cubicBezTo>
                      <a:pt x="911" y="1198"/>
                      <a:pt x="896" y="1206"/>
                      <a:pt x="902" y="1196"/>
                    </a:cubicBezTo>
                    <a:cubicBezTo>
                      <a:pt x="908" y="1192"/>
                      <a:pt x="913" y="1192"/>
                      <a:pt x="919" y="1186"/>
                    </a:cubicBezTo>
                    <a:cubicBezTo>
                      <a:pt x="780" y="1196"/>
                      <a:pt x="646" y="1208"/>
                      <a:pt x="510" y="1233"/>
                    </a:cubicBezTo>
                    <a:cubicBezTo>
                      <a:pt x="500" y="1234"/>
                      <a:pt x="482" y="1234"/>
                      <a:pt x="482" y="1234"/>
                    </a:cubicBezTo>
                    <a:cubicBezTo>
                      <a:pt x="393" y="1158"/>
                      <a:pt x="440" y="1117"/>
                      <a:pt x="265" y="1267"/>
                    </a:cubicBezTo>
                    <a:cubicBezTo>
                      <a:pt x="264" y="1272"/>
                      <a:pt x="230" y="1295"/>
                      <a:pt x="229" y="1300"/>
                    </a:cubicBezTo>
                    <a:cubicBezTo>
                      <a:pt x="214" y="1309"/>
                      <a:pt x="205" y="1320"/>
                      <a:pt x="192" y="1331"/>
                    </a:cubicBezTo>
                    <a:cubicBezTo>
                      <a:pt x="164" y="1357"/>
                      <a:pt x="107" y="1409"/>
                      <a:pt x="107" y="1409"/>
                    </a:cubicBezTo>
                    <a:cubicBezTo>
                      <a:pt x="109" y="1408"/>
                      <a:pt x="116" y="1407"/>
                      <a:pt x="116" y="1407"/>
                    </a:cubicBezTo>
                    <a:cubicBezTo>
                      <a:pt x="107" y="1413"/>
                      <a:pt x="94" y="1422"/>
                      <a:pt x="87" y="1429"/>
                    </a:cubicBezTo>
                    <a:cubicBezTo>
                      <a:pt x="86" y="1430"/>
                      <a:pt x="85" y="1432"/>
                      <a:pt x="85" y="1432"/>
                    </a:cubicBezTo>
                    <a:cubicBezTo>
                      <a:pt x="19" y="1495"/>
                      <a:pt x="53" y="1490"/>
                      <a:pt x="62" y="1490"/>
                    </a:cubicBezTo>
                    <a:close/>
                    <a:moveTo>
                      <a:pt x="9" y="1498"/>
                    </a:moveTo>
                    <a:cubicBezTo>
                      <a:pt x="9" y="1498"/>
                      <a:pt x="9" y="1498"/>
                      <a:pt x="9" y="1498"/>
                    </a:cubicBezTo>
                    <a:close/>
                    <a:moveTo>
                      <a:pt x="1435" y="1454"/>
                    </a:moveTo>
                    <a:lnTo>
                      <a:pt x="1435" y="1454"/>
                    </a:lnTo>
                    <a:moveTo>
                      <a:pt x="1435" y="1454"/>
                    </a:moveTo>
                    <a:lnTo>
                      <a:pt x="1435" y="1454"/>
                    </a:lnTo>
                    <a:moveTo>
                      <a:pt x="1197" y="1367"/>
                    </a:moveTo>
                    <a:cubicBezTo>
                      <a:pt x="1193" y="1367"/>
                      <a:pt x="1190" y="1367"/>
                      <a:pt x="1187" y="1367"/>
                    </a:cubicBezTo>
                    <a:lnTo>
                      <a:pt x="1186" y="1366"/>
                    </a:lnTo>
                    <a:lnTo>
                      <a:pt x="1197" y="1367"/>
                    </a:lnTo>
                    <a:close/>
                    <a:moveTo>
                      <a:pt x="1567" y="1311"/>
                    </a:moveTo>
                    <a:lnTo>
                      <a:pt x="1567" y="1312"/>
                    </a:lnTo>
                    <a:cubicBezTo>
                      <a:pt x="1567" y="1311"/>
                      <a:pt x="1567" y="1311"/>
                      <a:pt x="1567" y="1311"/>
                    </a:cubicBezTo>
                    <a:cubicBezTo>
                      <a:pt x="1567" y="1311"/>
                      <a:pt x="1567" y="1311"/>
                      <a:pt x="1567" y="1311"/>
                    </a:cubicBezTo>
                    <a:cubicBezTo>
                      <a:pt x="1574" y="1309"/>
                      <a:pt x="1571" y="1310"/>
                      <a:pt x="1567" y="1311"/>
                    </a:cubicBezTo>
                    <a:close/>
                    <a:moveTo>
                      <a:pt x="1538" y="1391"/>
                    </a:moveTo>
                    <a:lnTo>
                      <a:pt x="1538" y="1391"/>
                    </a:lnTo>
                    <a:lnTo>
                      <a:pt x="1539" y="1389"/>
                    </a:lnTo>
                    <a:lnTo>
                      <a:pt x="1538" y="1391"/>
                    </a:lnTo>
                    <a:close/>
                    <a:moveTo>
                      <a:pt x="1539" y="1389"/>
                    </a:moveTo>
                    <a:lnTo>
                      <a:pt x="1539" y="1389"/>
                    </a:lnTo>
                    <a:close/>
                    <a:moveTo>
                      <a:pt x="1533" y="1408"/>
                    </a:moveTo>
                    <a:lnTo>
                      <a:pt x="1533" y="1408"/>
                    </a:lnTo>
                    <a:close/>
                    <a:moveTo>
                      <a:pt x="1537" y="1403"/>
                    </a:moveTo>
                    <a:lnTo>
                      <a:pt x="1537" y="1404"/>
                    </a:lnTo>
                    <a:lnTo>
                      <a:pt x="1537" y="1403"/>
                    </a:lnTo>
                    <a:close/>
                    <a:moveTo>
                      <a:pt x="1459" y="1118"/>
                    </a:moveTo>
                    <a:lnTo>
                      <a:pt x="1458" y="1117"/>
                    </a:lnTo>
                    <a:cubicBezTo>
                      <a:pt x="1470" y="1116"/>
                      <a:pt x="1482" y="1116"/>
                      <a:pt x="1495" y="1115"/>
                    </a:cubicBezTo>
                    <a:cubicBezTo>
                      <a:pt x="1507" y="1114"/>
                      <a:pt x="1530" y="1114"/>
                      <a:pt x="1533" y="1114"/>
                    </a:cubicBezTo>
                    <a:cubicBezTo>
                      <a:pt x="1508" y="1115"/>
                      <a:pt x="1483" y="1116"/>
                      <a:pt x="1459" y="1118"/>
                    </a:cubicBezTo>
                    <a:close/>
                    <a:moveTo>
                      <a:pt x="1103" y="501"/>
                    </a:moveTo>
                    <a:lnTo>
                      <a:pt x="1103" y="501"/>
                    </a:lnTo>
                    <a:close/>
                    <a:moveTo>
                      <a:pt x="1316" y="912"/>
                    </a:moveTo>
                    <a:lnTo>
                      <a:pt x="1316" y="912"/>
                    </a:lnTo>
                    <a:lnTo>
                      <a:pt x="1316" y="912"/>
                    </a:lnTo>
                    <a:moveTo>
                      <a:pt x="1322" y="947"/>
                    </a:moveTo>
                    <a:cubicBezTo>
                      <a:pt x="1316" y="937"/>
                      <a:pt x="1305" y="917"/>
                      <a:pt x="1304" y="915"/>
                    </a:cubicBezTo>
                    <a:lnTo>
                      <a:pt x="1304" y="914"/>
                    </a:lnTo>
                    <a:lnTo>
                      <a:pt x="1304" y="914"/>
                    </a:lnTo>
                    <a:lnTo>
                      <a:pt x="1304" y="914"/>
                    </a:lnTo>
                    <a:lnTo>
                      <a:pt x="1304" y="914"/>
                    </a:lnTo>
                    <a:cubicBezTo>
                      <a:pt x="1282" y="874"/>
                      <a:pt x="1237" y="794"/>
                      <a:pt x="1237" y="794"/>
                    </a:cubicBezTo>
                    <a:cubicBezTo>
                      <a:pt x="1213" y="759"/>
                      <a:pt x="1163" y="690"/>
                      <a:pt x="1163" y="690"/>
                    </a:cubicBezTo>
                    <a:cubicBezTo>
                      <a:pt x="1188" y="735"/>
                      <a:pt x="1236" y="827"/>
                      <a:pt x="1236" y="827"/>
                    </a:cubicBezTo>
                    <a:cubicBezTo>
                      <a:pt x="1234" y="823"/>
                      <a:pt x="1229" y="815"/>
                      <a:pt x="1229" y="815"/>
                    </a:cubicBezTo>
                    <a:cubicBezTo>
                      <a:pt x="1204" y="768"/>
                      <a:pt x="1153" y="675"/>
                      <a:pt x="1153" y="675"/>
                    </a:cubicBezTo>
                    <a:cubicBezTo>
                      <a:pt x="1121" y="634"/>
                      <a:pt x="1153" y="700"/>
                      <a:pt x="1156" y="705"/>
                    </a:cubicBezTo>
                    <a:cubicBezTo>
                      <a:pt x="1130" y="654"/>
                      <a:pt x="1120" y="636"/>
                      <a:pt x="1118" y="632"/>
                    </a:cubicBezTo>
                    <a:cubicBezTo>
                      <a:pt x="1118" y="632"/>
                      <a:pt x="1102" y="605"/>
                      <a:pt x="1102" y="605"/>
                    </a:cubicBezTo>
                    <a:cubicBezTo>
                      <a:pt x="1094" y="595"/>
                      <a:pt x="1079" y="573"/>
                      <a:pt x="1079" y="573"/>
                    </a:cubicBezTo>
                    <a:cubicBezTo>
                      <a:pt x="1065" y="545"/>
                      <a:pt x="1052" y="519"/>
                      <a:pt x="1040" y="489"/>
                    </a:cubicBezTo>
                    <a:cubicBezTo>
                      <a:pt x="1048" y="501"/>
                      <a:pt x="1062" y="524"/>
                      <a:pt x="1062" y="524"/>
                    </a:cubicBezTo>
                    <a:cubicBezTo>
                      <a:pt x="1077" y="552"/>
                      <a:pt x="1094" y="577"/>
                      <a:pt x="1107" y="606"/>
                    </a:cubicBezTo>
                    <a:cubicBezTo>
                      <a:pt x="1109" y="608"/>
                      <a:pt x="1124" y="629"/>
                      <a:pt x="1124" y="629"/>
                    </a:cubicBezTo>
                    <a:cubicBezTo>
                      <a:pt x="1127" y="632"/>
                      <a:pt x="1125" y="629"/>
                      <a:pt x="1124" y="628"/>
                    </a:cubicBezTo>
                    <a:cubicBezTo>
                      <a:pt x="1124" y="628"/>
                      <a:pt x="1123" y="627"/>
                      <a:pt x="1123" y="627"/>
                    </a:cubicBezTo>
                    <a:cubicBezTo>
                      <a:pt x="1123" y="627"/>
                      <a:pt x="1124" y="628"/>
                      <a:pt x="1124" y="628"/>
                    </a:cubicBezTo>
                    <a:cubicBezTo>
                      <a:pt x="1137" y="647"/>
                      <a:pt x="1149" y="666"/>
                      <a:pt x="1161" y="686"/>
                    </a:cubicBezTo>
                    <a:cubicBezTo>
                      <a:pt x="1159" y="683"/>
                      <a:pt x="1156" y="677"/>
                      <a:pt x="1156" y="677"/>
                    </a:cubicBezTo>
                    <a:cubicBezTo>
                      <a:pt x="1180" y="710"/>
                      <a:pt x="1226" y="776"/>
                      <a:pt x="1226" y="776"/>
                    </a:cubicBezTo>
                    <a:cubicBezTo>
                      <a:pt x="1238" y="796"/>
                      <a:pt x="1264" y="835"/>
                      <a:pt x="1264" y="835"/>
                    </a:cubicBezTo>
                    <a:cubicBezTo>
                      <a:pt x="1278" y="859"/>
                      <a:pt x="1302" y="911"/>
                      <a:pt x="1304" y="914"/>
                    </a:cubicBezTo>
                    <a:lnTo>
                      <a:pt x="1304" y="914"/>
                    </a:lnTo>
                    <a:cubicBezTo>
                      <a:pt x="1291" y="887"/>
                      <a:pt x="1264" y="835"/>
                      <a:pt x="1264" y="835"/>
                    </a:cubicBezTo>
                    <a:cubicBezTo>
                      <a:pt x="1267" y="839"/>
                      <a:pt x="1272" y="846"/>
                      <a:pt x="1272" y="846"/>
                    </a:cubicBezTo>
                    <a:cubicBezTo>
                      <a:pt x="1289" y="880"/>
                      <a:pt x="1322" y="947"/>
                      <a:pt x="1322" y="947"/>
                    </a:cubicBezTo>
                    <a:close/>
                    <a:moveTo>
                      <a:pt x="1308" y="924"/>
                    </a:moveTo>
                    <a:cubicBezTo>
                      <a:pt x="1316" y="940"/>
                      <a:pt x="1327" y="961"/>
                      <a:pt x="1327" y="961"/>
                    </a:cubicBezTo>
                    <a:cubicBezTo>
                      <a:pt x="1320" y="950"/>
                      <a:pt x="1314" y="936"/>
                      <a:pt x="1308" y="924"/>
                    </a:cubicBezTo>
                    <a:close/>
                    <a:moveTo>
                      <a:pt x="1310" y="903"/>
                    </a:moveTo>
                    <a:lnTo>
                      <a:pt x="1310" y="903"/>
                    </a:lnTo>
                    <a:close/>
                    <a:moveTo>
                      <a:pt x="1320" y="916"/>
                    </a:moveTo>
                    <a:lnTo>
                      <a:pt x="1320" y="916"/>
                    </a:lnTo>
                    <a:close/>
                    <a:moveTo>
                      <a:pt x="1054" y="828"/>
                    </a:moveTo>
                    <a:cubicBezTo>
                      <a:pt x="1085" y="892"/>
                      <a:pt x="1115" y="957"/>
                      <a:pt x="1145" y="1022"/>
                    </a:cubicBezTo>
                    <a:cubicBezTo>
                      <a:pt x="1138" y="1007"/>
                      <a:pt x="1093" y="910"/>
                      <a:pt x="1054" y="828"/>
                    </a:cubicBezTo>
                    <a:close/>
                    <a:moveTo>
                      <a:pt x="998" y="712"/>
                    </a:moveTo>
                    <a:cubicBezTo>
                      <a:pt x="996" y="709"/>
                      <a:pt x="995" y="708"/>
                      <a:pt x="995" y="708"/>
                    </a:cubicBezTo>
                    <a:cubicBezTo>
                      <a:pt x="926" y="568"/>
                      <a:pt x="858" y="442"/>
                      <a:pt x="771" y="312"/>
                    </a:cubicBezTo>
                    <a:cubicBezTo>
                      <a:pt x="771" y="312"/>
                      <a:pt x="757" y="293"/>
                      <a:pt x="757" y="293"/>
                    </a:cubicBezTo>
                    <a:cubicBezTo>
                      <a:pt x="758" y="293"/>
                      <a:pt x="758" y="293"/>
                      <a:pt x="758" y="293"/>
                    </a:cubicBezTo>
                    <a:cubicBezTo>
                      <a:pt x="759" y="295"/>
                      <a:pt x="771" y="312"/>
                      <a:pt x="771" y="312"/>
                    </a:cubicBezTo>
                    <a:cubicBezTo>
                      <a:pt x="858" y="442"/>
                      <a:pt x="926" y="568"/>
                      <a:pt x="996" y="708"/>
                    </a:cubicBezTo>
                    <a:lnTo>
                      <a:pt x="998" y="712"/>
                    </a:lnTo>
                    <a:close/>
                    <a:moveTo>
                      <a:pt x="1557" y="1111"/>
                    </a:moveTo>
                    <a:lnTo>
                      <a:pt x="1558" y="1110"/>
                    </a:lnTo>
                    <a:cubicBezTo>
                      <a:pt x="1571" y="1110"/>
                      <a:pt x="1584" y="1110"/>
                      <a:pt x="1598" y="1110"/>
                    </a:cubicBezTo>
                    <a:cubicBezTo>
                      <a:pt x="1584" y="1110"/>
                      <a:pt x="1570" y="1110"/>
                      <a:pt x="1557" y="1111"/>
                    </a:cubicBezTo>
                    <a:close/>
                    <a:moveTo>
                      <a:pt x="1562" y="1110"/>
                    </a:moveTo>
                    <a:cubicBezTo>
                      <a:pt x="1577" y="1108"/>
                      <a:pt x="1593" y="1109"/>
                      <a:pt x="1610" y="1110"/>
                    </a:cubicBezTo>
                    <a:cubicBezTo>
                      <a:pt x="1594" y="1110"/>
                      <a:pt x="1578" y="1110"/>
                      <a:pt x="1562" y="1110"/>
                    </a:cubicBezTo>
                    <a:close/>
                    <a:moveTo>
                      <a:pt x="1206" y="1146"/>
                    </a:moveTo>
                    <a:cubicBezTo>
                      <a:pt x="1214" y="1144"/>
                      <a:pt x="1229" y="1144"/>
                      <a:pt x="1229" y="1144"/>
                    </a:cubicBezTo>
                    <a:moveTo>
                      <a:pt x="1155" y="1157"/>
                    </a:moveTo>
                    <a:cubicBezTo>
                      <a:pt x="1155" y="1158"/>
                      <a:pt x="1156" y="1158"/>
                      <a:pt x="1156" y="1158"/>
                    </a:cubicBezTo>
                    <a:cubicBezTo>
                      <a:pt x="1154" y="1158"/>
                      <a:pt x="1151" y="1158"/>
                      <a:pt x="1151" y="1158"/>
                    </a:cubicBezTo>
                    <a:cubicBezTo>
                      <a:pt x="1151" y="1158"/>
                      <a:pt x="1151" y="1158"/>
                      <a:pt x="1151" y="1158"/>
                    </a:cubicBezTo>
                    <a:lnTo>
                      <a:pt x="1155" y="1157"/>
                    </a:lnTo>
                    <a:close/>
                    <a:moveTo>
                      <a:pt x="1204" y="1148"/>
                    </a:moveTo>
                    <a:lnTo>
                      <a:pt x="1204" y="1148"/>
                    </a:lnTo>
                    <a:close/>
                    <a:moveTo>
                      <a:pt x="1185" y="1149"/>
                    </a:moveTo>
                    <a:lnTo>
                      <a:pt x="1185" y="1149"/>
                    </a:lnTo>
                    <a:close/>
                    <a:moveTo>
                      <a:pt x="1168" y="1150"/>
                    </a:moveTo>
                    <a:lnTo>
                      <a:pt x="1168" y="1150"/>
                    </a:lnTo>
                    <a:close/>
                    <a:moveTo>
                      <a:pt x="1128" y="1155"/>
                    </a:moveTo>
                    <a:lnTo>
                      <a:pt x="1133" y="1154"/>
                    </a:lnTo>
                    <a:lnTo>
                      <a:pt x="1128" y="1155"/>
                    </a:lnTo>
                    <a:close/>
                    <a:moveTo>
                      <a:pt x="1133" y="1154"/>
                    </a:moveTo>
                    <a:cubicBezTo>
                      <a:pt x="1141" y="1153"/>
                      <a:pt x="1151" y="1151"/>
                      <a:pt x="1152" y="1151"/>
                    </a:cubicBezTo>
                    <a:cubicBezTo>
                      <a:pt x="1150" y="1151"/>
                      <a:pt x="1140" y="1153"/>
                      <a:pt x="1133" y="1154"/>
                    </a:cubicBezTo>
                    <a:close/>
                    <a:moveTo>
                      <a:pt x="1152" y="1151"/>
                    </a:moveTo>
                    <a:lnTo>
                      <a:pt x="1152" y="115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38" name="Freeform 80"/>
              <p:cNvSpPr>
                <a:spLocks/>
              </p:cNvSpPr>
              <p:nvPr/>
            </p:nvSpPr>
            <p:spPr bwMode="auto">
              <a:xfrm rot="17639318" flipH="1">
                <a:off x="3947007" y="4246615"/>
                <a:ext cx="703" cy="145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39" name="Freeform 81"/>
              <p:cNvSpPr>
                <a:spLocks/>
              </p:cNvSpPr>
              <p:nvPr/>
            </p:nvSpPr>
            <p:spPr bwMode="auto">
              <a:xfrm rot="17639318" flipH="1">
                <a:off x="3876787" y="4213687"/>
                <a:ext cx="23901" cy="2184"/>
              </a:xfrm>
              <a:custGeom>
                <a:avLst/>
                <a:gdLst/>
                <a:ahLst/>
                <a:cxnLst>
                  <a:cxn ang="0">
                    <a:pos x="79" y="14"/>
                  </a:cxn>
                  <a:cxn ang="0">
                    <a:pos x="0" y="15"/>
                  </a:cxn>
                  <a:cxn ang="0">
                    <a:pos x="169" y="0"/>
                  </a:cxn>
                  <a:cxn ang="0">
                    <a:pos x="79" y="14"/>
                  </a:cxn>
                </a:cxnLst>
                <a:rect l="0" t="0" r="r" b="b"/>
                <a:pathLst>
                  <a:path w="169" h="15">
                    <a:moveTo>
                      <a:pt x="79" y="14"/>
                    </a:moveTo>
                    <a:cubicBezTo>
                      <a:pt x="53" y="14"/>
                      <a:pt x="0" y="15"/>
                      <a:pt x="0" y="15"/>
                    </a:cubicBezTo>
                    <a:cubicBezTo>
                      <a:pt x="56" y="8"/>
                      <a:pt x="169" y="0"/>
                      <a:pt x="169" y="0"/>
                    </a:cubicBezTo>
                    <a:cubicBezTo>
                      <a:pt x="139" y="4"/>
                      <a:pt x="79" y="14"/>
                      <a:pt x="79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40" name="Freeform 82"/>
              <p:cNvSpPr>
                <a:spLocks noEditPoints="1"/>
              </p:cNvSpPr>
              <p:nvPr/>
            </p:nvSpPr>
            <p:spPr bwMode="auto">
              <a:xfrm rot="17639318" flipH="1">
                <a:off x="3899271" y="4225754"/>
                <a:ext cx="23901" cy="56790"/>
              </a:xfrm>
              <a:custGeom>
                <a:avLst/>
                <a:gdLst/>
                <a:ahLst/>
                <a:cxnLst>
                  <a:cxn ang="0">
                    <a:pos x="36" y="260"/>
                  </a:cxn>
                  <a:cxn ang="0">
                    <a:pos x="42" y="265"/>
                  </a:cxn>
                  <a:cxn ang="0">
                    <a:pos x="6" y="184"/>
                  </a:cxn>
                  <a:cxn ang="0">
                    <a:pos x="21" y="97"/>
                  </a:cxn>
                  <a:cxn ang="0">
                    <a:pos x="83" y="35"/>
                  </a:cxn>
                  <a:cxn ang="0">
                    <a:pos x="129" y="19"/>
                  </a:cxn>
                  <a:cxn ang="0">
                    <a:pos x="117" y="20"/>
                  </a:cxn>
                  <a:cxn ang="0">
                    <a:pos x="114" y="19"/>
                  </a:cxn>
                  <a:cxn ang="0">
                    <a:pos x="82" y="32"/>
                  </a:cxn>
                  <a:cxn ang="0">
                    <a:pos x="19" y="96"/>
                  </a:cxn>
                  <a:cxn ang="0">
                    <a:pos x="4" y="185"/>
                  </a:cxn>
                  <a:cxn ang="0">
                    <a:pos x="36" y="260"/>
                  </a:cxn>
                  <a:cxn ang="0">
                    <a:pos x="129" y="19"/>
                  </a:cxn>
                  <a:cxn ang="0">
                    <a:pos x="169" y="18"/>
                  </a:cxn>
                  <a:cxn ang="0">
                    <a:pos x="129" y="19"/>
                  </a:cxn>
                  <a:cxn ang="0">
                    <a:pos x="114" y="19"/>
                  </a:cxn>
                  <a:cxn ang="0">
                    <a:pos x="81" y="15"/>
                  </a:cxn>
                  <a:cxn ang="0">
                    <a:pos x="97" y="9"/>
                  </a:cxn>
                  <a:cxn ang="0">
                    <a:pos x="15" y="5"/>
                  </a:cxn>
                  <a:cxn ang="0">
                    <a:pos x="83" y="6"/>
                  </a:cxn>
                  <a:cxn ang="0">
                    <a:pos x="24" y="3"/>
                  </a:cxn>
                  <a:cxn ang="0">
                    <a:pos x="85" y="4"/>
                  </a:cxn>
                  <a:cxn ang="0">
                    <a:pos x="89" y="2"/>
                  </a:cxn>
                  <a:cxn ang="0">
                    <a:pos x="83" y="6"/>
                  </a:cxn>
                  <a:cxn ang="0">
                    <a:pos x="90" y="2"/>
                  </a:cxn>
                  <a:cxn ang="0">
                    <a:pos x="119" y="3"/>
                  </a:cxn>
                  <a:cxn ang="0">
                    <a:pos x="97" y="9"/>
                  </a:cxn>
                  <a:cxn ang="0">
                    <a:pos x="169" y="15"/>
                  </a:cxn>
                  <a:cxn ang="0">
                    <a:pos x="114" y="19"/>
                  </a:cxn>
                  <a:cxn ang="0">
                    <a:pos x="169" y="15"/>
                  </a:cxn>
                  <a:cxn ang="0">
                    <a:pos x="169" y="15"/>
                  </a:cxn>
                  <a:cxn ang="0">
                    <a:pos x="170" y="15"/>
                  </a:cxn>
                  <a:cxn ang="0">
                    <a:pos x="170" y="15"/>
                  </a:cxn>
                  <a:cxn ang="0">
                    <a:pos x="36" y="260"/>
                  </a:cxn>
                  <a:cxn ang="0">
                    <a:pos x="41" y="266"/>
                  </a:cxn>
                  <a:cxn ang="0">
                    <a:pos x="36" y="260"/>
                  </a:cxn>
                </a:cxnLst>
                <a:rect l="0" t="0" r="r" b="b"/>
                <a:pathLst>
                  <a:path w="170" h="266">
                    <a:moveTo>
                      <a:pt x="36" y="260"/>
                    </a:moveTo>
                    <a:cubicBezTo>
                      <a:pt x="37" y="260"/>
                      <a:pt x="42" y="265"/>
                      <a:pt x="42" y="265"/>
                    </a:cubicBezTo>
                    <a:cubicBezTo>
                      <a:pt x="21" y="240"/>
                      <a:pt x="10" y="217"/>
                      <a:pt x="6" y="184"/>
                    </a:cubicBezTo>
                    <a:cubicBezTo>
                      <a:pt x="2" y="151"/>
                      <a:pt x="7" y="126"/>
                      <a:pt x="21" y="97"/>
                    </a:cubicBezTo>
                    <a:cubicBezTo>
                      <a:pt x="37" y="68"/>
                      <a:pt x="55" y="51"/>
                      <a:pt x="83" y="35"/>
                    </a:cubicBezTo>
                    <a:cubicBezTo>
                      <a:pt x="99" y="27"/>
                      <a:pt x="114" y="22"/>
                      <a:pt x="129" y="19"/>
                    </a:cubicBezTo>
                    <a:lnTo>
                      <a:pt x="117" y="20"/>
                    </a:lnTo>
                    <a:lnTo>
                      <a:pt x="114" y="19"/>
                    </a:lnTo>
                    <a:cubicBezTo>
                      <a:pt x="104" y="22"/>
                      <a:pt x="93" y="26"/>
                      <a:pt x="82" y="32"/>
                    </a:cubicBezTo>
                    <a:cubicBezTo>
                      <a:pt x="53" y="49"/>
                      <a:pt x="35" y="67"/>
                      <a:pt x="19" y="96"/>
                    </a:cubicBezTo>
                    <a:cubicBezTo>
                      <a:pt x="5" y="126"/>
                      <a:pt x="0" y="151"/>
                      <a:pt x="4" y="185"/>
                    </a:cubicBezTo>
                    <a:cubicBezTo>
                      <a:pt x="8" y="215"/>
                      <a:pt x="18" y="237"/>
                      <a:pt x="36" y="260"/>
                    </a:cubicBezTo>
                    <a:close/>
                    <a:moveTo>
                      <a:pt x="129" y="19"/>
                    </a:moveTo>
                    <a:cubicBezTo>
                      <a:pt x="141" y="17"/>
                      <a:pt x="154" y="17"/>
                      <a:pt x="169" y="18"/>
                    </a:cubicBezTo>
                    <a:cubicBezTo>
                      <a:pt x="156" y="19"/>
                      <a:pt x="142" y="19"/>
                      <a:pt x="129" y="19"/>
                    </a:cubicBezTo>
                    <a:close/>
                    <a:moveTo>
                      <a:pt x="114" y="19"/>
                    </a:moveTo>
                    <a:cubicBezTo>
                      <a:pt x="102" y="17"/>
                      <a:pt x="81" y="15"/>
                      <a:pt x="81" y="15"/>
                    </a:cubicBezTo>
                    <a:cubicBezTo>
                      <a:pt x="86" y="12"/>
                      <a:pt x="97" y="9"/>
                      <a:pt x="97" y="9"/>
                    </a:cubicBezTo>
                    <a:cubicBezTo>
                      <a:pt x="69" y="7"/>
                      <a:pt x="15" y="5"/>
                      <a:pt x="15" y="5"/>
                    </a:cubicBezTo>
                    <a:cubicBezTo>
                      <a:pt x="32" y="3"/>
                      <a:pt x="70" y="10"/>
                      <a:pt x="83" y="6"/>
                    </a:cubicBezTo>
                    <a:cubicBezTo>
                      <a:pt x="77" y="7"/>
                      <a:pt x="32" y="3"/>
                      <a:pt x="24" y="3"/>
                    </a:cubicBezTo>
                    <a:cubicBezTo>
                      <a:pt x="37" y="0"/>
                      <a:pt x="82" y="3"/>
                      <a:pt x="85" y="4"/>
                    </a:cubicBezTo>
                    <a:lnTo>
                      <a:pt x="89" y="2"/>
                    </a:lnTo>
                    <a:lnTo>
                      <a:pt x="83" y="6"/>
                    </a:lnTo>
                    <a:lnTo>
                      <a:pt x="90" y="2"/>
                    </a:lnTo>
                    <a:cubicBezTo>
                      <a:pt x="100" y="3"/>
                      <a:pt x="119" y="3"/>
                      <a:pt x="119" y="3"/>
                    </a:cubicBezTo>
                    <a:cubicBezTo>
                      <a:pt x="112" y="5"/>
                      <a:pt x="97" y="9"/>
                      <a:pt x="97" y="9"/>
                    </a:cubicBezTo>
                    <a:cubicBezTo>
                      <a:pt x="102" y="9"/>
                      <a:pt x="161" y="14"/>
                      <a:pt x="169" y="15"/>
                    </a:cubicBezTo>
                    <a:cubicBezTo>
                      <a:pt x="149" y="13"/>
                      <a:pt x="131" y="15"/>
                      <a:pt x="114" y="19"/>
                    </a:cubicBezTo>
                    <a:close/>
                    <a:moveTo>
                      <a:pt x="169" y="15"/>
                    </a:moveTo>
                    <a:lnTo>
                      <a:pt x="169" y="15"/>
                    </a:lnTo>
                    <a:lnTo>
                      <a:pt x="170" y="15"/>
                    </a:lnTo>
                    <a:lnTo>
                      <a:pt x="170" y="15"/>
                    </a:lnTo>
                    <a:moveTo>
                      <a:pt x="36" y="260"/>
                    </a:moveTo>
                    <a:cubicBezTo>
                      <a:pt x="38" y="262"/>
                      <a:pt x="39" y="264"/>
                      <a:pt x="41" y="266"/>
                    </a:cubicBezTo>
                    <a:cubicBezTo>
                      <a:pt x="39" y="264"/>
                      <a:pt x="38" y="262"/>
                      <a:pt x="36" y="26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41" name="Freeform 83"/>
              <p:cNvSpPr>
                <a:spLocks/>
              </p:cNvSpPr>
              <p:nvPr/>
            </p:nvSpPr>
            <p:spPr bwMode="auto">
              <a:xfrm rot="17639318" flipH="1">
                <a:off x="3866473" y="4257380"/>
                <a:ext cx="0" cy="145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2"/>
                  </a:cxn>
                  <a:cxn ang="0">
                    <a:pos x="5" y="0"/>
                  </a:cxn>
                  <a:cxn ang="0">
                    <a:pos x="2" y="2"/>
                  </a:cxn>
                </a:cxnLst>
                <a:rect l="0" t="0" r="r" b="b"/>
                <a:pathLst>
                  <a:path w="5" h="2">
                    <a:moveTo>
                      <a:pt x="2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2" y="1"/>
                      <a:pt x="3" y="0"/>
                      <a:pt x="5" y="0"/>
                    </a:cubicBezTo>
                    <a:cubicBezTo>
                      <a:pt x="4" y="1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42" name="Freeform 84"/>
              <p:cNvSpPr>
                <a:spLocks/>
              </p:cNvSpPr>
              <p:nvPr/>
            </p:nvSpPr>
            <p:spPr bwMode="auto">
              <a:xfrm rot="17639318" flipH="1">
                <a:off x="3901705" y="4230135"/>
                <a:ext cx="4921" cy="1456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1" y="4"/>
                  </a:cxn>
                  <a:cxn ang="0">
                    <a:pos x="25" y="5"/>
                  </a:cxn>
                  <a:cxn ang="0">
                    <a:pos x="0" y="2"/>
                  </a:cxn>
                  <a:cxn ang="0">
                    <a:pos x="3" y="0"/>
                  </a:cxn>
                </a:cxnLst>
                <a:rect l="0" t="0" r="r" b="b"/>
                <a:pathLst>
                  <a:path w="31" h="5">
                    <a:moveTo>
                      <a:pt x="3" y="0"/>
                    </a:moveTo>
                    <a:cubicBezTo>
                      <a:pt x="13" y="2"/>
                      <a:pt x="31" y="4"/>
                      <a:pt x="31" y="4"/>
                    </a:cubicBezTo>
                    <a:cubicBezTo>
                      <a:pt x="29" y="4"/>
                      <a:pt x="25" y="5"/>
                      <a:pt x="25" y="5"/>
                    </a:cubicBezTo>
                    <a:cubicBezTo>
                      <a:pt x="17" y="4"/>
                      <a:pt x="0" y="2"/>
                      <a:pt x="0" y="2"/>
                    </a:cubicBezTo>
                    <a:cubicBezTo>
                      <a:pt x="1" y="2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43" name="Freeform 85"/>
              <p:cNvSpPr>
                <a:spLocks noEditPoints="1"/>
              </p:cNvSpPr>
              <p:nvPr/>
            </p:nvSpPr>
            <p:spPr bwMode="auto">
              <a:xfrm rot="17639318" flipH="1">
                <a:off x="3749635" y="4125583"/>
                <a:ext cx="2812" cy="6552"/>
              </a:xfrm>
              <a:custGeom>
                <a:avLst/>
                <a:gdLst/>
                <a:ahLst/>
                <a:cxnLst>
                  <a:cxn ang="0">
                    <a:pos x="15" y="27"/>
                  </a:cxn>
                  <a:cxn ang="0">
                    <a:pos x="15" y="27"/>
                  </a:cxn>
                  <a:cxn ang="0">
                    <a:pos x="15" y="27"/>
                  </a:cxn>
                  <a:cxn ang="0">
                    <a:pos x="0" y="0"/>
                  </a:cxn>
                  <a:cxn ang="0">
                    <a:pos x="15" y="27"/>
                  </a:cxn>
                </a:cxnLst>
                <a:rect l="0" t="0" r="r" b="b"/>
                <a:pathLst>
                  <a:path w="15" h="27">
                    <a:moveTo>
                      <a:pt x="15" y="27"/>
                    </a:moveTo>
                    <a:lnTo>
                      <a:pt x="15" y="27"/>
                    </a:lnTo>
                    <a:close/>
                    <a:moveTo>
                      <a:pt x="15" y="27"/>
                    </a:moveTo>
                    <a:cubicBezTo>
                      <a:pt x="8" y="16"/>
                      <a:pt x="5" y="13"/>
                      <a:pt x="0" y="0"/>
                    </a:cubicBezTo>
                    <a:cubicBezTo>
                      <a:pt x="5" y="9"/>
                      <a:pt x="15" y="27"/>
                      <a:pt x="15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44" name="Freeform 86"/>
              <p:cNvSpPr>
                <a:spLocks noEditPoints="1"/>
              </p:cNvSpPr>
              <p:nvPr/>
            </p:nvSpPr>
            <p:spPr bwMode="auto">
              <a:xfrm rot="17639318" flipH="1">
                <a:off x="3790600" y="4046760"/>
                <a:ext cx="60455" cy="164546"/>
              </a:xfrm>
              <a:custGeom>
                <a:avLst/>
                <a:gdLst/>
                <a:ahLst/>
                <a:cxnLst>
                  <a:cxn ang="0">
                    <a:pos x="26" y="28"/>
                  </a:cxn>
                  <a:cxn ang="0">
                    <a:pos x="30" y="32"/>
                  </a:cxn>
                  <a:cxn ang="0">
                    <a:pos x="27" y="29"/>
                  </a:cxn>
                  <a:cxn ang="0">
                    <a:pos x="37" y="39"/>
                  </a:cxn>
                  <a:cxn ang="0">
                    <a:pos x="40" y="43"/>
                  </a:cxn>
                  <a:cxn ang="0">
                    <a:pos x="186" y="287"/>
                  </a:cxn>
                  <a:cxn ang="0">
                    <a:pos x="40" y="43"/>
                  </a:cxn>
                  <a:cxn ang="0">
                    <a:pos x="36" y="37"/>
                  </a:cxn>
                  <a:cxn ang="0">
                    <a:pos x="30" y="32"/>
                  </a:cxn>
                  <a:cxn ang="0">
                    <a:pos x="39" y="45"/>
                  </a:cxn>
                  <a:cxn ang="0">
                    <a:pos x="216" y="345"/>
                  </a:cxn>
                  <a:cxn ang="0">
                    <a:pos x="213" y="339"/>
                  </a:cxn>
                  <a:cxn ang="0">
                    <a:pos x="218" y="348"/>
                  </a:cxn>
                  <a:cxn ang="0">
                    <a:pos x="219" y="351"/>
                  </a:cxn>
                  <a:cxn ang="0">
                    <a:pos x="218" y="349"/>
                  </a:cxn>
                  <a:cxn ang="0">
                    <a:pos x="226" y="364"/>
                  </a:cxn>
                  <a:cxn ang="0">
                    <a:pos x="219" y="351"/>
                  </a:cxn>
                  <a:cxn ang="0">
                    <a:pos x="231" y="374"/>
                  </a:cxn>
                  <a:cxn ang="0">
                    <a:pos x="225" y="363"/>
                  </a:cxn>
                  <a:cxn ang="0">
                    <a:pos x="264" y="441"/>
                  </a:cxn>
                  <a:cxn ang="0">
                    <a:pos x="417" y="766"/>
                  </a:cxn>
                  <a:cxn ang="0">
                    <a:pos x="263" y="442"/>
                  </a:cxn>
                  <a:cxn ang="0">
                    <a:pos x="38" y="46"/>
                  </a:cxn>
                  <a:cxn ang="0">
                    <a:pos x="26" y="28"/>
                  </a:cxn>
                  <a:cxn ang="0">
                    <a:pos x="186" y="287"/>
                  </a:cxn>
                  <a:cxn ang="0">
                    <a:pos x="188" y="291"/>
                  </a:cxn>
                  <a:cxn ang="0">
                    <a:pos x="186" y="287"/>
                  </a:cxn>
                  <a:cxn ang="0">
                    <a:pos x="213" y="339"/>
                  </a:cxn>
                  <a:cxn ang="0">
                    <a:pos x="213" y="339"/>
                  </a:cxn>
                  <a:cxn ang="0">
                    <a:pos x="213" y="339"/>
                  </a:cxn>
                  <a:cxn ang="0">
                    <a:pos x="213" y="339"/>
                  </a:cxn>
                  <a:cxn ang="0">
                    <a:pos x="219" y="351"/>
                  </a:cxn>
                  <a:cxn ang="0">
                    <a:pos x="219" y="351"/>
                  </a:cxn>
                  <a:cxn ang="0">
                    <a:pos x="219" y="351"/>
                  </a:cxn>
                  <a:cxn ang="0">
                    <a:pos x="231" y="374"/>
                  </a:cxn>
                  <a:cxn ang="0">
                    <a:pos x="231" y="374"/>
                  </a:cxn>
                </a:cxnLst>
                <a:rect l="0" t="0" r="r" b="b"/>
                <a:pathLst>
                  <a:path w="417" h="766">
                    <a:moveTo>
                      <a:pt x="26" y="28"/>
                    </a:moveTo>
                    <a:cubicBezTo>
                      <a:pt x="27" y="29"/>
                      <a:pt x="30" y="32"/>
                      <a:pt x="30" y="32"/>
                    </a:cubicBezTo>
                    <a:cubicBezTo>
                      <a:pt x="0" y="0"/>
                      <a:pt x="18" y="18"/>
                      <a:pt x="27" y="29"/>
                    </a:cubicBezTo>
                    <a:cubicBezTo>
                      <a:pt x="4" y="2"/>
                      <a:pt x="25" y="24"/>
                      <a:pt x="37" y="39"/>
                    </a:cubicBezTo>
                    <a:cubicBezTo>
                      <a:pt x="37" y="39"/>
                      <a:pt x="40" y="43"/>
                      <a:pt x="40" y="43"/>
                    </a:cubicBezTo>
                    <a:cubicBezTo>
                      <a:pt x="94" y="123"/>
                      <a:pt x="140" y="202"/>
                      <a:pt x="186" y="287"/>
                    </a:cubicBezTo>
                    <a:cubicBezTo>
                      <a:pt x="140" y="202"/>
                      <a:pt x="94" y="123"/>
                      <a:pt x="40" y="43"/>
                    </a:cubicBezTo>
                    <a:cubicBezTo>
                      <a:pt x="40" y="43"/>
                      <a:pt x="36" y="37"/>
                      <a:pt x="36" y="37"/>
                    </a:cubicBezTo>
                    <a:cubicBezTo>
                      <a:pt x="34" y="36"/>
                      <a:pt x="30" y="32"/>
                      <a:pt x="30" y="32"/>
                    </a:cubicBezTo>
                    <a:cubicBezTo>
                      <a:pt x="31" y="33"/>
                      <a:pt x="39" y="45"/>
                      <a:pt x="39" y="45"/>
                    </a:cubicBezTo>
                    <a:cubicBezTo>
                      <a:pt x="106" y="143"/>
                      <a:pt x="161" y="240"/>
                      <a:pt x="216" y="345"/>
                    </a:cubicBezTo>
                    <a:lnTo>
                      <a:pt x="213" y="339"/>
                    </a:lnTo>
                    <a:lnTo>
                      <a:pt x="218" y="348"/>
                    </a:lnTo>
                    <a:lnTo>
                      <a:pt x="219" y="351"/>
                    </a:lnTo>
                    <a:lnTo>
                      <a:pt x="218" y="349"/>
                    </a:lnTo>
                    <a:lnTo>
                      <a:pt x="226" y="364"/>
                    </a:lnTo>
                    <a:lnTo>
                      <a:pt x="219" y="351"/>
                    </a:lnTo>
                    <a:cubicBezTo>
                      <a:pt x="223" y="359"/>
                      <a:pt x="231" y="374"/>
                      <a:pt x="231" y="374"/>
                    </a:cubicBezTo>
                    <a:cubicBezTo>
                      <a:pt x="229" y="371"/>
                      <a:pt x="226" y="364"/>
                      <a:pt x="225" y="363"/>
                    </a:cubicBezTo>
                    <a:cubicBezTo>
                      <a:pt x="229" y="371"/>
                      <a:pt x="264" y="441"/>
                      <a:pt x="264" y="441"/>
                    </a:cubicBezTo>
                    <a:cubicBezTo>
                      <a:pt x="318" y="549"/>
                      <a:pt x="368" y="657"/>
                      <a:pt x="417" y="766"/>
                    </a:cubicBezTo>
                    <a:cubicBezTo>
                      <a:pt x="405" y="739"/>
                      <a:pt x="266" y="440"/>
                      <a:pt x="263" y="442"/>
                    </a:cubicBezTo>
                    <a:cubicBezTo>
                      <a:pt x="193" y="302"/>
                      <a:pt x="125" y="176"/>
                      <a:pt x="38" y="46"/>
                    </a:cubicBezTo>
                    <a:cubicBezTo>
                      <a:pt x="38" y="46"/>
                      <a:pt x="26" y="28"/>
                      <a:pt x="26" y="28"/>
                    </a:cubicBezTo>
                    <a:close/>
                    <a:moveTo>
                      <a:pt x="186" y="287"/>
                    </a:moveTo>
                    <a:lnTo>
                      <a:pt x="188" y="291"/>
                    </a:lnTo>
                    <a:lnTo>
                      <a:pt x="186" y="287"/>
                    </a:lnTo>
                    <a:close/>
                    <a:moveTo>
                      <a:pt x="213" y="339"/>
                    </a:moveTo>
                    <a:lnTo>
                      <a:pt x="213" y="339"/>
                    </a:lnTo>
                    <a:lnTo>
                      <a:pt x="213" y="339"/>
                    </a:lnTo>
                    <a:lnTo>
                      <a:pt x="213" y="339"/>
                    </a:lnTo>
                    <a:moveTo>
                      <a:pt x="219" y="351"/>
                    </a:moveTo>
                    <a:lnTo>
                      <a:pt x="219" y="351"/>
                    </a:lnTo>
                    <a:lnTo>
                      <a:pt x="219" y="351"/>
                    </a:lnTo>
                    <a:moveTo>
                      <a:pt x="231" y="374"/>
                    </a:moveTo>
                    <a:lnTo>
                      <a:pt x="231" y="37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45" name="Freeform 87"/>
              <p:cNvSpPr>
                <a:spLocks noEditPoints="1"/>
              </p:cNvSpPr>
              <p:nvPr/>
            </p:nvSpPr>
            <p:spPr bwMode="auto">
              <a:xfrm rot="17639318" flipH="1">
                <a:off x="3894237" y="4223270"/>
                <a:ext cx="2109" cy="6552"/>
              </a:xfrm>
              <a:custGeom>
                <a:avLst/>
                <a:gdLst/>
                <a:ahLst/>
                <a:cxnLst>
                  <a:cxn ang="0">
                    <a:pos x="6" y="11"/>
                  </a:cxn>
                  <a:cxn ang="0">
                    <a:pos x="0" y="0"/>
                  </a:cxn>
                  <a:cxn ang="0">
                    <a:pos x="17" y="31"/>
                  </a:cxn>
                  <a:cxn ang="0">
                    <a:pos x="6" y="11"/>
                  </a:cxn>
                  <a:cxn ang="0">
                    <a:pos x="17" y="31"/>
                  </a:cxn>
                  <a:cxn ang="0">
                    <a:pos x="17" y="31"/>
                  </a:cxn>
                  <a:cxn ang="0">
                    <a:pos x="17" y="31"/>
                  </a:cxn>
                </a:cxnLst>
                <a:rect l="0" t="0" r="r" b="b"/>
                <a:pathLst>
                  <a:path w="17" h="31">
                    <a:moveTo>
                      <a:pt x="6" y="11"/>
                    </a:moveTo>
                    <a:cubicBezTo>
                      <a:pt x="4" y="8"/>
                      <a:pt x="0" y="0"/>
                      <a:pt x="0" y="0"/>
                    </a:cubicBezTo>
                    <a:cubicBezTo>
                      <a:pt x="6" y="10"/>
                      <a:pt x="16" y="29"/>
                      <a:pt x="17" y="31"/>
                    </a:cubicBezTo>
                    <a:cubicBezTo>
                      <a:pt x="13" y="25"/>
                      <a:pt x="6" y="11"/>
                      <a:pt x="6" y="11"/>
                    </a:cubicBezTo>
                    <a:close/>
                    <a:moveTo>
                      <a:pt x="17" y="31"/>
                    </a:moveTo>
                    <a:lnTo>
                      <a:pt x="17" y="31"/>
                    </a:lnTo>
                    <a:lnTo>
                      <a:pt x="17" y="31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46" name="Freeform 88"/>
              <p:cNvSpPr>
                <a:spLocks/>
              </p:cNvSpPr>
              <p:nvPr/>
            </p:nvSpPr>
            <p:spPr bwMode="auto">
              <a:xfrm rot="17639318" flipH="1">
                <a:off x="3933589" y="4252103"/>
                <a:ext cx="3515" cy="5097"/>
              </a:xfrm>
              <a:custGeom>
                <a:avLst/>
                <a:gdLst/>
                <a:ahLst/>
                <a:cxnLst>
                  <a:cxn ang="0">
                    <a:pos x="19" y="20"/>
                  </a:cxn>
                  <a:cxn ang="0">
                    <a:pos x="0" y="0"/>
                  </a:cxn>
                  <a:cxn ang="0">
                    <a:pos x="23" y="24"/>
                  </a:cxn>
                  <a:cxn ang="0">
                    <a:pos x="19" y="20"/>
                  </a:cxn>
                </a:cxnLst>
                <a:rect l="0" t="0" r="r" b="b"/>
                <a:pathLst>
                  <a:path w="26" h="27">
                    <a:moveTo>
                      <a:pt x="19" y="20"/>
                    </a:moveTo>
                    <a:cubicBezTo>
                      <a:pt x="13" y="14"/>
                      <a:pt x="0" y="0"/>
                      <a:pt x="0" y="0"/>
                    </a:cubicBezTo>
                    <a:cubicBezTo>
                      <a:pt x="4" y="2"/>
                      <a:pt x="26" y="27"/>
                      <a:pt x="23" y="24"/>
                    </a:cubicBezTo>
                    <a:cubicBezTo>
                      <a:pt x="22" y="23"/>
                      <a:pt x="19" y="20"/>
                      <a:pt x="19" y="2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47" name="Freeform 89"/>
              <p:cNvSpPr>
                <a:spLocks noEditPoints="1"/>
              </p:cNvSpPr>
              <p:nvPr/>
            </p:nvSpPr>
            <p:spPr bwMode="auto">
              <a:xfrm rot="17639318" flipH="1">
                <a:off x="3919706" y="4234942"/>
                <a:ext cx="9842" cy="48053"/>
              </a:xfrm>
              <a:custGeom>
                <a:avLst/>
                <a:gdLst/>
                <a:ahLst/>
                <a:cxnLst>
                  <a:cxn ang="0">
                    <a:pos x="1" y="84"/>
                  </a:cxn>
                  <a:cxn ang="0">
                    <a:pos x="3" y="107"/>
                  </a:cxn>
                  <a:cxn ang="0">
                    <a:pos x="54" y="224"/>
                  </a:cxn>
                  <a:cxn ang="0">
                    <a:pos x="59" y="230"/>
                  </a:cxn>
                  <a:cxn ang="0">
                    <a:pos x="3" y="107"/>
                  </a:cxn>
                  <a:cxn ang="0">
                    <a:pos x="12" y="12"/>
                  </a:cxn>
                  <a:cxn ang="0">
                    <a:pos x="1" y="84"/>
                  </a:cxn>
                  <a:cxn ang="0">
                    <a:pos x="54" y="224"/>
                  </a:cxn>
                  <a:cxn ang="0">
                    <a:pos x="59" y="230"/>
                  </a:cxn>
                  <a:cxn ang="0">
                    <a:pos x="36" y="206"/>
                  </a:cxn>
                  <a:cxn ang="0">
                    <a:pos x="54" y="224"/>
                  </a:cxn>
                  <a:cxn ang="0">
                    <a:pos x="59" y="230"/>
                  </a:cxn>
                  <a:cxn ang="0">
                    <a:pos x="59" y="230"/>
                  </a:cxn>
                  <a:cxn ang="0">
                    <a:pos x="12" y="12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3" y="8"/>
                  </a:cxn>
                  <a:cxn ang="0">
                    <a:pos x="13" y="7"/>
                  </a:cxn>
                  <a:cxn ang="0">
                    <a:pos x="16" y="0"/>
                  </a:cxn>
                  <a:cxn ang="0">
                    <a:pos x="13" y="7"/>
                  </a:cxn>
                </a:cxnLst>
                <a:rect l="0" t="0" r="r" b="b"/>
                <a:pathLst>
                  <a:path w="59" h="230">
                    <a:moveTo>
                      <a:pt x="1" y="84"/>
                    </a:moveTo>
                    <a:cubicBezTo>
                      <a:pt x="2" y="86"/>
                      <a:pt x="3" y="107"/>
                      <a:pt x="3" y="107"/>
                    </a:cubicBezTo>
                    <a:cubicBezTo>
                      <a:pt x="10" y="154"/>
                      <a:pt x="25" y="188"/>
                      <a:pt x="54" y="224"/>
                    </a:cubicBezTo>
                    <a:lnTo>
                      <a:pt x="59" y="230"/>
                    </a:lnTo>
                    <a:cubicBezTo>
                      <a:pt x="27" y="192"/>
                      <a:pt x="11" y="157"/>
                      <a:pt x="3" y="107"/>
                    </a:cubicBezTo>
                    <a:cubicBezTo>
                      <a:pt x="0" y="72"/>
                      <a:pt x="2" y="44"/>
                      <a:pt x="12" y="12"/>
                    </a:cubicBezTo>
                    <a:cubicBezTo>
                      <a:pt x="4" y="36"/>
                      <a:pt x="1" y="57"/>
                      <a:pt x="1" y="84"/>
                    </a:cubicBezTo>
                    <a:close/>
                    <a:moveTo>
                      <a:pt x="54" y="224"/>
                    </a:moveTo>
                    <a:lnTo>
                      <a:pt x="59" y="230"/>
                    </a:lnTo>
                    <a:cubicBezTo>
                      <a:pt x="51" y="222"/>
                      <a:pt x="43" y="214"/>
                      <a:pt x="36" y="206"/>
                    </a:cubicBezTo>
                    <a:cubicBezTo>
                      <a:pt x="38" y="207"/>
                      <a:pt x="48" y="218"/>
                      <a:pt x="54" y="224"/>
                    </a:cubicBezTo>
                    <a:close/>
                    <a:moveTo>
                      <a:pt x="59" y="230"/>
                    </a:moveTo>
                    <a:lnTo>
                      <a:pt x="59" y="230"/>
                    </a:lnTo>
                    <a:close/>
                    <a:moveTo>
                      <a:pt x="12" y="12"/>
                    </a:moveTo>
                    <a:lnTo>
                      <a:pt x="13" y="9"/>
                    </a:lnTo>
                    <a:lnTo>
                      <a:pt x="13" y="9"/>
                    </a:lnTo>
                    <a:lnTo>
                      <a:pt x="13" y="8"/>
                    </a:lnTo>
                    <a:lnTo>
                      <a:pt x="13" y="7"/>
                    </a:lnTo>
                    <a:cubicBezTo>
                      <a:pt x="14" y="5"/>
                      <a:pt x="15" y="2"/>
                      <a:pt x="16" y="0"/>
                    </a:cubicBezTo>
                    <a:cubicBezTo>
                      <a:pt x="15" y="2"/>
                      <a:pt x="14" y="5"/>
                      <a:pt x="13" y="7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48" name="Freeform 90"/>
              <p:cNvSpPr>
                <a:spLocks noEditPoints="1"/>
              </p:cNvSpPr>
              <p:nvPr/>
            </p:nvSpPr>
            <p:spPr bwMode="auto">
              <a:xfrm rot="17639318" flipH="1">
                <a:off x="3873763" y="4209407"/>
                <a:ext cx="37960" cy="81545"/>
              </a:xfrm>
              <a:custGeom>
                <a:avLst/>
                <a:gdLst/>
                <a:ahLst/>
                <a:cxnLst>
                  <a:cxn ang="0">
                    <a:pos x="156" y="14"/>
                  </a:cxn>
                  <a:cxn ang="0">
                    <a:pos x="122" y="29"/>
                  </a:cxn>
                  <a:cxn ang="0">
                    <a:pos x="29" y="124"/>
                  </a:cxn>
                  <a:cxn ang="0">
                    <a:pos x="5" y="256"/>
                  </a:cxn>
                  <a:cxn ang="0">
                    <a:pos x="48" y="362"/>
                  </a:cxn>
                  <a:cxn ang="0">
                    <a:pos x="62" y="377"/>
                  </a:cxn>
                  <a:cxn ang="0">
                    <a:pos x="7" y="256"/>
                  </a:cxn>
                  <a:cxn ang="0">
                    <a:pos x="31" y="124"/>
                  </a:cxn>
                  <a:cxn ang="0">
                    <a:pos x="123" y="30"/>
                  </a:cxn>
                  <a:cxn ang="0">
                    <a:pos x="245" y="5"/>
                  </a:cxn>
                  <a:cxn ang="0">
                    <a:pos x="254" y="4"/>
                  </a:cxn>
                  <a:cxn ang="0">
                    <a:pos x="156" y="14"/>
                  </a:cxn>
                  <a:cxn ang="0">
                    <a:pos x="48" y="362"/>
                  </a:cxn>
                  <a:cxn ang="0">
                    <a:pos x="61" y="378"/>
                  </a:cxn>
                  <a:cxn ang="0">
                    <a:pos x="41" y="357"/>
                  </a:cxn>
                  <a:cxn ang="0">
                    <a:pos x="45" y="359"/>
                  </a:cxn>
                  <a:cxn ang="0">
                    <a:pos x="48" y="362"/>
                  </a:cxn>
                  <a:cxn ang="0">
                    <a:pos x="245" y="5"/>
                  </a:cxn>
                  <a:cxn ang="0">
                    <a:pos x="253" y="5"/>
                  </a:cxn>
                  <a:cxn ang="0">
                    <a:pos x="240" y="5"/>
                  </a:cxn>
                  <a:cxn ang="0">
                    <a:pos x="245" y="5"/>
                  </a:cxn>
                </a:cxnLst>
                <a:rect l="0" t="0" r="r" b="b"/>
                <a:pathLst>
                  <a:path w="254" h="378">
                    <a:moveTo>
                      <a:pt x="156" y="14"/>
                    </a:moveTo>
                    <a:cubicBezTo>
                      <a:pt x="144" y="18"/>
                      <a:pt x="134" y="23"/>
                      <a:pt x="122" y="29"/>
                    </a:cubicBezTo>
                    <a:cubicBezTo>
                      <a:pt x="79" y="53"/>
                      <a:pt x="52" y="80"/>
                      <a:pt x="29" y="124"/>
                    </a:cubicBezTo>
                    <a:cubicBezTo>
                      <a:pt x="7" y="168"/>
                      <a:pt x="0" y="207"/>
                      <a:pt x="5" y="256"/>
                    </a:cubicBezTo>
                    <a:cubicBezTo>
                      <a:pt x="12" y="298"/>
                      <a:pt x="24" y="330"/>
                      <a:pt x="48" y="362"/>
                    </a:cubicBezTo>
                    <a:lnTo>
                      <a:pt x="62" y="377"/>
                    </a:lnTo>
                    <a:cubicBezTo>
                      <a:pt x="30" y="340"/>
                      <a:pt x="14" y="305"/>
                      <a:pt x="7" y="256"/>
                    </a:cubicBezTo>
                    <a:cubicBezTo>
                      <a:pt x="2" y="207"/>
                      <a:pt x="9" y="169"/>
                      <a:pt x="31" y="124"/>
                    </a:cubicBezTo>
                    <a:cubicBezTo>
                      <a:pt x="54" y="82"/>
                      <a:pt x="81" y="54"/>
                      <a:pt x="123" y="30"/>
                    </a:cubicBezTo>
                    <a:cubicBezTo>
                      <a:pt x="165" y="10"/>
                      <a:pt x="200" y="2"/>
                      <a:pt x="245" y="5"/>
                    </a:cubicBezTo>
                    <a:lnTo>
                      <a:pt x="254" y="4"/>
                    </a:lnTo>
                    <a:cubicBezTo>
                      <a:pt x="218" y="0"/>
                      <a:pt x="191" y="3"/>
                      <a:pt x="156" y="14"/>
                    </a:cubicBezTo>
                    <a:close/>
                    <a:moveTo>
                      <a:pt x="48" y="362"/>
                    </a:moveTo>
                    <a:cubicBezTo>
                      <a:pt x="52" y="368"/>
                      <a:pt x="56" y="373"/>
                      <a:pt x="61" y="378"/>
                    </a:cubicBezTo>
                    <a:cubicBezTo>
                      <a:pt x="54" y="371"/>
                      <a:pt x="47" y="364"/>
                      <a:pt x="41" y="357"/>
                    </a:cubicBezTo>
                    <a:cubicBezTo>
                      <a:pt x="42" y="358"/>
                      <a:pt x="45" y="359"/>
                      <a:pt x="45" y="359"/>
                    </a:cubicBezTo>
                    <a:lnTo>
                      <a:pt x="48" y="362"/>
                    </a:lnTo>
                    <a:close/>
                    <a:moveTo>
                      <a:pt x="245" y="5"/>
                    </a:moveTo>
                    <a:lnTo>
                      <a:pt x="253" y="5"/>
                    </a:lnTo>
                    <a:cubicBezTo>
                      <a:pt x="250" y="6"/>
                      <a:pt x="243" y="5"/>
                      <a:pt x="240" y="5"/>
                    </a:cubicBezTo>
                    <a:lnTo>
                      <a:pt x="24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49" name="Freeform 91"/>
              <p:cNvSpPr>
                <a:spLocks noEditPoints="1"/>
              </p:cNvSpPr>
              <p:nvPr/>
            </p:nvSpPr>
            <p:spPr bwMode="auto">
              <a:xfrm rot="17639318" flipH="1">
                <a:off x="3771008" y="4041306"/>
                <a:ext cx="125128" cy="265021"/>
              </a:xfrm>
              <a:custGeom>
                <a:avLst/>
                <a:gdLst/>
                <a:ahLst/>
                <a:cxnLst>
                  <a:cxn ang="0">
                    <a:pos x="467" y="866"/>
                  </a:cxn>
                  <a:cxn ang="0">
                    <a:pos x="440" y="870"/>
                  </a:cxn>
                  <a:cxn ang="0">
                    <a:pos x="436" y="871"/>
                  </a:cxn>
                  <a:cxn ang="0">
                    <a:pos x="435" y="871"/>
                  </a:cxn>
                  <a:cxn ang="0">
                    <a:pos x="470" y="866"/>
                  </a:cxn>
                  <a:cxn ang="0">
                    <a:pos x="762" y="842"/>
                  </a:cxn>
                  <a:cxn ang="0">
                    <a:pos x="545" y="867"/>
                  </a:cxn>
                  <a:cxn ang="0">
                    <a:pos x="594" y="1071"/>
                  </a:cxn>
                  <a:cxn ang="0">
                    <a:pos x="595" y="1087"/>
                  </a:cxn>
                  <a:cxn ang="0">
                    <a:pos x="626" y="1152"/>
                  </a:cxn>
                  <a:cxn ang="0">
                    <a:pos x="655" y="1189"/>
                  </a:cxn>
                  <a:cxn ang="0">
                    <a:pos x="658" y="1201"/>
                  </a:cxn>
                  <a:cxn ang="0">
                    <a:pos x="653" y="1199"/>
                  </a:cxn>
                  <a:cxn ang="0">
                    <a:pos x="601" y="1115"/>
                  </a:cxn>
                  <a:cxn ang="0">
                    <a:pos x="633" y="1190"/>
                  </a:cxn>
                  <a:cxn ang="0">
                    <a:pos x="405" y="877"/>
                  </a:cxn>
                  <a:cxn ang="0">
                    <a:pos x="195" y="351"/>
                  </a:cxn>
                  <a:cxn ang="0">
                    <a:pos x="139" y="172"/>
                  </a:cxn>
                  <a:cxn ang="0">
                    <a:pos x="432" y="728"/>
                  </a:cxn>
                  <a:cxn ang="0">
                    <a:pos x="841" y="836"/>
                  </a:cxn>
                  <a:cxn ang="0">
                    <a:pos x="826" y="836"/>
                  </a:cxn>
                  <a:cxn ang="0">
                    <a:pos x="826" y="836"/>
                  </a:cxn>
                  <a:cxn ang="0">
                    <a:pos x="831" y="836"/>
                  </a:cxn>
                  <a:cxn ang="0">
                    <a:pos x="762" y="842"/>
                  </a:cxn>
                  <a:cxn ang="0">
                    <a:pos x="594" y="1071"/>
                  </a:cxn>
                  <a:cxn ang="0">
                    <a:pos x="639" y="1193"/>
                  </a:cxn>
                  <a:cxn ang="0">
                    <a:pos x="650" y="1207"/>
                  </a:cxn>
                  <a:cxn ang="0">
                    <a:pos x="635" y="1192"/>
                  </a:cxn>
                  <a:cxn ang="0">
                    <a:pos x="114" y="131"/>
                  </a:cxn>
                  <a:cxn ang="0">
                    <a:pos x="17" y="14"/>
                  </a:cxn>
                  <a:cxn ang="0">
                    <a:pos x="17" y="13"/>
                  </a:cxn>
                  <a:cxn ang="0">
                    <a:pos x="69" y="59"/>
                  </a:cxn>
                  <a:cxn ang="0">
                    <a:pos x="114" y="131"/>
                  </a:cxn>
                  <a:cxn ang="0">
                    <a:pos x="48" y="31"/>
                  </a:cxn>
                  <a:cxn ang="0">
                    <a:pos x="69" y="59"/>
                  </a:cxn>
                  <a:cxn ang="0">
                    <a:pos x="632" y="962"/>
                  </a:cxn>
                  <a:cxn ang="0">
                    <a:pos x="606" y="1086"/>
                  </a:cxn>
                  <a:cxn ang="0">
                    <a:pos x="618" y="1120"/>
                  </a:cxn>
                  <a:cxn ang="0">
                    <a:pos x="638" y="965"/>
                  </a:cxn>
                  <a:cxn ang="0">
                    <a:pos x="632" y="962"/>
                  </a:cxn>
                  <a:cxn ang="0">
                    <a:pos x="608" y="1085"/>
                  </a:cxn>
                  <a:cxn ang="0">
                    <a:pos x="672" y="1170"/>
                  </a:cxn>
                  <a:cxn ang="0">
                    <a:pos x="629" y="1121"/>
                  </a:cxn>
                  <a:cxn ang="0">
                    <a:pos x="659" y="976"/>
                  </a:cxn>
                  <a:cxn ang="0">
                    <a:pos x="731" y="898"/>
                  </a:cxn>
                  <a:cxn ang="0">
                    <a:pos x="683" y="1179"/>
                  </a:cxn>
                  <a:cxn ang="0">
                    <a:pos x="609" y="1038"/>
                  </a:cxn>
                  <a:cxn ang="0">
                    <a:pos x="618" y="1121"/>
                  </a:cxn>
                  <a:cxn ang="0">
                    <a:pos x="656" y="1190"/>
                  </a:cxn>
                  <a:cxn ang="0">
                    <a:pos x="656" y="1191"/>
                  </a:cxn>
                  <a:cxn ang="0">
                    <a:pos x="471" y="874"/>
                  </a:cxn>
                  <a:cxn ang="0">
                    <a:pos x="467" y="866"/>
                  </a:cxn>
                  <a:cxn ang="0">
                    <a:pos x="311" y="512"/>
                  </a:cxn>
                  <a:cxn ang="0">
                    <a:pos x="262" y="407"/>
                  </a:cxn>
                  <a:cxn ang="0">
                    <a:pos x="658" y="1201"/>
                  </a:cxn>
                  <a:cxn ang="0">
                    <a:pos x="650" y="1208"/>
                  </a:cxn>
                </a:cxnLst>
                <a:rect l="0" t="0" r="r" b="b"/>
                <a:pathLst>
                  <a:path w="841" h="1208">
                    <a:moveTo>
                      <a:pt x="467" y="866"/>
                    </a:moveTo>
                    <a:lnTo>
                      <a:pt x="467" y="866"/>
                    </a:lnTo>
                    <a:lnTo>
                      <a:pt x="467" y="866"/>
                    </a:lnTo>
                    <a:lnTo>
                      <a:pt x="467" y="866"/>
                    </a:lnTo>
                    <a:close/>
                    <a:moveTo>
                      <a:pt x="442" y="870"/>
                    </a:moveTo>
                    <a:lnTo>
                      <a:pt x="441" y="870"/>
                    </a:lnTo>
                    <a:lnTo>
                      <a:pt x="441" y="870"/>
                    </a:lnTo>
                    <a:lnTo>
                      <a:pt x="440" y="870"/>
                    </a:lnTo>
                    <a:lnTo>
                      <a:pt x="439" y="870"/>
                    </a:lnTo>
                    <a:lnTo>
                      <a:pt x="438" y="871"/>
                    </a:lnTo>
                    <a:lnTo>
                      <a:pt x="437" y="871"/>
                    </a:lnTo>
                    <a:lnTo>
                      <a:pt x="436" y="871"/>
                    </a:lnTo>
                    <a:lnTo>
                      <a:pt x="436" y="871"/>
                    </a:lnTo>
                    <a:lnTo>
                      <a:pt x="436" y="871"/>
                    </a:lnTo>
                    <a:lnTo>
                      <a:pt x="435" y="871"/>
                    </a:lnTo>
                    <a:lnTo>
                      <a:pt x="435" y="871"/>
                    </a:lnTo>
                    <a:lnTo>
                      <a:pt x="435" y="871"/>
                    </a:lnTo>
                    <a:moveTo>
                      <a:pt x="469" y="866"/>
                    </a:moveTo>
                    <a:lnTo>
                      <a:pt x="469" y="866"/>
                    </a:lnTo>
                    <a:lnTo>
                      <a:pt x="470" y="866"/>
                    </a:lnTo>
                    <a:lnTo>
                      <a:pt x="469" y="866"/>
                    </a:lnTo>
                    <a:close/>
                    <a:moveTo>
                      <a:pt x="490" y="863"/>
                    </a:moveTo>
                    <a:cubicBezTo>
                      <a:pt x="591" y="849"/>
                      <a:pt x="688" y="839"/>
                      <a:pt x="789" y="837"/>
                    </a:cubicBezTo>
                    <a:cubicBezTo>
                      <a:pt x="780" y="838"/>
                      <a:pt x="771" y="840"/>
                      <a:pt x="762" y="842"/>
                    </a:cubicBezTo>
                    <a:cubicBezTo>
                      <a:pt x="718" y="843"/>
                      <a:pt x="651" y="850"/>
                      <a:pt x="651" y="850"/>
                    </a:cubicBezTo>
                    <a:cubicBezTo>
                      <a:pt x="604" y="853"/>
                      <a:pt x="518" y="861"/>
                      <a:pt x="490" y="864"/>
                    </a:cubicBezTo>
                    <a:lnTo>
                      <a:pt x="492" y="868"/>
                    </a:lnTo>
                    <a:cubicBezTo>
                      <a:pt x="518" y="867"/>
                      <a:pt x="545" y="867"/>
                      <a:pt x="545" y="867"/>
                    </a:cubicBezTo>
                    <a:cubicBezTo>
                      <a:pt x="535" y="868"/>
                      <a:pt x="515" y="872"/>
                      <a:pt x="515" y="872"/>
                    </a:cubicBezTo>
                    <a:cubicBezTo>
                      <a:pt x="509" y="872"/>
                      <a:pt x="502" y="872"/>
                      <a:pt x="494" y="873"/>
                    </a:cubicBezTo>
                    <a:cubicBezTo>
                      <a:pt x="518" y="928"/>
                      <a:pt x="544" y="982"/>
                      <a:pt x="573" y="1035"/>
                    </a:cubicBezTo>
                    <a:cubicBezTo>
                      <a:pt x="580" y="1047"/>
                      <a:pt x="587" y="1059"/>
                      <a:pt x="594" y="1071"/>
                    </a:cubicBezTo>
                    <a:cubicBezTo>
                      <a:pt x="594" y="1076"/>
                      <a:pt x="595" y="1081"/>
                      <a:pt x="595" y="1087"/>
                    </a:cubicBezTo>
                    <a:cubicBezTo>
                      <a:pt x="597" y="1097"/>
                      <a:pt x="599" y="1106"/>
                      <a:pt x="601" y="1115"/>
                    </a:cubicBezTo>
                    <a:lnTo>
                      <a:pt x="601" y="1115"/>
                    </a:lnTo>
                    <a:cubicBezTo>
                      <a:pt x="599" y="1106"/>
                      <a:pt x="597" y="1097"/>
                      <a:pt x="595" y="1087"/>
                    </a:cubicBezTo>
                    <a:cubicBezTo>
                      <a:pt x="595" y="1081"/>
                      <a:pt x="594" y="1076"/>
                      <a:pt x="594" y="1071"/>
                    </a:cubicBezTo>
                    <a:cubicBezTo>
                      <a:pt x="598" y="1077"/>
                      <a:pt x="602" y="1084"/>
                      <a:pt x="606" y="1090"/>
                    </a:cubicBezTo>
                    <a:cubicBezTo>
                      <a:pt x="609" y="1110"/>
                      <a:pt x="614" y="1128"/>
                      <a:pt x="621" y="1145"/>
                    </a:cubicBezTo>
                    <a:lnTo>
                      <a:pt x="626" y="1152"/>
                    </a:lnTo>
                    <a:cubicBezTo>
                      <a:pt x="618" y="1134"/>
                      <a:pt x="612" y="1115"/>
                      <a:pt x="609" y="1093"/>
                    </a:cubicBezTo>
                    <a:lnTo>
                      <a:pt x="609" y="1094"/>
                    </a:lnTo>
                    <a:cubicBezTo>
                      <a:pt x="613" y="1116"/>
                      <a:pt x="618" y="1135"/>
                      <a:pt x="627" y="1153"/>
                    </a:cubicBezTo>
                    <a:cubicBezTo>
                      <a:pt x="636" y="1166"/>
                      <a:pt x="645" y="1178"/>
                      <a:pt x="655" y="1189"/>
                    </a:cubicBezTo>
                    <a:lnTo>
                      <a:pt x="656" y="1190"/>
                    </a:lnTo>
                    <a:cubicBezTo>
                      <a:pt x="646" y="1179"/>
                      <a:pt x="636" y="1166"/>
                      <a:pt x="627" y="1153"/>
                    </a:cubicBezTo>
                    <a:cubicBezTo>
                      <a:pt x="635" y="1169"/>
                      <a:pt x="645" y="1185"/>
                      <a:pt x="658" y="1201"/>
                    </a:cubicBezTo>
                    <a:lnTo>
                      <a:pt x="658" y="1201"/>
                    </a:lnTo>
                    <a:cubicBezTo>
                      <a:pt x="644" y="1185"/>
                      <a:pt x="634" y="1169"/>
                      <a:pt x="626" y="1152"/>
                    </a:cubicBezTo>
                    <a:lnTo>
                      <a:pt x="621" y="1145"/>
                    </a:lnTo>
                    <a:cubicBezTo>
                      <a:pt x="629" y="1164"/>
                      <a:pt x="640" y="1181"/>
                      <a:pt x="654" y="1200"/>
                    </a:cubicBezTo>
                    <a:lnTo>
                      <a:pt x="653" y="1199"/>
                    </a:lnTo>
                    <a:lnTo>
                      <a:pt x="654" y="1200"/>
                    </a:lnTo>
                    <a:lnTo>
                      <a:pt x="657" y="1202"/>
                    </a:lnTo>
                    <a:cubicBezTo>
                      <a:pt x="652" y="1200"/>
                      <a:pt x="645" y="1197"/>
                      <a:pt x="639" y="1193"/>
                    </a:cubicBezTo>
                    <a:cubicBezTo>
                      <a:pt x="620" y="1169"/>
                      <a:pt x="608" y="1144"/>
                      <a:pt x="601" y="1115"/>
                    </a:cubicBezTo>
                    <a:lnTo>
                      <a:pt x="601" y="1115"/>
                    </a:lnTo>
                    <a:cubicBezTo>
                      <a:pt x="608" y="1144"/>
                      <a:pt x="620" y="1169"/>
                      <a:pt x="639" y="1193"/>
                    </a:cubicBezTo>
                    <a:lnTo>
                      <a:pt x="634" y="1191"/>
                    </a:lnTo>
                    <a:lnTo>
                      <a:pt x="633" y="1190"/>
                    </a:lnTo>
                    <a:cubicBezTo>
                      <a:pt x="633" y="1190"/>
                      <a:pt x="634" y="1191"/>
                      <a:pt x="634" y="1191"/>
                    </a:cubicBezTo>
                    <a:cubicBezTo>
                      <a:pt x="577" y="1127"/>
                      <a:pt x="539" y="1064"/>
                      <a:pt x="499" y="989"/>
                    </a:cubicBezTo>
                    <a:cubicBezTo>
                      <a:pt x="492" y="977"/>
                      <a:pt x="471" y="933"/>
                      <a:pt x="444" y="875"/>
                    </a:cubicBezTo>
                    <a:cubicBezTo>
                      <a:pt x="422" y="876"/>
                      <a:pt x="405" y="877"/>
                      <a:pt x="405" y="877"/>
                    </a:cubicBezTo>
                    <a:cubicBezTo>
                      <a:pt x="415" y="875"/>
                      <a:pt x="431" y="873"/>
                      <a:pt x="442" y="871"/>
                    </a:cubicBezTo>
                    <a:lnTo>
                      <a:pt x="442" y="870"/>
                    </a:lnTo>
                    <a:cubicBezTo>
                      <a:pt x="363" y="703"/>
                      <a:pt x="233" y="425"/>
                      <a:pt x="232" y="426"/>
                    </a:cubicBezTo>
                    <a:cubicBezTo>
                      <a:pt x="232" y="426"/>
                      <a:pt x="194" y="351"/>
                      <a:pt x="195" y="351"/>
                    </a:cubicBezTo>
                    <a:cubicBezTo>
                      <a:pt x="141" y="244"/>
                      <a:pt x="87" y="146"/>
                      <a:pt x="21" y="45"/>
                    </a:cubicBezTo>
                    <a:cubicBezTo>
                      <a:pt x="62" y="86"/>
                      <a:pt x="139" y="172"/>
                      <a:pt x="139" y="172"/>
                    </a:cubicBezTo>
                    <a:cubicBezTo>
                      <a:pt x="132" y="160"/>
                      <a:pt x="123" y="146"/>
                      <a:pt x="114" y="131"/>
                    </a:cubicBezTo>
                    <a:cubicBezTo>
                      <a:pt x="128" y="153"/>
                      <a:pt x="139" y="172"/>
                      <a:pt x="139" y="172"/>
                    </a:cubicBezTo>
                    <a:cubicBezTo>
                      <a:pt x="149" y="184"/>
                      <a:pt x="171" y="206"/>
                      <a:pt x="178" y="218"/>
                    </a:cubicBezTo>
                    <a:cubicBezTo>
                      <a:pt x="179" y="220"/>
                      <a:pt x="180" y="225"/>
                      <a:pt x="180" y="225"/>
                    </a:cubicBezTo>
                    <a:cubicBezTo>
                      <a:pt x="195" y="277"/>
                      <a:pt x="241" y="356"/>
                      <a:pt x="266" y="404"/>
                    </a:cubicBezTo>
                    <a:cubicBezTo>
                      <a:pt x="325" y="512"/>
                      <a:pt x="378" y="619"/>
                      <a:pt x="432" y="728"/>
                    </a:cubicBezTo>
                    <a:cubicBezTo>
                      <a:pt x="451" y="773"/>
                      <a:pt x="470" y="819"/>
                      <a:pt x="490" y="863"/>
                    </a:cubicBezTo>
                    <a:close/>
                    <a:moveTo>
                      <a:pt x="789" y="837"/>
                    </a:moveTo>
                    <a:lnTo>
                      <a:pt x="790" y="837"/>
                    </a:lnTo>
                    <a:cubicBezTo>
                      <a:pt x="806" y="835"/>
                      <a:pt x="822" y="835"/>
                      <a:pt x="841" y="836"/>
                    </a:cubicBezTo>
                    <a:lnTo>
                      <a:pt x="841" y="836"/>
                    </a:lnTo>
                    <a:cubicBezTo>
                      <a:pt x="823" y="835"/>
                      <a:pt x="805" y="835"/>
                      <a:pt x="789" y="837"/>
                    </a:cubicBezTo>
                    <a:close/>
                    <a:moveTo>
                      <a:pt x="790" y="837"/>
                    </a:moveTo>
                    <a:cubicBezTo>
                      <a:pt x="802" y="837"/>
                      <a:pt x="814" y="836"/>
                      <a:pt x="826" y="836"/>
                    </a:cubicBezTo>
                    <a:cubicBezTo>
                      <a:pt x="808" y="838"/>
                      <a:pt x="774" y="842"/>
                      <a:pt x="774" y="842"/>
                    </a:cubicBezTo>
                    <a:cubicBezTo>
                      <a:pt x="771" y="842"/>
                      <a:pt x="766" y="842"/>
                      <a:pt x="762" y="842"/>
                    </a:cubicBezTo>
                    <a:cubicBezTo>
                      <a:pt x="771" y="840"/>
                      <a:pt x="780" y="838"/>
                      <a:pt x="790" y="837"/>
                    </a:cubicBezTo>
                    <a:close/>
                    <a:moveTo>
                      <a:pt x="826" y="836"/>
                    </a:moveTo>
                    <a:lnTo>
                      <a:pt x="831" y="836"/>
                    </a:lnTo>
                    <a:lnTo>
                      <a:pt x="827" y="836"/>
                    </a:lnTo>
                    <a:lnTo>
                      <a:pt x="826" y="836"/>
                    </a:lnTo>
                    <a:close/>
                    <a:moveTo>
                      <a:pt x="831" y="836"/>
                    </a:moveTo>
                    <a:lnTo>
                      <a:pt x="841" y="836"/>
                    </a:lnTo>
                    <a:lnTo>
                      <a:pt x="841" y="836"/>
                    </a:lnTo>
                    <a:cubicBezTo>
                      <a:pt x="839" y="837"/>
                      <a:pt x="834" y="836"/>
                      <a:pt x="831" y="836"/>
                    </a:cubicBezTo>
                    <a:close/>
                    <a:moveTo>
                      <a:pt x="762" y="842"/>
                    </a:moveTo>
                    <a:cubicBezTo>
                      <a:pt x="745" y="846"/>
                      <a:pt x="729" y="853"/>
                      <a:pt x="711" y="862"/>
                    </a:cubicBezTo>
                    <a:cubicBezTo>
                      <a:pt x="669" y="886"/>
                      <a:pt x="642" y="913"/>
                      <a:pt x="619" y="956"/>
                    </a:cubicBezTo>
                    <a:cubicBezTo>
                      <a:pt x="599" y="995"/>
                      <a:pt x="592" y="1029"/>
                      <a:pt x="594" y="1071"/>
                    </a:cubicBezTo>
                    <a:lnTo>
                      <a:pt x="594" y="1071"/>
                    </a:lnTo>
                    <a:cubicBezTo>
                      <a:pt x="592" y="1029"/>
                      <a:pt x="599" y="995"/>
                      <a:pt x="619" y="955"/>
                    </a:cubicBezTo>
                    <a:cubicBezTo>
                      <a:pt x="642" y="913"/>
                      <a:pt x="669" y="886"/>
                      <a:pt x="711" y="862"/>
                    </a:cubicBezTo>
                    <a:cubicBezTo>
                      <a:pt x="729" y="853"/>
                      <a:pt x="745" y="846"/>
                      <a:pt x="762" y="842"/>
                    </a:cubicBezTo>
                    <a:close/>
                    <a:moveTo>
                      <a:pt x="639" y="1193"/>
                    </a:moveTo>
                    <a:cubicBezTo>
                      <a:pt x="642" y="1198"/>
                      <a:pt x="646" y="1202"/>
                      <a:pt x="650" y="1207"/>
                    </a:cubicBezTo>
                    <a:lnTo>
                      <a:pt x="650" y="1208"/>
                    </a:lnTo>
                    <a:cubicBezTo>
                      <a:pt x="646" y="1203"/>
                      <a:pt x="642" y="1198"/>
                      <a:pt x="639" y="1193"/>
                    </a:cubicBezTo>
                    <a:close/>
                    <a:moveTo>
                      <a:pt x="650" y="1207"/>
                    </a:moveTo>
                    <a:lnTo>
                      <a:pt x="650" y="1208"/>
                    </a:lnTo>
                    <a:cubicBezTo>
                      <a:pt x="645" y="1203"/>
                      <a:pt x="640" y="1197"/>
                      <a:pt x="635" y="1192"/>
                    </a:cubicBezTo>
                    <a:lnTo>
                      <a:pt x="650" y="1207"/>
                    </a:lnTo>
                    <a:close/>
                    <a:moveTo>
                      <a:pt x="635" y="1192"/>
                    </a:moveTo>
                    <a:lnTo>
                      <a:pt x="634" y="1191"/>
                    </a:lnTo>
                    <a:lnTo>
                      <a:pt x="634" y="1191"/>
                    </a:lnTo>
                    <a:lnTo>
                      <a:pt x="635" y="1192"/>
                    </a:lnTo>
                    <a:close/>
                    <a:moveTo>
                      <a:pt x="114" y="131"/>
                    </a:moveTo>
                    <a:cubicBezTo>
                      <a:pt x="92" y="97"/>
                      <a:pt x="69" y="62"/>
                      <a:pt x="69" y="62"/>
                    </a:cubicBezTo>
                    <a:cubicBezTo>
                      <a:pt x="65" y="58"/>
                      <a:pt x="17" y="14"/>
                      <a:pt x="17" y="14"/>
                    </a:cubicBezTo>
                    <a:cubicBezTo>
                      <a:pt x="17" y="14"/>
                      <a:pt x="13" y="11"/>
                      <a:pt x="13" y="11"/>
                    </a:cubicBezTo>
                    <a:cubicBezTo>
                      <a:pt x="13" y="11"/>
                      <a:pt x="17" y="14"/>
                      <a:pt x="17" y="14"/>
                    </a:cubicBezTo>
                    <a:lnTo>
                      <a:pt x="22" y="18"/>
                    </a:lnTo>
                    <a:lnTo>
                      <a:pt x="17" y="14"/>
                    </a:lnTo>
                    <a:cubicBezTo>
                      <a:pt x="17" y="14"/>
                      <a:pt x="0" y="0"/>
                      <a:pt x="0" y="0"/>
                    </a:cubicBezTo>
                    <a:cubicBezTo>
                      <a:pt x="2" y="1"/>
                      <a:pt x="17" y="13"/>
                      <a:pt x="17" y="13"/>
                    </a:cubicBezTo>
                    <a:cubicBezTo>
                      <a:pt x="32" y="26"/>
                      <a:pt x="47" y="38"/>
                      <a:pt x="62" y="51"/>
                    </a:cubicBezTo>
                    <a:lnTo>
                      <a:pt x="56" y="42"/>
                    </a:lnTo>
                    <a:cubicBezTo>
                      <a:pt x="57" y="45"/>
                      <a:pt x="59" y="48"/>
                      <a:pt x="62" y="51"/>
                    </a:cubicBezTo>
                    <a:lnTo>
                      <a:pt x="69" y="59"/>
                    </a:lnTo>
                    <a:lnTo>
                      <a:pt x="63" y="53"/>
                    </a:lnTo>
                    <a:cubicBezTo>
                      <a:pt x="69" y="59"/>
                      <a:pt x="78" y="71"/>
                      <a:pt x="78" y="71"/>
                    </a:cubicBezTo>
                    <a:cubicBezTo>
                      <a:pt x="75" y="68"/>
                      <a:pt x="69" y="62"/>
                      <a:pt x="69" y="62"/>
                    </a:cubicBezTo>
                    <a:cubicBezTo>
                      <a:pt x="82" y="80"/>
                      <a:pt x="99" y="108"/>
                      <a:pt x="114" y="131"/>
                    </a:cubicBezTo>
                    <a:close/>
                    <a:moveTo>
                      <a:pt x="56" y="42"/>
                    </a:moveTo>
                    <a:lnTo>
                      <a:pt x="48" y="31"/>
                    </a:lnTo>
                    <a:cubicBezTo>
                      <a:pt x="51" y="34"/>
                      <a:pt x="53" y="38"/>
                      <a:pt x="56" y="42"/>
                    </a:cubicBezTo>
                    <a:close/>
                    <a:moveTo>
                      <a:pt x="48" y="31"/>
                    </a:moveTo>
                    <a:lnTo>
                      <a:pt x="48" y="31"/>
                    </a:lnTo>
                    <a:close/>
                    <a:moveTo>
                      <a:pt x="69" y="59"/>
                    </a:moveTo>
                    <a:lnTo>
                      <a:pt x="69" y="59"/>
                    </a:lnTo>
                    <a:lnTo>
                      <a:pt x="69" y="59"/>
                    </a:lnTo>
                    <a:moveTo>
                      <a:pt x="606" y="1090"/>
                    </a:moveTo>
                    <a:lnTo>
                      <a:pt x="609" y="1093"/>
                    </a:lnTo>
                    <a:cubicBezTo>
                      <a:pt x="608" y="1091"/>
                      <a:pt x="608" y="1088"/>
                      <a:pt x="608" y="1085"/>
                    </a:cubicBezTo>
                    <a:cubicBezTo>
                      <a:pt x="604" y="1039"/>
                      <a:pt x="610" y="1004"/>
                      <a:pt x="632" y="962"/>
                    </a:cubicBezTo>
                    <a:cubicBezTo>
                      <a:pt x="632" y="962"/>
                      <a:pt x="633" y="960"/>
                      <a:pt x="633" y="960"/>
                    </a:cubicBezTo>
                    <a:cubicBezTo>
                      <a:pt x="652" y="925"/>
                      <a:pt x="672" y="904"/>
                      <a:pt x="705" y="882"/>
                    </a:cubicBezTo>
                    <a:cubicBezTo>
                      <a:pt x="671" y="904"/>
                      <a:pt x="650" y="926"/>
                      <a:pt x="630" y="962"/>
                    </a:cubicBezTo>
                    <a:cubicBezTo>
                      <a:pt x="609" y="1003"/>
                      <a:pt x="602" y="1039"/>
                      <a:pt x="606" y="1086"/>
                    </a:cubicBezTo>
                    <a:lnTo>
                      <a:pt x="606" y="1090"/>
                    </a:lnTo>
                    <a:close/>
                    <a:moveTo>
                      <a:pt x="609" y="1094"/>
                    </a:moveTo>
                    <a:lnTo>
                      <a:pt x="612" y="1099"/>
                    </a:lnTo>
                    <a:cubicBezTo>
                      <a:pt x="614" y="1106"/>
                      <a:pt x="616" y="1113"/>
                      <a:pt x="618" y="1120"/>
                    </a:cubicBezTo>
                    <a:cubicBezTo>
                      <a:pt x="616" y="1113"/>
                      <a:pt x="614" y="1106"/>
                      <a:pt x="613" y="1099"/>
                    </a:cubicBezTo>
                    <a:cubicBezTo>
                      <a:pt x="618" y="1106"/>
                      <a:pt x="623" y="1114"/>
                      <a:pt x="629" y="1121"/>
                    </a:cubicBezTo>
                    <a:cubicBezTo>
                      <a:pt x="625" y="1110"/>
                      <a:pt x="622" y="1097"/>
                      <a:pt x="620" y="1084"/>
                    </a:cubicBezTo>
                    <a:cubicBezTo>
                      <a:pt x="614" y="1040"/>
                      <a:pt x="619" y="1006"/>
                      <a:pt x="638" y="965"/>
                    </a:cubicBezTo>
                    <a:cubicBezTo>
                      <a:pt x="658" y="926"/>
                      <a:pt x="682" y="901"/>
                      <a:pt x="721" y="878"/>
                    </a:cubicBezTo>
                    <a:cubicBezTo>
                      <a:pt x="737" y="869"/>
                      <a:pt x="751" y="864"/>
                      <a:pt x="769" y="859"/>
                    </a:cubicBezTo>
                    <a:cubicBezTo>
                      <a:pt x="751" y="863"/>
                      <a:pt x="737" y="868"/>
                      <a:pt x="720" y="877"/>
                    </a:cubicBezTo>
                    <a:cubicBezTo>
                      <a:pt x="680" y="898"/>
                      <a:pt x="654" y="923"/>
                      <a:pt x="632" y="962"/>
                    </a:cubicBezTo>
                    <a:cubicBezTo>
                      <a:pt x="632" y="963"/>
                      <a:pt x="629" y="968"/>
                      <a:pt x="629" y="968"/>
                    </a:cubicBezTo>
                    <a:cubicBezTo>
                      <a:pt x="626" y="975"/>
                      <a:pt x="623" y="981"/>
                      <a:pt x="621" y="988"/>
                    </a:cubicBezTo>
                    <a:cubicBezTo>
                      <a:pt x="622" y="984"/>
                      <a:pt x="624" y="980"/>
                      <a:pt x="625" y="977"/>
                    </a:cubicBezTo>
                    <a:cubicBezTo>
                      <a:pt x="609" y="1014"/>
                      <a:pt x="604" y="1045"/>
                      <a:pt x="608" y="1085"/>
                    </a:cubicBezTo>
                    <a:cubicBezTo>
                      <a:pt x="608" y="1088"/>
                      <a:pt x="609" y="1091"/>
                      <a:pt x="609" y="1094"/>
                    </a:cubicBezTo>
                    <a:close/>
                    <a:moveTo>
                      <a:pt x="629" y="1121"/>
                    </a:moveTo>
                    <a:cubicBezTo>
                      <a:pt x="642" y="1138"/>
                      <a:pt x="656" y="1153"/>
                      <a:pt x="671" y="1170"/>
                    </a:cubicBezTo>
                    <a:lnTo>
                      <a:pt x="672" y="1170"/>
                    </a:lnTo>
                    <a:cubicBezTo>
                      <a:pt x="675" y="1174"/>
                      <a:pt x="678" y="1177"/>
                      <a:pt x="681" y="1181"/>
                    </a:cubicBezTo>
                    <a:cubicBezTo>
                      <a:pt x="678" y="1179"/>
                      <a:pt x="675" y="1176"/>
                      <a:pt x="673" y="1173"/>
                    </a:cubicBezTo>
                    <a:cubicBezTo>
                      <a:pt x="671" y="1179"/>
                      <a:pt x="671" y="1183"/>
                      <a:pt x="671" y="1189"/>
                    </a:cubicBezTo>
                    <a:cubicBezTo>
                      <a:pt x="651" y="1167"/>
                      <a:pt x="638" y="1146"/>
                      <a:pt x="629" y="1121"/>
                    </a:cubicBezTo>
                    <a:close/>
                    <a:moveTo>
                      <a:pt x="672" y="1170"/>
                    </a:moveTo>
                    <a:cubicBezTo>
                      <a:pt x="675" y="1172"/>
                      <a:pt x="683" y="1178"/>
                      <a:pt x="683" y="1179"/>
                    </a:cubicBezTo>
                    <a:cubicBezTo>
                      <a:pt x="658" y="1148"/>
                      <a:pt x="645" y="1120"/>
                      <a:pt x="639" y="1081"/>
                    </a:cubicBezTo>
                    <a:cubicBezTo>
                      <a:pt x="635" y="1042"/>
                      <a:pt x="641" y="1012"/>
                      <a:pt x="659" y="976"/>
                    </a:cubicBezTo>
                    <a:cubicBezTo>
                      <a:pt x="677" y="942"/>
                      <a:pt x="699" y="920"/>
                      <a:pt x="733" y="901"/>
                    </a:cubicBezTo>
                    <a:cubicBezTo>
                      <a:pt x="768" y="884"/>
                      <a:pt x="797" y="878"/>
                      <a:pt x="836" y="882"/>
                    </a:cubicBezTo>
                    <a:cubicBezTo>
                      <a:pt x="836" y="882"/>
                      <a:pt x="837" y="877"/>
                      <a:pt x="837" y="877"/>
                    </a:cubicBezTo>
                    <a:cubicBezTo>
                      <a:pt x="797" y="874"/>
                      <a:pt x="767" y="879"/>
                      <a:pt x="731" y="898"/>
                    </a:cubicBezTo>
                    <a:cubicBezTo>
                      <a:pt x="696" y="917"/>
                      <a:pt x="674" y="939"/>
                      <a:pt x="655" y="974"/>
                    </a:cubicBezTo>
                    <a:cubicBezTo>
                      <a:pt x="637" y="1011"/>
                      <a:pt x="632" y="1041"/>
                      <a:pt x="636" y="1082"/>
                    </a:cubicBezTo>
                    <a:cubicBezTo>
                      <a:pt x="641" y="1117"/>
                      <a:pt x="652" y="1143"/>
                      <a:pt x="672" y="1170"/>
                    </a:cubicBezTo>
                    <a:close/>
                    <a:moveTo>
                      <a:pt x="683" y="1179"/>
                    </a:moveTo>
                    <a:lnTo>
                      <a:pt x="683" y="1179"/>
                    </a:lnTo>
                    <a:close/>
                    <a:moveTo>
                      <a:pt x="609" y="1038"/>
                    </a:moveTo>
                    <a:cubicBezTo>
                      <a:pt x="608" y="1049"/>
                      <a:pt x="608" y="1061"/>
                      <a:pt x="609" y="1074"/>
                    </a:cubicBezTo>
                    <a:cubicBezTo>
                      <a:pt x="608" y="1061"/>
                      <a:pt x="608" y="1049"/>
                      <a:pt x="609" y="1038"/>
                    </a:cubicBezTo>
                    <a:close/>
                    <a:moveTo>
                      <a:pt x="618" y="1120"/>
                    </a:moveTo>
                    <a:lnTo>
                      <a:pt x="618" y="1121"/>
                    </a:lnTo>
                    <a:lnTo>
                      <a:pt x="618" y="1120"/>
                    </a:lnTo>
                    <a:close/>
                    <a:moveTo>
                      <a:pt x="618" y="1121"/>
                    </a:moveTo>
                    <a:cubicBezTo>
                      <a:pt x="626" y="1146"/>
                      <a:pt x="637" y="1168"/>
                      <a:pt x="655" y="1189"/>
                    </a:cubicBezTo>
                    <a:lnTo>
                      <a:pt x="656" y="1191"/>
                    </a:lnTo>
                    <a:cubicBezTo>
                      <a:pt x="638" y="1168"/>
                      <a:pt x="626" y="1147"/>
                      <a:pt x="618" y="1121"/>
                    </a:cubicBezTo>
                    <a:close/>
                    <a:moveTo>
                      <a:pt x="656" y="1190"/>
                    </a:moveTo>
                    <a:cubicBezTo>
                      <a:pt x="657" y="1193"/>
                      <a:pt x="659" y="1195"/>
                      <a:pt x="661" y="1198"/>
                    </a:cubicBezTo>
                    <a:lnTo>
                      <a:pt x="660" y="1196"/>
                    </a:lnTo>
                    <a:lnTo>
                      <a:pt x="662" y="1198"/>
                    </a:lnTo>
                    <a:lnTo>
                      <a:pt x="656" y="1191"/>
                    </a:lnTo>
                    <a:lnTo>
                      <a:pt x="657" y="1192"/>
                    </a:lnTo>
                    <a:lnTo>
                      <a:pt x="656" y="1190"/>
                    </a:lnTo>
                    <a:close/>
                    <a:moveTo>
                      <a:pt x="518" y="970"/>
                    </a:moveTo>
                    <a:cubicBezTo>
                      <a:pt x="502" y="939"/>
                      <a:pt x="486" y="907"/>
                      <a:pt x="471" y="874"/>
                    </a:cubicBezTo>
                    <a:cubicBezTo>
                      <a:pt x="486" y="907"/>
                      <a:pt x="502" y="939"/>
                      <a:pt x="518" y="970"/>
                    </a:cubicBezTo>
                    <a:close/>
                    <a:moveTo>
                      <a:pt x="467" y="866"/>
                    </a:moveTo>
                    <a:cubicBezTo>
                      <a:pt x="422" y="771"/>
                      <a:pt x="380" y="671"/>
                      <a:pt x="340" y="579"/>
                    </a:cubicBezTo>
                    <a:cubicBezTo>
                      <a:pt x="380" y="671"/>
                      <a:pt x="422" y="771"/>
                      <a:pt x="467" y="866"/>
                    </a:cubicBezTo>
                    <a:close/>
                    <a:moveTo>
                      <a:pt x="337" y="572"/>
                    </a:moveTo>
                    <a:cubicBezTo>
                      <a:pt x="331" y="557"/>
                      <a:pt x="324" y="543"/>
                      <a:pt x="318" y="528"/>
                    </a:cubicBezTo>
                    <a:cubicBezTo>
                      <a:pt x="324" y="543"/>
                      <a:pt x="331" y="557"/>
                      <a:pt x="337" y="572"/>
                    </a:cubicBezTo>
                    <a:close/>
                    <a:moveTo>
                      <a:pt x="311" y="512"/>
                    </a:moveTo>
                    <a:cubicBezTo>
                      <a:pt x="304" y="498"/>
                      <a:pt x="298" y="484"/>
                      <a:pt x="292" y="470"/>
                    </a:cubicBezTo>
                    <a:cubicBezTo>
                      <a:pt x="298" y="484"/>
                      <a:pt x="304" y="498"/>
                      <a:pt x="311" y="512"/>
                    </a:cubicBezTo>
                    <a:close/>
                    <a:moveTo>
                      <a:pt x="287" y="459"/>
                    </a:moveTo>
                    <a:cubicBezTo>
                      <a:pt x="278" y="441"/>
                      <a:pt x="270" y="423"/>
                      <a:pt x="262" y="407"/>
                    </a:cubicBezTo>
                    <a:lnTo>
                      <a:pt x="259" y="399"/>
                    </a:lnTo>
                    <a:lnTo>
                      <a:pt x="262" y="407"/>
                    </a:lnTo>
                    <a:cubicBezTo>
                      <a:pt x="270" y="423"/>
                      <a:pt x="278" y="441"/>
                      <a:pt x="287" y="459"/>
                    </a:cubicBezTo>
                    <a:close/>
                    <a:moveTo>
                      <a:pt x="658" y="1201"/>
                    </a:moveTo>
                    <a:cubicBezTo>
                      <a:pt x="657" y="1201"/>
                      <a:pt x="656" y="1200"/>
                      <a:pt x="654" y="1200"/>
                    </a:cubicBezTo>
                    <a:lnTo>
                      <a:pt x="654" y="1200"/>
                    </a:lnTo>
                    <a:lnTo>
                      <a:pt x="658" y="1201"/>
                    </a:lnTo>
                    <a:close/>
                    <a:moveTo>
                      <a:pt x="650" y="1208"/>
                    </a:moveTo>
                    <a:lnTo>
                      <a:pt x="651" y="1208"/>
                    </a:lnTo>
                    <a:lnTo>
                      <a:pt x="651" y="1208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50" name="Freeform 92"/>
              <p:cNvSpPr>
                <a:spLocks/>
              </p:cNvSpPr>
              <p:nvPr/>
            </p:nvSpPr>
            <p:spPr bwMode="auto">
              <a:xfrm rot="17639318" flipH="1">
                <a:off x="3866145" y="4231090"/>
                <a:ext cx="30931" cy="24755"/>
              </a:xfrm>
              <a:custGeom>
                <a:avLst/>
                <a:gdLst/>
                <a:ahLst/>
                <a:cxnLst>
                  <a:cxn ang="0">
                    <a:pos x="206" y="5"/>
                  </a:cxn>
                  <a:cxn ang="0">
                    <a:pos x="207" y="4"/>
                  </a:cxn>
                  <a:cxn ang="0">
                    <a:pos x="86" y="26"/>
                  </a:cxn>
                  <a:cxn ang="0">
                    <a:pos x="0" y="111"/>
                  </a:cxn>
                  <a:cxn ang="0">
                    <a:pos x="86" y="27"/>
                  </a:cxn>
                  <a:cxn ang="0">
                    <a:pos x="155" y="6"/>
                  </a:cxn>
                  <a:cxn ang="0">
                    <a:pos x="206" y="4"/>
                  </a:cxn>
                  <a:cxn ang="0">
                    <a:pos x="206" y="5"/>
                  </a:cxn>
                </a:cxnLst>
                <a:rect l="0" t="0" r="r" b="b"/>
                <a:pathLst>
                  <a:path w="207" h="111">
                    <a:moveTo>
                      <a:pt x="206" y="5"/>
                    </a:moveTo>
                    <a:cubicBezTo>
                      <a:pt x="206" y="5"/>
                      <a:pt x="207" y="4"/>
                      <a:pt x="207" y="4"/>
                    </a:cubicBezTo>
                    <a:cubicBezTo>
                      <a:pt x="161" y="0"/>
                      <a:pt x="127" y="5"/>
                      <a:pt x="86" y="26"/>
                    </a:cubicBezTo>
                    <a:cubicBezTo>
                      <a:pt x="46" y="47"/>
                      <a:pt x="23" y="72"/>
                      <a:pt x="0" y="111"/>
                    </a:cubicBezTo>
                    <a:cubicBezTo>
                      <a:pt x="23" y="73"/>
                      <a:pt x="48" y="49"/>
                      <a:pt x="86" y="27"/>
                    </a:cubicBezTo>
                    <a:cubicBezTo>
                      <a:pt x="110" y="16"/>
                      <a:pt x="129" y="10"/>
                      <a:pt x="155" y="6"/>
                    </a:cubicBezTo>
                    <a:cubicBezTo>
                      <a:pt x="173" y="3"/>
                      <a:pt x="188" y="3"/>
                      <a:pt x="206" y="4"/>
                    </a:cubicBezTo>
                    <a:cubicBezTo>
                      <a:pt x="206" y="5"/>
                      <a:pt x="206" y="5"/>
                      <a:pt x="206" y="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51" name="Freeform 93"/>
              <p:cNvSpPr>
                <a:spLocks noEditPoints="1"/>
              </p:cNvSpPr>
              <p:nvPr/>
            </p:nvSpPr>
            <p:spPr bwMode="auto">
              <a:xfrm rot="17639318" flipH="1">
                <a:off x="3892864" y="4203674"/>
                <a:ext cx="4218" cy="1456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0" y="4"/>
                  </a:cxn>
                  <a:cxn ang="0">
                    <a:pos x="26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5"/>
                  </a:cxn>
                </a:cxnLst>
                <a:rect l="0" t="0" r="r" b="b"/>
                <a:pathLst>
                  <a:path w="26" h="5">
                    <a:moveTo>
                      <a:pt x="26" y="0"/>
                    </a:moveTo>
                    <a:lnTo>
                      <a:pt x="0" y="4"/>
                    </a:lnTo>
                    <a:cubicBezTo>
                      <a:pt x="8" y="3"/>
                      <a:pt x="18" y="0"/>
                      <a:pt x="26" y="0"/>
                    </a:cubicBezTo>
                    <a:close/>
                    <a:moveTo>
                      <a:pt x="0" y="4"/>
                    </a:moveTo>
                    <a:lnTo>
                      <a:pt x="0" y="4"/>
                    </a:lnTo>
                    <a:lnTo>
                      <a:pt x="0" y="5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52" name="Freeform 94"/>
              <p:cNvSpPr>
                <a:spLocks/>
              </p:cNvSpPr>
              <p:nvPr/>
            </p:nvSpPr>
            <p:spPr bwMode="auto">
              <a:xfrm rot="17639318" flipH="1">
                <a:off x="3893419" y="4201950"/>
                <a:ext cx="5624" cy="1456"/>
              </a:xfrm>
              <a:custGeom>
                <a:avLst/>
                <a:gdLst/>
                <a:ahLst/>
                <a:cxnLst>
                  <a:cxn ang="0">
                    <a:pos x="37" y="1"/>
                  </a:cxn>
                  <a:cxn ang="0">
                    <a:pos x="0" y="7"/>
                  </a:cxn>
                  <a:cxn ang="0">
                    <a:pos x="31" y="0"/>
                  </a:cxn>
                  <a:cxn ang="0">
                    <a:pos x="37" y="1"/>
                  </a:cxn>
                </a:cxnLst>
                <a:rect l="0" t="0" r="r" b="b"/>
                <a:pathLst>
                  <a:path w="37" h="7">
                    <a:moveTo>
                      <a:pt x="37" y="1"/>
                    </a:moveTo>
                    <a:cubicBezTo>
                      <a:pt x="24" y="4"/>
                      <a:pt x="13" y="7"/>
                      <a:pt x="0" y="7"/>
                    </a:cubicBezTo>
                    <a:cubicBezTo>
                      <a:pt x="10" y="5"/>
                      <a:pt x="31" y="0"/>
                      <a:pt x="31" y="0"/>
                    </a:cubicBezTo>
                    <a:cubicBezTo>
                      <a:pt x="33" y="1"/>
                      <a:pt x="37" y="1"/>
                      <a:pt x="37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53" name="Freeform 95"/>
              <p:cNvSpPr>
                <a:spLocks/>
              </p:cNvSpPr>
              <p:nvPr/>
            </p:nvSpPr>
            <p:spPr bwMode="auto">
              <a:xfrm rot="17639318" flipH="1">
                <a:off x="3912592" y="4166647"/>
                <a:ext cx="6327" cy="1456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40" y="0"/>
                  </a:cxn>
                  <a:cxn ang="0">
                    <a:pos x="8" y="7"/>
                  </a:cxn>
                  <a:cxn ang="0">
                    <a:pos x="0" y="7"/>
                  </a:cxn>
                  <a:cxn ang="0">
                    <a:pos x="31" y="0"/>
                  </a:cxn>
                </a:cxnLst>
                <a:rect l="0" t="0" r="r" b="b"/>
                <a:pathLst>
                  <a:path w="40" h="7">
                    <a:moveTo>
                      <a:pt x="31" y="0"/>
                    </a:moveTo>
                    <a:cubicBezTo>
                      <a:pt x="34" y="0"/>
                      <a:pt x="40" y="0"/>
                      <a:pt x="40" y="0"/>
                    </a:cubicBezTo>
                    <a:cubicBezTo>
                      <a:pt x="29" y="3"/>
                      <a:pt x="8" y="7"/>
                      <a:pt x="8" y="7"/>
                    </a:cubicBezTo>
                    <a:cubicBezTo>
                      <a:pt x="6" y="7"/>
                      <a:pt x="0" y="7"/>
                      <a:pt x="0" y="7"/>
                    </a:cubicBezTo>
                    <a:cubicBezTo>
                      <a:pt x="11" y="5"/>
                      <a:pt x="31" y="0"/>
                      <a:pt x="3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54" name="Freeform 96"/>
              <p:cNvSpPr>
                <a:spLocks/>
              </p:cNvSpPr>
              <p:nvPr/>
            </p:nvSpPr>
            <p:spPr bwMode="auto">
              <a:xfrm rot="17639318" flipH="1">
                <a:off x="3961222" y="4157111"/>
                <a:ext cx="4921" cy="1456"/>
              </a:xfrm>
              <a:custGeom>
                <a:avLst/>
                <a:gdLst/>
                <a:ahLst/>
                <a:cxnLst>
                  <a:cxn ang="0">
                    <a:pos x="19" y="3"/>
                  </a:cxn>
                  <a:cxn ang="0">
                    <a:pos x="29" y="0"/>
                  </a:cxn>
                  <a:cxn ang="0">
                    <a:pos x="2" y="13"/>
                  </a:cxn>
                  <a:cxn ang="0">
                    <a:pos x="0" y="13"/>
                  </a:cxn>
                  <a:cxn ang="0">
                    <a:pos x="19" y="3"/>
                  </a:cxn>
                </a:cxnLst>
                <a:rect l="0" t="0" r="r" b="b"/>
                <a:pathLst>
                  <a:path w="29" h="13">
                    <a:moveTo>
                      <a:pt x="19" y="3"/>
                    </a:moveTo>
                    <a:cubicBezTo>
                      <a:pt x="22" y="2"/>
                      <a:pt x="29" y="0"/>
                      <a:pt x="29" y="0"/>
                    </a:cubicBezTo>
                    <a:cubicBezTo>
                      <a:pt x="20" y="4"/>
                      <a:pt x="2" y="13"/>
                      <a:pt x="2" y="13"/>
                    </a:cubicBezTo>
                    <a:cubicBezTo>
                      <a:pt x="2" y="13"/>
                      <a:pt x="0" y="13"/>
                      <a:pt x="0" y="13"/>
                    </a:cubicBezTo>
                    <a:cubicBezTo>
                      <a:pt x="7" y="9"/>
                      <a:pt x="19" y="3"/>
                      <a:pt x="19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55" name="Freeform 97"/>
              <p:cNvSpPr>
                <a:spLocks noEditPoints="1"/>
              </p:cNvSpPr>
              <p:nvPr/>
            </p:nvSpPr>
            <p:spPr bwMode="auto">
              <a:xfrm rot="17639318" flipH="1">
                <a:off x="3880543" y="4281814"/>
                <a:ext cx="1406" cy="3641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0" y="0"/>
                  </a:cxn>
                  <a:cxn ang="0">
                    <a:pos x="10" y="13"/>
                  </a:cxn>
                  <a:cxn ang="0">
                    <a:pos x="6" y="6"/>
                  </a:cxn>
                  <a:cxn ang="0">
                    <a:pos x="7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10" y="13"/>
                  </a:cxn>
                  <a:cxn ang="0">
                    <a:pos x="10" y="13"/>
                  </a:cxn>
                </a:cxnLst>
                <a:rect l="0" t="0" r="r" b="b"/>
                <a:pathLst>
                  <a:path w="10" h="13">
                    <a:moveTo>
                      <a:pt x="6" y="6"/>
                    </a:moveTo>
                    <a:cubicBezTo>
                      <a:pt x="4" y="3"/>
                      <a:pt x="2" y="3"/>
                      <a:pt x="0" y="0"/>
                    </a:cubicBezTo>
                    <a:cubicBezTo>
                      <a:pt x="3" y="4"/>
                      <a:pt x="9" y="13"/>
                      <a:pt x="10" y="13"/>
                    </a:cubicBezTo>
                    <a:cubicBezTo>
                      <a:pt x="9" y="11"/>
                      <a:pt x="6" y="6"/>
                      <a:pt x="6" y="6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6" y="6"/>
                    </a:lnTo>
                    <a:cubicBezTo>
                      <a:pt x="6" y="6"/>
                      <a:pt x="6" y="6"/>
                      <a:pt x="6" y="6"/>
                    </a:cubicBezTo>
                    <a:close/>
                    <a:moveTo>
                      <a:pt x="10" y="13"/>
                    </a:moveTo>
                    <a:lnTo>
                      <a:pt x="10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56" name="Freeform 98"/>
              <p:cNvSpPr>
                <a:spLocks/>
              </p:cNvSpPr>
              <p:nvPr/>
            </p:nvSpPr>
            <p:spPr bwMode="auto">
              <a:xfrm rot="17639318" flipH="1">
                <a:off x="3798960" y="4093594"/>
                <a:ext cx="703" cy="2912"/>
              </a:xfrm>
              <a:custGeom>
                <a:avLst/>
                <a:gdLst/>
                <a:ahLst/>
                <a:cxnLst>
                  <a:cxn ang="0">
                    <a:pos x="5" y="15"/>
                  </a:cxn>
                  <a:cxn ang="0">
                    <a:pos x="3" y="1"/>
                  </a:cxn>
                  <a:cxn ang="0">
                    <a:pos x="0" y="0"/>
                  </a:cxn>
                  <a:cxn ang="0">
                    <a:pos x="5" y="15"/>
                  </a:cxn>
                </a:cxnLst>
                <a:rect l="0" t="0" r="r" b="b"/>
                <a:pathLst>
                  <a:path w="5" h="15">
                    <a:moveTo>
                      <a:pt x="5" y="15"/>
                    </a:moveTo>
                    <a:cubicBezTo>
                      <a:pt x="4" y="10"/>
                      <a:pt x="3" y="1"/>
                      <a:pt x="3" y="1"/>
                    </a:cubicBezTo>
                    <a:cubicBezTo>
                      <a:pt x="2" y="1"/>
                      <a:pt x="0" y="0"/>
                      <a:pt x="0" y="0"/>
                    </a:cubicBezTo>
                    <a:cubicBezTo>
                      <a:pt x="2" y="5"/>
                      <a:pt x="2" y="10"/>
                      <a:pt x="5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57" name="Freeform 99"/>
              <p:cNvSpPr>
                <a:spLocks noEditPoints="1"/>
              </p:cNvSpPr>
              <p:nvPr/>
            </p:nvSpPr>
            <p:spPr bwMode="auto">
              <a:xfrm rot="17639318" flipH="1">
                <a:off x="3913571" y="4247654"/>
                <a:ext cx="7732" cy="24026"/>
              </a:xfrm>
              <a:custGeom>
                <a:avLst/>
                <a:gdLst/>
                <a:ahLst/>
                <a:cxnLst>
                  <a:cxn ang="0">
                    <a:pos x="36" y="36"/>
                  </a:cxn>
                  <a:cxn ang="0">
                    <a:pos x="10" y="10"/>
                  </a:cxn>
                  <a:cxn ang="0">
                    <a:pos x="6" y="13"/>
                  </a:cxn>
                  <a:cxn ang="0">
                    <a:pos x="6" y="13"/>
                  </a:cxn>
                  <a:cxn ang="0">
                    <a:pos x="23" y="48"/>
                  </a:cxn>
                  <a:cxn ang="0">
                    <a:pos x="24" y="54"/>
                  </a:cxn>
                  <a:cxn ang="0">
                    <a:pos x="34" y="95"/>
                  </a:cxn>
                  <a:cxn ang="0">
                    <a:pos x="38" y="109"/>
                  </a:cxn>
                  <a:cxn ang="0">
                    <a:pos x="42" y="99"/>
                  </a:cxn>
                  <a:cxn ang="0">
                    <a:pos x="45" y="45"/>
                  </a:cxn>
                  <a:cxn ang="0">
                    <a:pos x="27" y="10"/>
                  </a:cxn>
                  <a:cxn ang="0">
                    <a:pos x="32" y="12"/>
                  </a:cxn>
                  <a:cxn ang="0">
                    <a:pos x="20" y="1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20" y="1"/>
                  </a:cxn>
                  <a:cxn ang="0">
                    <a:pos x="18" y="2"/>
                  </a:cxn>
                  <a:cxn ang="0">
                    <a:pos x="19" y="1"/>
                  </a:cxn>
                  <a:cxn ang="0">
                    <a:pos x="18" y="1"/>
                  </a:cxn>
                  <a:cxn ang="0">
                    <a:pos x="18" y="1"/>
                  </a:cxn>
                  <a:cxn ang="0">
                    <a:pos x="15" y="3"/>
                  </a:cxn>
                  <a:cxn ang="0">
                    <a:pos x="15" y="4"/>
                  </a:cxn>
                  <a:cxn ang="0">
                    <a:pos x="4" y="7"/>
                  </a:cxn>
                  <a:cxn ang="0">
                    <a:pos x="9" y="3"/>
                  </a:cxn>
                  <a:cxn ang="0">
                    <a:pos x="4" y="7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0" y="10"/>
                  </a:cxn>
                  <a:cxn ang="0">
                    <a:pos x="5" y="13"/>
                  </a:cxn>
                  <a:cxn ang="0">
                    <a:pos x="10" y="10"/>
                  </a:cxn>
                  <a:cxn ang="0">
                    <a:pos x="36" y="36"/>
                  </a:cxn>
                  <a:cxn ang="0">
                    <a:pos x="20" y="1"/>
                  </a:cxn>
                  <a:cxn ang="0">
                    <a:pos x="21" y="0"/>
                  </a:cxn>
                  <a:cxn ang="0">
                    <a:pos x="21" y="1"/>
                  </a:cxn>
                  <a:cxn ang="0">
                    <a:pos x="20" y="1"/>
                  </a:cxn>
                  <a:cxn ang="0">
                    <a:pos x="21" y="1"/>
                  </a:cxn>
                  <a:cxn ang="0">
                    <a:pos x="21" y="1"/>
                  </a:cxn>
                  <a:cxn ang="0">
                    <a:pos x="21" y="1"/>
                  </a:cxn>
                </a:cxnLst>
                <a:rect l="0" t="0" r="r" b="b"/>
                <a:pathLst>
                  <a:path w="49" h="112">
                    <a:moveTo>
                      <a:pt x="36" y="36"/>
                    </a:moveTo>
                    <a:cubicBezTo>
                      <a:pt x="29" y="24"/>
                      <a:pt x="22" y="17"/>
                      <a:pt x="10" y="10"/>
                    </a:cubicBezTo>
                    <a:cubicBezTo>
                      <a:pt x="9" y="11"/>
                      <a:pt x="6" y="12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16" y="24"/>
                      <a:pt x="21" y="34"/>
                      <a:pt x="23" y="48"/>
                    </a:cubicBezTo>
                    <a:cubicBezTo>
                      <a:pt x="23" y="48"/>
                      <a:pt x="24" y="54"/>
                      <a:pt x="24" y="54"/>
                    </a:cubicBezTo>
                    <a:cubicBezTo>
                      <a:pt x="31" y="68"/>
                      <a:pt x="33" y="79"/>
                      <a:pt x="34" y="95"/>
                    </a:cubicBezTo>
                    <a:cubicBezTo>
                      <a:pt x="34" y="98"/>
                      <a:pt x="33" y="112"/>
                      <a:pt x="38" y="109"/>
                    </a:cubicBezTo>
                    <a:cubicBezTo>
                      <a:pt x="39" y="108"/>
                      <a:pt x="42" y="99"/>
                      <a:pt x="42" y="99"/>
                    </a:cubicBezTo>
                    <a:cubicBezTo>
                      <a:pt x="47" y="79"/>
                      <a:pt x="49" y="65"/>
                      <a:pt x="45" y="45"/>
                    </a:cubicBezTo>
                    <a:cubicBezTo>
                      <a:pt x="41" y="31"/>
                      <a:pt x="36" y="21"/>
                      <a:pt x="27" y="10"/>
                    </a:cubicBezTo>
                    <a:cubicBezTo>
                      <a:pt x="28" y="10"/>
                      <a:pt x="30" y="13"/>
                      <a:pt x="32" y="12"/>
                    </a:cubicBezTo>
                    <a:cubicBezTo>
                      <a:pt x="31" y="11"/>
                      <a:pt x="20" y="1"/>
                      <a:pt x="20" y="1"/>
                    </a:cubicBezTo>
                    <a:cubicBezTo>
                      <a:pt x="20" y="1"/>
                      <a:pt x="18" y="2"/>
                      <a:pt x="18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8" y="2"/>
                      <a:pt x="18" y="2"/>
                    </a:cubicBezTo>
                    <a:lnTo>
                      <a:pt x="20" y="1"/>
                    </a:lnTo>
                    <a:cubicBezTo>
                      <a:pt x="20" y="1"/>
                      <a:pt x="19" y="1"/>
                      <a:pt x="18" y="2"/>
                    </a:cubicBezTo>
                    <a:cubicBezTo>
                      <a:pt x="18" y="2"/>
                      <a:pt x="19" y="1"/>
                      <a:pt x="19" y="1"/>
                    </a:cubicBezTo>
                    <a:cubicBezTo>
                      <a:pt x="9" y="6"/>
                      <a:pt x="20" y="1"/>
                      <a:pt x="18" y="1"/>
                    </a:cubicBezTo>
                    <a:cubicBezTo>
                      <a:pt x="18" y="1"/>
                      <a:pt x="19" y="1"/>
                      <a:pt x="18" y="1"/>
                    </a:cubicBezTo>
                    <a:cubicBezTo>
                      <a:pt x="18" y="1"/>
                      <a:pt x="15" y="3"/>
                      <a:pt x="15" y="3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1" y="5"/>
                      <a:pt x="5" y="6"/>
                      <a:pt x="4" y="7"/>
                    </a:cubicBezTo>
                    <a:cubicBezTo>
                      <a:pt x="6" y="6"/>
                      <a:pt x="9" y="3"/>
                      <a:pt x="9" y="3"/>
                    </a:cubicBezTo>
                    <a:cubicBezTo>
                      <a:pt x="7" y="4"/>
                      <a:pt x="4" y="7"/>
                      <a:pt x="4" y="7"/>
                    </a:cubicBezTo>
                    <a:cubicBezTo>
                      <a:pt x="4" y="7"/>
                      <a:pt x="4" y="8"/>
                      <a:pt x="4" y="8"/>
                    </a:cubicBezTo>
                    <a:cubicBezTo>
                      <a:pt x="3" y="8"/>
                      <a:pt x="4" y="8"/>
                      <a:pt x="4" y="8"/>
                    </a:cubicBezTo>
                    <a:cubicBezTo>
                      <a:pt x="2" y="8"/>
                      <a:pt x="0" y="10"/>
                      <a:pt x="0" y="10"/>
                    </a:cubicBezTo>
                    <a:cubicBezTo>
                      <a:pt x="2" y="11"/>
                      <a:pt x="5" y="13"/>
                      <a:pt x="5" y="13"/>
                    </a:cubicBezTo>
                    <a:cubicBezTo>
                      <a:pt x="6" y="13"/>
                      <a:pt x="10" y="10"/>
                      <a:pt x="10" y="10"/>
                    </a:cubicBezTo>
                    <a:cubicBezTo>
                      <a:pt x="22" y="17"/>
                      <a:pt x="29" y="24"/>
                      <a:pt x="36" y="36"/>
                    </a:cubicBezTo>
                    <a:close/>
                    <a:moveTo>
                      <a:pt x="20" y="1"/>
                    </a:moveTo>
                    <a:lnTo>
                      <a:pt x="21" y="0"/>
                    </a:lnTo>
                    <a:lnTo>
                      <a:pt x="21" y="1"/>
                    </a:lnTo>
                    <a:cubicBezTo>
                      <a:pt x="21" y="1"/>
                      <a:pt x="20" y="1"/>
                      <a:pt x="20" y="1"/>
                    </a:cubicBezTo>
                    <a:close/>
                    <a:moveTo>
                      <a:pt x="21" y="1"/>
                    </a:moveTo>
                    <a:lnTo>
                      <a:pt x="21" y="1"/>
                    </a:lnTo>
                    <a:lnTo>
                      <a:pt x="21" y="1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58" name="Freeform 101"/>
              <p:cNvSpPr>
                <a:spLocks/>
              </p:cNvSpPr>
              <p:nvPr/>
            </p:nvSpPr>
            <p:spPr bwMode="auto">
              <a:xfrm rot="17639318" flipH="1">
                <a:off x="3926716" y="4250012"/>
                <a:ext cx="703" cy="145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59" name="Freeform 102"/>
              <p:cNvSpPr>
                <a:spLocks noEditPoints="1"/>
              </p:cNvSpPr>
              <p:nvPr/>
            </p:nvSpPr>
            <p:spPr bwMode="auto">
              <a:xfrm rot="17639318" flipH="1">
                <a:off x="3922831" y="4175998"/>
                <a:ext cx="703" cy="145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5" y="0"/>
                  </a:cxn>
                  <a:cxn ang="0">
                    <a:pos x="0" y="1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1">
                    <a:moveTo>
                      <a:pt x="0" y="1"/>
                    </a:moveTo>
                    <a:lnTo>
                      <a:pt x="0" y="1"/>
                    </a:lnTo>
                    <a:close/>
                    <a:moveTo>
                      <a:pt x="0" y="1"/>
                    </a:moveTo>
                    <a:lnTo>
                      <a:pt x="5" y="0"/>
                    </a:lnTo>
                    <a:cubicBezTo>
                      <a:pt x="4" y="0"/>
                      <a:pt x="0" y="1"/>
                      <a:pt x="0" y="1"/>
                    </a:cubicBezTo>
                    <a:close/>
                    <a:moveTo>
                      <a:pt x="5" y="0"/>
                    </a:move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60" name="Freeform 103"/>
              <p:cNvSpPr>
                <a:spLocks noEditPoints="1"/>
              </p:cNvSpPr>
              <p:nvPr/>
            </p:nvSpPr>
            <p:spPr bwMode="auto">
              <a:xfrm rot="17639318" flipH="1">
                <a:off x="3887015" y="4175695"/>
                <a:ext cx="9138" cy="31307"/>
              </a:xfrm>
              <a:custGeom>
                <a:avLst/>
                <a:gdLst/>
                <a:ahLst/>
                <a:cxnLst>
                  <a:cxn ang="0">
                    <a:pos x="62" y="131"/>
                  </a:cxn>
                  <a:cxn ang="0">
                    <a:pos x="48" y="103"/>
                  </a:cxn>
                  <a:cxn ang="0">
                    <a:pos x="66" y="142"/>
                  </a:cxn>
                  <a:cxn ang="0">
                    <a:pos x="62" y="131"/>
                  </a:cxn>
                  <a:cxn ang="0">
                    <a:pos x="48" y="103"/>
                  </a:cxn>
                  <a:cxn ang="0">
                    <a:pos x="4" y="9"/>
                  </a:cxn>
                  <a:cxn ang="0">
                    <a:pos x="48" y="103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4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66" y="142"/>
                  </a:cxn>
                  <a:cxn ang="0">
                    <a:pos x="67" y="142"/>
                  </a:cxn>
                  <a:cxn ang="0">
                    <a:pos x="66" y="142"/>
                  </a:cxn>
                </a:cxnLst>
                <a:rect l="0" t="0" r="r" b="b"/>
                <a:pathLst>
                  <a:path w="67" h="142">
                    <a:moveTo>
                      <a:pt x="62" y="131"/>
                    </a:moveTo>
                    <a:cubicBezTo>
                      <a:pt x="58" y="123"/>
                      <a:pt x="53" y="114"/>
                      <a:pt x="48" y="103"/>
                    </a:cubicBezTo>
                    <a:lnTo>
                      <a:pt x="66" y="142"/>
                    </a:lnTo>
                    <a:lnTo>
                      <a:pt x="62" y="131"/>
                    </a:lnTo>
                    <a:close/>
                    <a:moveTo>
                      <a:pt x="48" y="103"/>
                    </a:moveTo>
                    <a:cubicBezTo>
                      <a:pt x="32" y="69"/>
                      <a:pt x="13" y="28"/>
                      <a:pt x="4" y="9"/>
                    </a:cubicBezTo>
                    <a:cubicBezTo>
                      <a:pt x="17" y="37"/>
                      <a:pt x="35" y="75"/>
                      <a:pt x="48" y="103"/>
                    </a:cubicBezTo>
                    <a:close/>
                    <a:moveTo>
                      <a:pt x="4" y="9"/>
                    </a:moveTo>
                    <a:lnTo>
                      <a:pt x="4" y="8"/>
                    </a:lnTo>
                    <a:lnTo>
                      <a:pt x="2" y="4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moveTo>
                      <a:pt x="66" y="142"/>
                    </a:moveTo>
                    <a:lnTo>
                      <a:pt x="67" y="142"/>
                    </a:lnTo>
                    <a:lnTo>
                      <a:pt x="66" y="1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61" name="Freeform 104"/>
              <p:cNvSpPr>
                <a:spLocks noEditPoints="1"/>
              </p:cNvSpPr>
              <p:nvPr/>
            </p:nvSpPr>
            <p:spPr bwMode="auto">
              <a:xfrm rot="17639318" flipH="1">
                <a:off x="3872803" y="4205525"/>
                <a:ext cx="2812" cy="2184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21" y="0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0" y="3"/>
                  </a:cxn>
                  <a:cxn ang="0">
                    <a:pos x="0" y="3"/>
                  </a:cxn>
                </a:cxnLst>
                <a:rect l="0" t="0" r="r" b="b"/>
                <a:pathLst>
                  <a:path w="21" h="3">
                    <a:moveTo>
                      <a:pt x="2" y="3"/>
                    </a:moveTo>
                    <a:lnTo>
                      <a:pt x="21" y="0"/>
                    </a:lnTo>
                    <a:cubicBezTo>
                      <a:pt x="14" y="1"/>
                      <a:pt x="1" y="3"/>
                      <a:pt x="0" y="3"/>
                    </a:cubicBezTo>
                    <a:lnTo>
                      <a:pt x="2" y="3"/>
                    </a:lnTo>
                    <a:close/>
                    <a:moveTo>
                      <a:pt x="21" y="0"/>
                    </a:moveTo>
                    <a:lnTo>
                      <a:pt x="21" y="0"/>
                    </a:lnTo>
                    <a:close/>
                    <a:moveTo>
                      <a:pt x="0" y="3"/>
                    </a:moveTo>
                    <a:lnTo>
                      <a:pt x="0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62" name="Freeform 105"/>
              <p:cNvSpPr>
                <a:spLocks noEditPoints="1"/>
              </p:cNvSpPr>
              <p:nvPr/>
            </p:nvSpPr>
            <p:spPr bwMode="auto">
              <a:xfrm rot="17639318" flipH="1">
                <a:off x="3878951" y="4196617"/>
                <a:ext cx="3515" cy="2184"/>
              </a:xfrm>
              <a:custGeom>
                <a:avLst/>
                <a:gdLst/>
                <a:ahLst/>
                <a:cxnLst>
                  <a:cxn ang="0">
                    <a:pos x="3" y="4"/>
                  </a:cxn>
                  <a:cxn ang="0">
                    <a:pos x="28" y="0"/>
                  </a:cxn>
                  <a:cxn ang="0">
                    <a:pos x="0" y="4"/>
                  </a:cxn>
                  <a:cxn ang="0">
                    <a:pos x="3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0" y="4"/>
                  </a:cxn>
                  <a:cxn ang="0">
                    <a:pos x="0" y="4"/>
                  </a:cxn>
                </a:cxnLst>
                <a:rect l="0" t="0" r="r" b="b"/>
                <a:pathLst>
                  <a:path w="28" h="4">
                    <a:moveTo>
                      <a:pt x="3" y="4"/>
                    </a:moveTo>
                    <a:lnTo>
                      <a:pt x="28" y="0"/>
                    </a:lnTo>
                    <a:cubicBezTo>
                      <a:pt x="19" y="0"/>
                      <a:pt x="0" y="4"/>
                      <a:pt x="0" y="4"/>
                    </a:cubicBezTo>
                    <a:lnTo>
                      <a:pt x="3" y="4"/>
                    </a:lnTo>
                    <a:close/>
                    <a:moveTo>
                      <a:pt x="28" y="0"/>
                    </a:moveTo>
                    <a:lnTo>
                      <a:pt x="28" y="0"/>
                    </a:lnTo>
                    <a:close/>
                    <a:moveTo>
                      <a:pt x="0" y="4"/>
                    </a:move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63" name="Freeform 106"/>
              <p:cNvSpPr>
                <a:spLocks/>
              </p:cNvSpPr>
              <p:nvPr/>
            </p:nvSpPr>
            <p:spPr bwMode="auto">
              <a:xfrm rot="17639318" flipH="1">
                <a:off x="3684741" y="4033835"/>
                <a:ext cx="42178" cy="35676"/>
              </a:xfrm>
              <a:custGeom>
                <a:avLst/>
                <a:gdLst/>
                <a:ahLst/>
                <a:cxnLst>
                  <a:cxn ang="0">
                    <a:pos x="286" y="70"/>
                  </a:cxn>
                  <a:cxn ang="0">
                    <a:pos x="0" y="155"/>
                  </a:cxn>
                  <a:cxn ang="0">
                    <a:pos x="286" y="70"/>
                  </a:cxn>
                </a:cxnLst>
                <a:rect l="0" t="0" r="r" b="b"/>
                <a:pathLst>
                  <a:path w="286" h="155">
                    <a:moveTo>
                      <a:pt x="286" y="70"/>
                    </a:moveTo>
                    <a:cubicBezTo>
                      <a:pt x="265" y="76"/>
                      <a:pt x="17" y="155"/>
                      <a:pt x="0" y="155"/>
                    </a:cubicBezTo>
                    <a:cubicBezTo>
                      <a:pt x="7" y="102"/>
                      <a:pt x="200" y="0"/>
                      <a:pt x="286" y="7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64" name="Freeform 107"/>
              <p:cNvSpPr>
                <a:spLocks noEditPoints="1"/>
              </p:cNvSpPr>
              <p:nvPr/>
            </p:nvSpPr>
            <p:spPr bwMode="auto">
              <a:xfrm rot="17639318" flipH="1">
                <a:off x="3887792" y="4208442"/>
                <a:ext cx="5624" cy="1456"/>
              </a:xfrm>
              <a:custGeom>
                <a:avLst/>
                <a:gdLst/>
                <a:ahLst/>
                <a:cxnLst>
                  <a:cxn ang="0">
                    <a:pos x="11" y="4"/>
                  </a:cxn>
                  <a:cxn ang="0">
                    <a:pos x="36" y="0"/>
                  </a:cxn>
                  <a:cxn ang="0">
                    <a:pos x="0" y="5"/>
                  </a:cxn>
                  <a:cxn ang="0">
                    <a:pos x="11" y="4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0" y="5"/>
                  </a:cxn>
                  <a:cxn ang="0">
                    <a:pos x="0" y="5"/>
                  </a:cxn>
                </a:cxnLst>
                <a:rect l="0" t="0" r="r" b="b"/>
                <a:pathLst>
                  <a:path w="36" h="5">
                    <a:moveTo>
                      <a:pt x="11" y="4"/>
                    </a:moveTo>
                    <a:cubicBezTo>
                      <a:pt x="19" y="3"/>
                      <a:pt x="36" y="0"/>
                      <a:pt x="36" y="0"/>
                    </a:cubicBezTo>
                    <a:cubicBezTo>
                      <a:pt x="24" y="0"/>
                      <a:pt x="1" y="4"/>
                      <a:pt x="0" y="5"/>
                    </a:cubicBezTo>
                    <a:cubicBezTo>
                      <a:pt x="3" y="5"/>
                      <a:pt x="11" y="4"/>
                      <a:pt x="11" y="4"/>
                    </a:cubicBezTo>
                    <a:close/>
                    <a:moveTo>
                      <a:pt x="36" y="0"/>
                    </a:moveTo>
                    <a:lnTo>
                      <a:pt x="36" y="0"/>
                    </a:lnTo>
                    <a:close/>
                    <a:moveTo>
                      <a:pt x="0" y="5"/>
                    </a:move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pt-BR" sz="2400" u="sng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</p:grpSp>
      </p:grpSp>
      <p:cxnSp>
        <p:nvCxnSpPr>
          <p:cNvPr id="68" name="Straight Connector 93"/>
          <p:cNvCxnSpPr/>
          <p:nvPr/>
        </p:nvCxnSpPr>
        <p:spPr>
          <a:xfrm>
            <a:off x="1369636" y="4843346"/>
            <a:ext cx="0" cy="13797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94"/>
          <p:cNvCxnSpPr>
            <a:stCxn id="84" idx="2"/>
          </p:cNvCxnSpPr>
          <p:nvPr/>
        </p:nvCxnSpPr>
        <p:spPr>
          <a:xfrm>
            <a:off x="3391643" y="4158661"/>
            <a:ext cx="4054" cy="21286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95"/>
          <p:cNvCxnSpPr/>
          <p:nvPr/>
        </p:nvCxnSpPr>
        <p:spPr>
          <a:xfrm>
            <a:off x="5399970" y="3734098"/>
            <a:ext cx="0" cy="22577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96"/>
          <p:cNvCxnSpPr>
            <a:cxnSpLocks/>
            <a:stCxn id="90" idx="2"/>
            <a:endCxn id="75" idx="0"/>
          </p:cNvCxnSpPr>
          <p:nvPr/>
        </p:nvCxnSpPr>
        <p:spPr>
          <a:xfrm>
            <a:off x="7672114" y="3753524"/>
            <a:ext cx="0" cy="14832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Oval 81"/>
          <p:cNvSpPr/>
          <p:nvPr/>
        </p:nvSpPr>
        <p:spPr>
          <a:xfrm>
            <a:off x="1289072" y="6197533"/>
            <a:ext cx="187128" cy="188144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73" name="Oval 82"/>
          <p:cNvSpPr/>
          <p:nvPr/>
        </p:nvSpPr>
        <p:spPr>
          <a:xfrm>
            <a:off x="3302133" y="6194237"/>
            <a:ext cx="187128" cy="188144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74" name="Oval 83"/>
          <p:cNvSpPr/>
          <p:nvPr/>
        </p:nvSpPr>
        <p:spPr>
          <a:xfrm>
            <a:off x="5324079" y="5909707"/>
            <a:ext cx="187128" cy="188144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75" name="Oval 84"/>
          <p:cNvSpPr/>
          <p:nvPr/>
        </p:nvSpPr>
        <p:spPr>
          <a:xfrm>
            <a:off x="7578550" y="5236808"/>
            <a:ext cx="187128" cy="188144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76" name="Text Placeholder 4"/>
          <p:cNvSpPr txBox="1">
            <a:spLocks/>
          </p:cNvSpPr>
          <p:nvPr/>
        </p:nvSpPr>
        <p:spPr>
          <a:xfrm rot="16200000">
            <a:off x="7164286" y="4652248"/>
            <a:ext cx="512962" cy="267766"/>
          </a:xfrm>
          <a:prstGeom prst="rect">
            <a:avLst/>
          </a:prstGeom>
          <a:noFill/>
        </p:spPr>
        <p:txBody>
          <a:bodyPr wrap="none" lIns="0" tIns="9144" rIns="0" bIns="9144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kern="12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>
                <a:solidFill>
                  <a:srgbClr val="003C5C"/>
                </a:solidFill>
                <a:latin typeface="Arial" panose="020B0604020202020204"/>
              </a:rPr>
              <a:t>2019</a:t>
            </a:r>
          </a:p>
        </p:txBody>
      </p:sp>
      <p:sp>
        <p:nvSpPr>
          <p:cNvPr id="77" name="Text Placeholder 4"/>
          <p:cNvSpPr txBox="1">
            <a:spLocks/>
          </p:cNvSpPr>
          <p:nvPr/>
        </p:nvSpPr>
        <p:spPr>
          <a:xfrm rot="16200000">
            <a:off x="958456" y="5788614"/>
            <a:ext cx="512962" cy="267766"/>
          </a:xfrm>
          <a:prstGeom prst="rect">
            <a:avLst/>
          </a:prstGeom>
          <a:noFill/>
        </p:spPr>
        <p:txBody>
          <a:bodyPr wrap="none" lIns="0" tIns="9144" rIns="0" bIns="9144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kern="12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>
                <a:solidFill>
                  <a:srgbClr val="003C5C"/>
                </a:solidFill>
                <a:latin typeface="Arial" panose="020B0604020202020204"/>
              </a:rPr>
              <a:t>2016</a:t>
            </a:r>
          </a:p>
        </p:txBody>
      </p:sp>
      <p:sp>
        <p:nvSpPr>
          <p:cNvPr id="78" name="Text Placeholder 4"/>
          <p:cNvSpPr txBox="1">
            <a:spLocks/>
          </p:cNvSpPr>
          <p:nvPr/>
        </p:nvSpPr>
        <p:spPr>
          <a:xfrm rot="16200000">
            <a:off x="2925253" y="5762739"/>
            <a:ext cx="512962" cy="267766"/>
          </a:xfrm>
          <a:prstGeom prst="rect">
            <a:avLst/>
          </a:prstGeom>
          <a:noFill/>
        </p:spPr>
        <p:txBody>
          <a:bodyPr wrap="none" lIns="0" tIns="9144" rIns="0" bIns="9144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kern="12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>
                <a:solidFill>
                  <a:srgbClr val="003C5C"/>
                </a:solidFill>
                <a:latin typeface="Arial" panose="020B0604020202020204"/>
              </a:rPr>
              <a:t>2017</a:t>
            </a:r>
          </a:p>
        </p:txBody>
      </p:sp>
      <p:sp>
        <p:nvSpPr>
          <p:cNvPr id="79" name="Text Placeholder 4"/>
          <p:cNvSpPr txBox="1">
            <a:spLocks/>
          </p:cNvSpPr>
          <p:nvPr/>
        </p:nvSpPr>
        <p:spPr>
          <a:xfrm rot="16200000">
            <a:off x="4880014" y="5376624"/>
            <a:ext cx="512962" cy="267766"/>
          </a:xfrm>
          <a:prstGeom prst="rect">
            <a:avLst/>
          </a:prstGeom>
          <a:noFill/>
        </p:spPr>
        <p:txBody>
          <a:bodyPr wrap="none" lIns="0" tIns="9144" rIns="0" bIns="9144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kern="12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>
                <a:solidFill>
                  <a:srgbClr val="003C5C"/>
                </a:solidFill>
                <a:latin typeface="Arial" panose="020B0604020202020204"/>
              </a:rPr>
              <a:t>2018</a:t>
            </a:r>
          </a:p>
        </p:txBody>
      </p:sp>
      <p:sp>
        <p:nvSpPr>
          <p:cNvPr id="80" name="Rectangle 158"/>
          <p:cNvSpPr/>
          <p:nvPr/>
        </p:nvSpPr>
        <p:spPr>
          <a:xfrm>
            <a:off x="601133" y="3255609"/>
            <a:ext cx="1589285" cy="1580808"/>
          </a:xfrm>
          <a:prstGeom prst="rect">
            <a:avLst/>
          </a:prstGeom>
          <a:ln>
            <a:noFill/>
          </a:ln>
        </p:spPr>
        <p:txBody>
          <a:bodyPr wrap="square" lIns="36000" tIns="36000" rIns="0" bIns="36000" anchor="b">
            <a:spAutoFit/>
          </a:bodyPr>
          <a:lstStyle/>
          <a:p>
            <a:pPr marL="73048" indent="-7304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C5C"/>
              </a:buClr>
              <a:buSzPct val="100000"/>
              <a:buFont typeface="Wingdings" pitchFamily="2" charset="2"/>
              <a:buChar char="§"/>
            </a:pP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Launch of the “</a:t>
            </a:r>
            <a:r>
              <a:rPr lang="en-US" sz="1400" kern="0" dirty="0" err="1">
                <a:solidFill>
                  <a:srgbClr val="292929"/>
                </a:solidFill>
                <a:latin typeface="Arial" panose="020B0604020202020204"/>
              </a:rPr>
              <a:t>Gás</a:t>
            </a: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 para </a:t>
            </a:r>
            <a:r>
              <a:rPr lang="en-US" sz="1400" kern="0" dirty="0" err="1">
                <a:solidFill>
                  <a:srgbClr val="292929"/>
                </a:solidFill>
                <a:latin typeface="Arial" panose="020B0604020202020204"/>
              </a:rPr>
              <a:t>Crescer</a:t>
            </a: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” program </a:t>
            </a:r>
          </a:p>
          <a:p>
            <a:pPr marL="73048" indent="-7304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C5C"/>
              </a:buClr>
              <a:buSzPct val="100000"/>
              <a:buFont typeface="Wingdings" pitchFamily="2" charset="2"/>
              <a:buChar char="§"/>
            </a:pP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CNPE Guidelines for “</a:t>
            </a:r>
            <a:r>
              <a:rPr lang="en-US" sz="1400" kern="0" dirty="0" err="1">
                <a:solidFill>
                  <a:srgbClr val="292929"/>
                </a:solidFill>
                <a:latin typeface="Arial" panose="020B0604020202020204"/>
              </a:rPr>
              <a:t>Gás</a:t>
            </a: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 para </a:t>
            </a:r>
            <a:r>
              <a:rPr lang="en-US" sz="1400" kern="0" dirty="0" err="1">
                <a:solidFill>
                  <a:srgbClr val="292929"/>
                </a:solidFill>
                <a:latin typeface="Arial" panose="020B0604020202020204"/>
              </a:rPr>
              <a:t>Crescer</a:t>
            </a: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” work fronts </a:t>
            </a:r>
          </a:p>
        </p:txBody>
      </p:sp>
      <p:cxnSp>
        <p:nvCxnSpPr>
          <p:cNvPr id="81" name="Straight Connector 160"/>
          <p:cNvCxnSpPr/>
          <p:nvPr/>
        </p:nvCxnSpPr>
        <p:spPr>
          <a:xfrm>
            <a:off x="601133" y="3202711"/>
            <a:ext cx="158928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161"/>
          <p:cNvCxnSpPr/>
          <p:nvPr/>
        </p:nvCxnSpPr>
        <p:spPr>
          <a:xfrm>
            <a:off x="610589" y="4871821"/>
            <a:ext cx="158928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oup 2"/>
          <p:cNvGrpSpPr/>
          <p:nvPr/>
        </p:nvGrpSpPr>
        <p:grpSpPr>
          <a:xfrm>
            <a:off x="2703035" y="2736075"/>
            <a:ext cx="1377216" cy="1422590"/>
            <a:chOff x="2375607" y="2806569"/>
            <a:chExt cx="1187602" cy="1220102"/>
          </a:xfrm>
        </p:grpSpPr>
        <p:sp>
          <p:nvSpPr>
            <p:cNvPr id="84" name="Rectangle 164"/>
            <p:cNvSpPr/>
            <p:nvPr/>
          </p:nvSpPr>
          <p:spPr>
            <a:xfrm>
              <a:off x="2375607" y="2855648"/>
              <a:ext cx="1187602" cy="117102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0" bIns="36000" anchor="b">
              <a:spAutoFit/>
            </a:bodyPr>
            <a:lstStyle/>
            <a:p>
              <a:pPr marL="73048" indent="-73048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3C5C"/>
                </a:buClr>
                <a:buSzPct val="100000"/>
                <a:buFont typeface="Wingdings" pitchFamily="2" charset="2"/>
                <a:buChar char="§"/>
              </a:pPr>
              <a:r>
                <a:rPr lang="en-US" sz="1400" kern="0" dirty="0">
                  <a:solidFill>
                    <a:srgbClr val="292929"/>
                  </a:solidFill>
                  <a:latin typeface="Arial" panose="020B0604020202020204"/>
                </a:rPr>
                <a:t>New Gas Law bill submitted to Congress, replacing the previous from 2013</a:t>
              </a:r>
              <a:endParaRPr lang="pt-BR" sz="1400" kern="0" dirty="0">
                <a:solidFill>
                  <a:srgbClr val="292929"/>
                </a:solidFill>
                <a:latin typeface="Arial" panose="020B0604020202020204"/>
              </a:endParaRPr>
            </a:p>
          </p:txBody>
        </p:sp>
        <p:cxnSp>
          <p:nvCxnSpPr>
            <p:cNvPr id="85" name="Straight Connector 166"/>
            <p:cNvCxnSpPr/>
            <p:nvPr/>
          </p:nvCxnSpPr>
          <p:spPr>
            <a:xfrm>
              <a:off x="2375607" y="2806569"/>
              <a:ext cx="118760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167"/>
            <p:cNvCxnSpPr/>
            <p:nvPr/>
          </p:nvCxnSpPr>
          <p:spPr>
            <a:xfrm>
              <a:off x="2375607" y="4026670"/>
              <a:ext cx="118760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Rectangle 170"/>
          <p:cNvSpPr/>
          <p:nvPr/>
        </p:nvSpPr>
        <p:spPr>
          <a:xfrm>
            <a:off x="4701478" y="2502159"/>
            <a:ext cx="1563554" cy="1149921"/>
          </a:xfrm>
          <a:prstGeom prst="rect">
            <a:avLst/>
          </a:prstGeom>
          <a:ln>
            <a:noFill/>
          </a:ln>
        </p:spPr>
        <p:txBody>
          <a:bodyPr wrap="square" lIns="36000" tIns="36000" rIns="0" bIns="36000" anchor="b">
            <a:spAutoFit/>
          </a:bodyPr>
          <a:lstStyle/>
          <a:p>
            <a:pPr marL="73048" indent="-7304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C5C"/>
              </a:buClr>
              <a:buSzPct val="100000"/>
              <a:buFont typeface="Wingdings" pitchFamily="2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Arial" panose="020B0604020202020204"/>
              </a:rPr>
              <a:t>Decree 9,616 (12/18): </a:t>
            </a: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Guidelines for the natural gas market regulation </a:t>
            </a:r>
          </a:p>
        </p:txBody>
      </p:sp>
      <p:cxnSp>
        <p:nvCxnSpPr>
          <p:cNvPr id="88" name="Straight Connector 172"/>
          <p:cNvCxnSpPr/>
          <p:nvPr/>
        </p:nvCxnSpPr>
        <p:spPr>
          <a:xfrm>
            <a:off x="4701478" y="2514109"/>
            <a:ext cx="15635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173"/>
          <p:cNvCxnSpPr/>
          <p:nvPr/>
        </p:nvCxnSpPr>
        <p:spPr>
          <a:xfrm>
            <a:off x="4701478" y="3730208"/>
            <a:ext cx="15635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176"/>
          <p:cNvSpPr/>
          <p:nvPr/>
        </p:nvSpPr>
        <p:spPr>
          <a:xfrm>
            <a:off x="6670869" y="1526385"/>
            <a:ext cx="2002490" cy="2227139"/>
          </a:xfrm>
          <a:prstGeom prst="rect">
            <a:avLst/>
          </a:prstGeom>
          <a:ln>
            <a:noFill/>
          </a:ln>
        </p:spPr>
        <p:txBody>
          <a:bodyPr wrap="square" lIns="36000" tIns="36000" rIns="0" bIns="36000" anchor="t">
            <a:spAutoFit/>
          </a:bodyPr>
          <a:lstStyle/>
          <a:p>
            <a:pPr marL="73048" indent="-7304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C5C"/>
              </a:buClr>
              <a:buSzPct val="100000"/>
              <a:buFont typeface="Wingdings" pitchFamily="2" charset="2"/>
              <a:buChar char="§"/>
            </a:pP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CNPE Resolution</a:t>
            </a:r>
            <a:b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</a:b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 (16 / 2019)</a:t>
            </a:r>
          </a:p>
          <a:p>
            <a:pPr marL="73152" indent="-73152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C5C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Settlement between PETROBRAS and CADE to reduce the company’s footprint in the market</a:t>
            </a:r>
          </a:p>
          <a:p>
            <a:pPr marL="73152" indent="-73152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C5C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TCC - Commitment Term between CADE and Petrobras</a:t>
            </a:r>
          </a:p>
        </p:txBody>
      </p:sp>
      <p:cxnSp>
        <p:nvCxnSpPr>
          <p:cNvPr id="91" name="Straight Connector 178"/>
          <p:cNvCxnSpPr/>
          <p:nvPr/>
        </p:nvCxnSpPr>
        <p:spPr>
          <a:xfrm>
            <a:off x="6670869" y="1467111"/>
            <a:ext cx="200414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179"/>
          <p:cNvCxnSpPr/>
          <p:nvPr/>
        </p:nvCxnSpPr>
        <p:spPr>
          <a:xfrm>
            <a:off x="6669213" y="3764461"/>
            <a:ext cx="200414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135">
            <a:extLst>
              <a:ext uri="{FF2B5EF4-FFF2-40B4-BE49-F238E27FC236}">
                <a16:creationId xmlns:a16="http://schemas.microsoft.com/office/drawing/2014/main" id="{3284CC83-6D3D-4300-9E06-FBA9E2E8C58C}"/>
              </a:ext>
            </a:extLst>
          </p:cNvPr>
          <p:cNvCxnSpPr>
            <a:cxnSpLocks/>
          </p:cNvCxnSpPr>
          <p:nvPr/>
        </p:nvCxnSpPr>
        <p:spPr>
          <a:xfrm>
            <a:off x="10062692" y="3167857"/>
            <a:ext cx="0" cy="12547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Oval 136">
            <a:extLst>
              <a:ext uri="{FF2B5EF4-FFF2-40B4-BE49-F238E27FC236}">
                <a16:creationId xmlns:a16="http://schemas.microsoft.com/office/drawing/2014/main" id="{F7B8BDB2-D10E-4B9B-93AA-63D37F1AE555}"/>
              </a:ext>
            </a:extLst>
          </p:cNvPr>
          <p:cNvSpPr/>
          <p:nvPr/>
        </p:nvSpPr>
        <p:spPr>
          <a:xfrm>
            <a:off x="9969128" y="4158260"/>
            <a:ext cx="187128" cy="188144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A895CF2B-13AB-46F3-A9A8-89C9F53A404A}"/>
              </a:ext>
            </a:extLst>
          </p:cNvPr>
          <p:cNvSpPr txBox="1">
            <a:spLocks/>
          </p:cNvSpPr>
          <p:nvPr/>
        </p:nvSpPr>
        <p:spPr>
          <a:xfrm rot="16200000">
            <a:off x="9554638" y="3743040"/>
            <a:ext cx="512962" cy="267766"/>
          </a:xfrm>
          <a:prstGeom prst="rect">
            <a:avLst/>
          </a:prstGeom>
          <a:noFill/>
        </p:spPr>
        <p:txBody>
          <a:bodyPr wrap="none" lIns="0" tIns="9144" rIns="0" bIns="9144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kern="12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>
                <a:solidFill>
                  <a:srgbClr val="003C5C"/>
                </a:solidFill>
                <a:latin typeface="Arial" panose="020B0604020202020204"/>
              </a:rPr>
              <a:t>2020</a:t>
            </a:r>
          </a:p>
        </p:txBody>
      </p:sp>
      <p:sp>
        <p:nvSpPr>
          <p:cNvPr id="96" name="Rectangle 139">
            <a:extLst>
              <a:ext uri="{FF2B5EF4-FFF2-40B4-BE49-F238E27FC236}">
                <a16:creationId xmlns:a16="http://schemas.microsoft.com/office/drawing/2014/main" id="{E438D3EA-93F1-4879-9C7D-421136CA335F}"/>
              </a:ext>
            </a:extLst>
          </p:cNvPr>
          <p:cNvSpPr/>
          <p:nvPr/>
        </p:nvSpPr>
        <p:spPr>
          <a:xfrm>
            <a:off x="9114837" y="1371605"/>
            <a:ext cx="1897841" cy="1796252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0" bIns="36000" anchor="t">
            <a:spAutoFit/>
          </a:bodyPr>
          <a:lstStyle/>
          <a:p>
            <a:pPr marL="73048" indent="-7304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C5C"/>
              </a:buClr>
              <a:buSzPct val="100000"/>
              <a:buFont typeface="Wingdings" pitchFamily="2" charset="2"/>
              <a:buChar char="§"/>
            </a:pPr>
            <a:r>
              <a:rPr lang="en-US" sz="1400" kern="0" dirty="0">
                <a:solidFill>
                  <a:srgbClr val="292929"/>
                </a:solidFill>
                <a:latin typeface="Arial" panose="020B0604020202020204"/>
              </a:rPr>
              <a:t>In 2020, it will be discussed at the lower house the bill 6,407 / 2013 which foresee regulations for the opening of the natural gas market in its different segments</a:t>
            </a:r>
            <a:endParaRPr lang="en-US" sz="1400" kern="0" dirty="0">
              <a:latin typeface="Arial" panose="020B0604020202020204"/>
            </a:endParaRPr>
          </a:p>
        </p:txBody>
      </p:sp>
      <p:cxnSp>
        <p:nvCxnSpPr>
          <p:cNvPr id="97" name="Straight Connector 140">
            <a:extLst>
              <a:ext uri="{FF2B5EF4-FFF2-40B4-BE49-F238E27FC236}">
                <a16:creationId xmlns:a16="http://schemas.microsoft.com/office/drawing/2014/main" id="{F9E005EF-A29D-477A-8439-AFD7358A2111}"/>
              </a:ext>
            </a:extLst>
          </p:cNvPr>
          <p:cNvCxnSpPr/>
          <p:nvPr/>
        </p:nvCxnSpPr>
        <p:spPr>
          <a:xfrm>
            <a:off x="9114836" y="1320802"/>
            <a:ext cx="189810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141">
            <a:extLst>
              <a:ext uri="{FF2B5EF4-FFF2-40B4-BE49-F238E27FC236}">
                <a16:creationId xmlns:a16="http://schemas.microsoft.com/office/drawing/2014/main" id="{D72CD465-B39C-4E53-8D02-329B2A027868}"/>
              </a:ext>
            </a:extLst>
          </p:cNvPr>
          <p:cNvCxnSpPr/>
          <p:nvPr/>
        </p:nvCxnSpPr>
        <p:spPr>
          <a:xfrm>
            <a:off x="9114836" y="3167796"/>
            <a:ext cx="189810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49811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6" descr="Base_apresentação_IDE_PPT_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7800" y="36662"/>
            <a:ext cx="9494199" cy="682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9" name="Espaço Reservado para Texto 1"/>
          <p:cNvSpPr txBox="1">
            <a:spLocks/>
          </p:cNvSpPr>
          <p:nvPr/>
        </p:nvSpPr>
        <p:spPr>
          <a:xfrm>
            <a:off x="337577" y="313025"/>
            <a:ext cx="8814889" cy="5990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60957" tIns="60957" rIns="60957" bIns="60957"/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Trebuchet MS" panose="020B0603020202020204" pitchFamily="34" charset="0"/>
                <a:ea typeface="Arial"/>
                <a:cs typeface="Arial"/>
                <a:sym typeface="Arial"/>
              </a:defRPr>
            </a:lvl1pPr>
            <a:lvl2pPr marL="45720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defRPr/>
            </a:pPr>
            <a:r>
              <a:rPr lang="en-US" sz="2800" dirty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TCC - Commitment Term between CADE and </a:t>
            </a:r>
            <a:r>
              <a:rPr lang="en-US" sz="2800" dirty="0" err="1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Petrobras</a:t>
            </a:r>
            <a:endParaRPr lang="en-US" sz="2800" dirty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  <a:p>
            <a:pPr defTabSz="1219170">
              <a:defRPr/>
            </a:pPr>
            <a:endParaRPr lang="en-US" sz="2800" kern="0" dirty="0">
              <a:solidFill>
                <a:srgbClr val="FDC82F"/>
              </a:solidFill>
            </a:endParaRPr>
          </a:p>
        </p:txBody>
      </p:sp>
      <p:sp>
        <p:nvSpPr>
          <p:cNvPr id="147" name="Retângulo 146"/>
          <p:cNvSpPr/>
          <p:nvPr/>
        </p:nvSpPr>
        <p:spPr>
          <a:xfrm>
            <a:off x="243523" y="2751630"/>
            <a:ext cx="5760000" cy="38926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39">
              <a:defRPr/>
            </a:pPr>
            <a:endParaRPr lang="pt-BR" sz="1620" dirty="0">
              <a:solidFill>
                <a:prstClr val="white"/>
              </a:solidFill>
              <a:latin typeface="Trebuchet MS" panose="020B0603020202020204"/>
            </a:endParaRPr>
          </a:p>
        </p:txBody>
      </p:sp>
      <p:sp>
        <p:nvSpPr>
          <p:cNvPr id="150" name="Retângulo 149"/>
          <p:cNvSpPr/>
          <p:nvPr/>
        </p:nvSpPr>
        <p:spPr>
          <a:xfrm>
            <a:off x="1107141" y="2466879"/>
            <a:ext cx="4624035" cy="6899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39">
              <a:defRPr/>
            </a:pPr>
            <a:endParaRPr lang="pt-BR" sz="1620">
              <a:solidFill>
                <a:prstClr val="white"/>
              </a:solidFill>
              <a:latin typeface="Trebuchet MS" panose="020B0603020202020204"/>
            </a:endParaRPr>
          </a:p>
        </p:txBody>
      </p:sp>
      <p:sp>
        <p:nvSpPr>
          <p:cNvPr id="151" name="Retângulo 150"/>
          <p:cNvSpPr/>
          <p:nvPr/>
        </p:nvSpPr>
        <p:spPr>
          <a:xfrm>
            <a:off x="337578" y="3181502"/>
            <a:ext cx="5396203" cy="240065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 defTabSz="822939">
              <a:lnSpc>
                <a:spcPts val="2520"/>
              </a:lnSpc>
              <a:spcAft>
                <a:spcPts val="600"/>
              </a:spcAft>
              <a:buClr>
                <a:srgbClr val="675C53"/>
              </a:buClr>
              <a:buFont typeface="Arial" panose="020B0604020202020204" pitchFamily="34" charset="0"/>
              <a:buChar char="•"/>
              <a:defRPr/>
            </a:pP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Natural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Gas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Transmission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Companies</a:t>
            </a:r>
          </a:p>
          <a:p>
            <a:pPr marL="698500" lvl="8" indent="-342900" defTabSz="822939">
              <a:lnSpc>
                <a:spcPts val="2520"/>
              </a:lnSpc>
              <a:spcAft>
                <a:spcPts val="600"/>
              </a:spcAft>
              <a:buClr>
                <a:srgbClr val="675C53"/>
              </a:buClr>
              <a:buFont typeface="Wingdings" panose="05000000000000000000" pitchFamily="2" charset="2"/>
              <a:buChar char="ü"/>
              <a:defRPr/>
            </a:pP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NTS: 10% </a:t>
            </a:r>
            <a:r>
              <a:rPr lang="pt-BR" sz="1867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(teaser </a:t>
            </a:r>
            <a:r>
              <a:rPr lang="pt-BR" sz="1867" i="1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released</a:t>
            </a:r>
            <a:r>
              <a:rPr lang="pt-BR" sz="1867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)</a:t>
            </a:r>
            <a:endParaRPr lang="pt-BR" sz="1867" dirty="0">
              <a:solidFill>
                <a:schemeClr val="bg1">
                  <a:lumMod val="50000"/>
                </a:schemeClr>
              </a:solidFill>
              <a:latin typeface="Trebuchet MS" pitchFamily="34" charset="0"/>
            </a:endParaRPr>
          </a:p>
          <a:p>
            <a:pPr marL="698500" lvl="6" indent="-342900" defTabSz="822939">
              <a:lnSpc>
                <a:spcPts val="2520"/>
              </a:lnSpc>
              <a:spcAft>
                <a:spcPts val="600"/>
              </a:spcAft>
              <a:buClr>
                <a:srgbClr val="675C53"/>
              </a:buClr>
              <a:buFont typeface="Wingdings" panose="05000000000000000000" pitchFamily="2" charset="2"/>
              <a:buChar char="ü"/>
              <a:defRPr/>
            </a:pP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TAG: 10% </a:t>
            </a:r>
            <a:r>
              <a:rPr lang="pt-BR" sz="1867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(</a:t>
            </a:r>
            <a:r>
              <a:rPr lang="pt-BR" sz="1867" i="1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concluded</a:t>
            </a:r>
            <a:r>
              <a:rPr lang="pt-BR" sz="1867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)</a:t>
            </a:r>
            <a:endParaRPr lang="pt-BR" sz="1867" dirty="0">
              <a:solidFill>
                <a:schemeClr val="bg1">
                  <a:lumMod val="50000"/>
                </a:schemeClr>
              </a:solidFill>
              <a:latin typeface="Trebuchet MS" pitchFamily="34" charset="0"/>
            </a:endParaRPr>
          </a:p>
          <a:p>
            <a:pPr marL="698500" lvl="4" indent="-342900" defTabSz="822939">
              <a:lnSpc>
                <a:spcPts val="2520"/>
              </a:lnSpc>
              <a:spcAft>
                <a:spcPts val="600"/>
              </a:spcAft>
              <a:buClr>
                <a:srgbClr val="675C53"/>
              </a:buClr>
              <a:buFont typeface="Wingdings" panose="05000000000000000000" pitchFamily="2" charset="2"/>
              <a:buChar char="ü"/>
              <a:defRPr/>
            </a:pP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TBG: 51% </a:t>
            </a:r>
            <a:r>
              <a:rPr lang="pt-BR" sz="1867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(in </a:t>
            </a:r>
            <a:r>
              <a:rPr lang="pt-BR" sz="1867" i="1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progress</a:t>
            </a:r>
            <a:r>
              <a:rPr lang="pt-BR" sz="1867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)</a:t>
            </a:r>
          </a:p>
          <a:p>
            <a:pPr marL="342900" indent="-342900" defTabSz="822939">
              <a:lnSpc>
                <a:spcPts val="2520"/>
              </a:lnSpc>
              <a:spcAft>
                <a:spcPts val="600"/>
              </a:spcAft>
              <a:buClr>
                <a:srgbClr val="675C53"/>
              </a:buClr>
              <a:buFont typeface="Arial" panose="020B0604020202020204" pitchFamily="34" charset="0"/>
              <a:buChar char="•"/>
              <a:defRPr/>
            </a:pP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Shares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in NG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distribution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companies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</a:t>
            </a:r>
          </a:p>
          <a:p>
            <a:pPr defTabSz="822939">
              <a:lnSpc>
                <a:spcPts val="2520"/>
              </a:lnSpc>
              <a:spcAft>
                <a:spcPts val="600"/>
              </a:spcAft>
              <a:buClr>
                <a:srgbClr val="675C53"/>
              </a:buClr>
              <a:defRPr/>
            </a:pPr>
            <a:r>
              <a:rPr lang="pt-BR" sz="1867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     (</a:t>
            </a:r>
            <a:r>
              <a:rPr lang="pt-BR" sz="1867" i="1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teaser</a:t>
            </a:r>
            <a:r>
              <a:rPr lang="pt-BR" sz="1867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i="1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released</a:t>
            </a:r>
            <a:r>
              <a:rPr lang="pt-BR" sz="1867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)</a:t>
            </a:r>
          </a:p>
        </p:txBody>
      </p:sp>
      <p:sp>
        <p:nvSpPr>
          <p:cNvPr id="152" name="CaixaDeTexto 151"/>
          <p:cNvSpPr txBox="1"/>
          <p:nvPr/>
        </p:nvSpPr>
        <p:spPr>
          <a:xfrm>
            <a:off x="1353171" y="2466880"/>
            <a:ext cx="4177288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39">
              <a:defRPr/>
            </a:pPr>
            <a:r>
              <a:rPr lang="pt-BR" sz="2133" dirty="0">
                <a:solidFill>
                  <a:schemeClr val="accent1">
                    <a:lumMod val="50000"/>
                  </a:schemeClr>
                </a:solidFill>
                <a:latin typeface="Trebuchet MS" panose="020B0603020202020204"/>
              </a:rPr>
              <a:t>Divestments (Full Unbundling)</a:t>
            </a:r>
          </a:p>
        </p:txBody>
      </p:sp>
      <p:pic>
        <p:nvPicPr>
          <p:cNvPr id="154" name="Imagem 15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68" y="2395800"/>
            <a:ext cx="578688" cy="565379"/>
          </a:xfrm>
          <a:prstGeom prst="rect">
            <a:avLst/>
          </a:prstGeom>
        </p:spPr>
      </p:pic>
      <p:sp>
        <p:nvSpPr>
          <p:cNvPr id="156" name="Retângulo 155"/>
          <p:cNvSpPr/>
          <p:nvPr/>
        </p:nvSpPr>
        <p:spPr>
          <a:xfrm>
            <a:off x="6198015" y="2366501"/>
            <a:ext cx="1797195" cy="6899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39">
              <a:defRPr/>
            </a:pPr>
            <a:endParaRPr lang="pt-BR" sz="1620">
              <a:solidFill>
                <a:prstClr val="white"/>
              </a:solidFill>
              <a:latin typeface="Trebuchet MS" panose="020B0603020202020204"/>
            </a:endParaRPr>
          </a:p>
        </p:txBody>
      </p:sp>
      <p:sp>
        <p:nvSpPr>
          <p:cNvPr id="157" name="Retângulo 156"/>
          <p:cNvSpPr/>
          <p:nvPr/>
        </p:nvSpPr>
        <p:spPr>
          <a:xfrm>
            <a:off x="6701999" y="3144276"/>
            <a:ext cx="3273091" cy="41293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822939">
              <a:lnSpc>
                <a:spcPts val="2520"/>
              </a:lnSpc>
              <a:spcAft>
                <a:spcPts val="540"/>
              </a:spcAft>
              <a:buClr>
                <a:srgbClr val="006298"/>
              </a:buClr>
              <a:defRPr/>
            </a:pPr>
            <a:endParaRPr lang="pt-BR" sz="1260" dirty="0">
              <a:solidFill>
                <a:srgbClr val="675C53"/>
              </a:solidFill>
              <a:latin typeface="Trebuchet MS" pitchFamily="34" charset="0"/>
            </a:endParaRPr>
          </a:p>
        </p:txBody>
      </p:sp>
      <p:sp>
        <p:nvSpPr>
          <p:cNvPr id="161" name="CaixaDeTexto 160"/>
          <p:cNvSpPr txBox="1"/>
          <p:nvPr/>
        </p:nvSpPr>
        <p:spPr>
          <a:xfrm>
            <a:off x="243522" y="1123268"/>
            <a:ext cx="11700269" cy="1080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pt-BR"/>
            </a:defPPr>
            <a:lvl1pPr lvl="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rgbClr val="004165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  <a:lvl2pPr marL="439591" lvl="1" defTabSz="1172215" fontAlgn="base">
              <a:lnSpc>
                <a:spcPct val="107000"/>
              </a:lnSpc>
              <a:spcBef>
                <a:spcPct val="0"/>
              </a:spcBef>
              <a:spcAft>
                <a:spcPts val="577"/>
              </a:spcAft>
              <a:defRPr sz="1400" b="1" i="1">
                <a:solidFill>
                  <a:srgbClr val="00B2A9"/>
                </a:solidFill>
                <a:latin typeface="Trebuchet MS" panose="020B0603020202020204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latin typeface="Calibri" pitchFamily="34" charset="0"/>
              </a:defRPr>
            </a:lvl5pPr>
            <a:lvl6pPr marL="303660" algn="ctr" fontAlgn="base">
              <a:spcBef>
                <a:spcPct val="0"/>
              </a:spcBef>
              <a:spcAft>
                <a:spcPct val="0"/>
              </a:spcAft>
              <a:defRPr sz="3000">
                <a:latin typeface="Calibri" pitchFamily="34" charset="0"/>
              </a:defRPr>
            </a:lvl6pPr>
            <a:lvl7pPr marL="607319" algn="ctr" fontAlgn="base">
              <a:spcBef>
                <a:spcPct val="0"/>
              </a:spcBef>
              <a:spcAft>
                <a:spcPct val="0"/>
              </a:spcAft>
              <a:defRPr sz="3000">
                <a:latin typeface="Calibri" pitchFamily="34" charset="0"/>
              </a:defRPr>
            </a:lvl7pPr>
            <a:lvl8pPr marL="910978" algn="ctr" fontAlgn="base">
              <a:spcBef>
                <a:spcPct val="0"/>
              </a:spcBef>
              <a:spcAft>
                <a:spcPct val="0"/>
              </a:spcAft>
              <a:defRPr sz="3000">
                <a:latin typeface="Calibri" pitchFamily="34" charset="0"/>
              </a:defRPr>
            </a:lvl8pPr>
            <a:lvl9pPr marL="1214637" algn="ctr" fontAlgn="base">
              <a:spcBef>
                <a:spcPct val="0"/>
              </a:spcBef>
              <a:spcAft>
                <a:spcPct val="0"/>
              </a:spcAft>
              <a:defRPr sz="3000">
                <a:latin typeface="Calibri" pitchFamily="34" charset="0"/>
              </a:defRPr>
            </a:lvl9pPr>
          </a:lstStyle>
          <a:p>
            <a:pPr marL="271463" lvl="1" algn="just" defTabSz="1406624">
              <a:spcAft>
                <a:spcPts val="692"/>
              </a:spcAft>
            </a:pPr>
            <a:r>
              <a:rPr lang="en-US" sz="2000" b="0" i="0" dirty="0">
                <a:solidFill>
                  <a:schemeClr val="accent1">
                    <a:lumMod val="50000"/>
                  </a:schemeClr>
                </a:solidFill>
                <a:latin typeface="Trebuchet MS" panose="020B0603020202020204"/>
                <a:cs typeface="Calibri"/>
              </a:rPr>
              <a:t>In July 2019, the Administrative Council for Economic Defense (CADE) signed an important agreement with Petrobras, outlining a set of planned actions to increase competition in the Brazilian Gas Market</a:t>
            </a:r>
            <a:endParaRPr lang="pt-BR" sz="2000" b="0" i="0" dirty="0">
              <a:solidFill>
                <a:schemeClr val="accent1">
                  <a:lumMod val="50000"/>
                </a:schemeClr>
              </a:solidFill>
              <a:latin typeface="Trebuchet MS" panose="020B0603020202020204"/>
              <a:cs typeface="Calibri"/>
            </a:endParaRPr>
          </a:p>
        </p:txBody>
      </p:sp>
      <p:sp>
        <p:nvSpPr>
          <p:cNvPr id="164" name="Retângulo 163"/>
          <p:cNvSpPr/>
          <p:nvPr/>
        </p:nvSpPr>
        <p:spPr>
          <a:xfrm>
            <a:off x="6183791" y="2750973"/>
            <a:ext cx="5760000" cy="38926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39">
              <a:defRPr/>
            </a:pPr>
            <a:endParaRPr lang="pt-BR" sz="1620" dirty="0">
              <a:solidFill>
                <a:prstClr val="white"/>
              </a:solidFill>
              <a:latin typeface="Trebuchet MS" panose="020B0603020202020204"/>
            </a:endParaRPr>
          </a:p>
        </p:txBody>
      </p:sp>
      <p:sp>
        <p:nvSpPr>
          <p:cNvPr id="165" name="Retângulo 164"/>
          <p:cNvSpPr/>
          <p:nvPr/>
        </p:nvSpPr>
        <p:spPr>
          <a:xfrm>
            <a:off x="6536129" y="2481338"/>
            <a:ext cx="3725471" cy="6899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39">
              <a:defRPr/>
            </a:pPr>
            <a:endParaRPr lang="pt-BR" sz="1620">
              <a:solidFill>
                <a:prstClr val="white"/>
              </a:solidFill>
              <a:latin typeface="Trebuchet MS" panose="020B0603020202020204"/>
            </a:endParaRPr>
          </a:p>
        </p:txBody>
      </p:sp>
      <p:sp>
        <p:nvSpPr>
          <p:cNvPr id="166" name="CaixaDeTexto 165"/>
          <p:cNvSpPr txBox="1"/>
          <p:nvPr/>
        </p:nvSpPr>
        <p:spPr>
          <a:xfrm>
            <a:off x="7403489" y="2503319"/>
            <a:ext cx="2865632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39">
              <a:defRPr/>
            </a:pPr>
            <a:r>
              <a:rPr lang="pt-BR" sz="2133" dirty="0">
                <a:solidFill>
                  <a:schemeClr val="accent1">
                    <a:lumMod val="50000"/>
                  </a:schemeClr>
                </a:solidFill>
                <a:latin typeface="Trebuchet MS" panose="020B0603020202020204"/>
              </a:rPr>
              <a:t>Marketing </a:t>
            </a:r>
            <a:r>
              <a:rPr lang="pt-BR" sz="2133" dirty="0" err="1">
                <a:solidFill>
                  <a:schemeClr val="accent1">
                    <a:lumMod val="50000"/>
                  </a:schemeClr>
                </a:solidFill>
                <a:latin typeface="Trebuchet MS" panose="020B0603020202020204"/>
              </a:rPr>
              <a:t>Opening</a:t>
            </a:r>
            <a:endParaRPr lang="pt-BR" sz="2133" dirty="0">
              <a:solidFill>
                <a:schemeClr val="accent1">
                  <a:lumMod val="50000"/>
                </a:schemeClr>
              </a:solidFill>
              <a:latin typeface="Trebuchet MS" panose="020B0603020202020204"/>
            </a:endParaRPr>
          </a:p>
        </p:txBody>
      </p:sp>
      <p:pic>
        <p:nvPicPr>
          <p:cNvPr id="167" name="Imagem 16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1568" y="2395800"/>
            <a:ext cx="578688" cy="565379"/>
          </a:xfrm>
          <a:prstGeom prst="rect">
            <a:avLst/>
          </a:prstGeom>
        </p:spPr>
      </p:pic>
      <p:sp>
        <p:nvSpPr>
          <p:cNvPr id="159" name="CaixaDeTexto 158"/>
          <p:cNvSpPr txBox="1"/>
          <p:nvPr/>
        </p:nvSpPr>
        <p:spPr>
          <a:xfrm>
            <a:off x="6198015" y="3135248"/>
            <a:ext cx="5745776" cy="25652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84294" defTabSz="822939">
              <a:buClr>
                <a:srgbClr val="675C53"/>
              </a:buClr>
              <a:buFont typeface="Arial" panose="020B0604020202020204" pitchFamily="34" charset="0"/>
              <a:buChar char="•"/>
              <a:defRPr/>
            </a:pP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Access to gathering and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processing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infrastructure</a:t>
            </a:r>
            <a:endParaRPr lang="pt-BR" sz="1867" dirty="0">
              <a:solidFill>
                <a:schemeClr val="accent1">
                  <a:lumMod val="50000"/>
                </a:schemeClr>
              </a:solidFill>
              <a:latin typeface="Trebuchet MS" pitchFamily="34" charset="0"/>
            </a:endParaRPr>
          </a:p>
          <a:p>
            <a:pPr defTabSz="822939">
              <a:buClr>
                <a:srgbClr val="675C53"/>
              </a:buClr>
              <a:defRPr/>
            </a:pP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 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(website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released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–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negotiations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on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going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)</a:t>
            </a:r>
          </a:p>
          <a:p>
            <a:pPr indent="-84294" defTabSz="822939">
              <a:spcBef>
                <a:spcPts val="1200"/>
              </a:spcBef>
              <a:buClr>
                <a:srgbClr val="675C53"/>
              </a:buClr>
              <a:buFont typeface="Arial" panose="020B0604020202020204" pitchFamily="34" charset="0"/>
              <a:buChar char="•"/>
              <a:defRPr/>
            </a:pP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Access to transport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gas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capacity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(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capacity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already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informed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, release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to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be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negotiated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with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transcos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)</a:t>
            </a:r>
          </a:p>
          <a:p>
            <a:pPr indent="-84294" defTabSz="822939">
              <a:spcBef>
                <a:spcPts val="1200"/>
              </a:spcBef>
              <a:buClr>
                <a:srgbClr val="675C53"/>
              </a:buClr>
              <a:buFont typeface="Arial" panose="020B0604020202020204" pitchFamily="34" charset="0"/>
              <a:buChar char="•"/>
              <a:defRPr/>
            </a:pP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Lease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of Bahia Regas Terminal</a:t>
            </a:r>
            <a:endParaRPr lang="pt-BR" sz="1867" dirty="0">
              <a:solidFill>
                <a:schemeClr val="bg1">
                  <a:lumMod val="50000"/>
                </a:schemeClr>
              </a:solidFill>
              <a:latin typeface="Trebuchet MS" pitchFamily="34" charset="0"/>
            </a:endParaRPr>
          </a:p>
          <a:p>
            <a:pPr defTabSz="822939">
              <a:buClr>
                <a:srgbClr val="675C53"/>
              </a:buClr>
              <a:defRPr/>
            </a:pP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 (teaser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released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    ,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to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be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concluded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by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sept</a:t>
            </a:r>
            <a:r>
              <a:rPr lang="pt-BR" sz="1867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/20)</a:t>
            </a:r>
          </a:p>
          <a:p>
            <a:pPr indent="-84294" defTabSz="822939">
              <a:spcBef>
                <a:spcPts val="1200"/>
              </a:spcBef>
              <a:buClr>
                <a:srgbClr val="675C53"/>
              </a:buClr>
              <a:buFont typeface="Arial" panose="020B0604020202020204" pitchFamily="34" charset="0"/>
              <a:buChar char="•"/>
              <a:defRPr/>
            </a:pP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Reduction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of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new natural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gas</a:t>
            </a:r>
            <a:r>
              <a:rPr lang="pt-BR" sz="1867" dirty="0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pt-BR" sz="1867" dirty="0" err="1">
                <a:solidFill>
                  <a:schemeClr val="accent1">
                    <a:lumMod val="50000"/>
                  </a:schemeClr>
                </a:solidFill>
                <a:latin typeface="Trebuchet MS" pitchFamily="34" charset="0"/>
              </a:rPr>
              <a:t>purchases</a:t>
            </a:r>
            <a:endParaRPr lang="pt-BR" sz="1867" dirty="0">
              <a:solidFill>
                <a:schemeClr val="accent1">
                  <a:lumMod val="50000"/>
                </a:schemeClr>
              </a:solidFill>
              <a:latin typeface="Trebuchet MS" pitchFamily="34" charset="0"/>
            </a:endParaRPr>
          </a:p>
        </p:txBody>
      </p:sp>
      <p:sp>
        <p:nvSpPr>
          <p:cNvPr id="18" name="Forma em L 17">
            <a:extLst>
              <a:ext uri="{FF2B5EF4-FFF2-40B4-BE49-F238E27FC236}">
                <a16:creationId xmlns:a16="http://schemas.microsoft.com/office/drawing/2014/main" id="{F6E5E3F9-4D0B-4D36-804D-1DC8C2C0433A}"/>
              </a:ext>
            </a:extLst>
          </p:cNvPr>
          <p:cNvSpPr/>
          <p:nvPr/>
        </p:nvSpPr>
        <p:spPr>
          <a:xfrm rot="3625346" flipH="1">
            <a:off x="4107469" y="3638061"/>
            <a:ext cx="118660" cy="204789"/>
          </a:xfrm>
          <a:prstGeom prst="corne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  <p:sp>
        <p:nvSpPr>
          <p:cNvPr id="19" name="Forma em L 18">
            <a:extLst>
              <a:ext uri="{FF2B5EF4-FFF2-40B4-BE49-F238E27FC236}">
                <a16:creationId xmlns:a16="http://schemas.microsoft.com/office/drawing/2014/main" id="{F6E5E3F9-4D0B-4D36-804D-1DC8C2C0433A}"/>
              </a:ext>
            </a:extLst>
          </p:cNvPr>
          <p:cNvSpPr/>
          <p:nvPr/>
        </p:nvSpPr>
        <p:spPr>
          <a:xfrm rot="3625346" flipH="1">
            <a:off x="3631219" y="4047635"/>
            <a:ext cx="118660" cy="204789"/>
          </a:xfrm>
          <a:prstGeom prst="corne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  <p:sp>
        <p:nvSpPr>
          <p:cNvPr id="21" name="Forma em L 20">
            <a:extLst>
              <a:ext uri="{FF2B5EF4-FFF2-40B4-BE49-F238E27FC236}">
                <a16:creationId xmlns:a16="http://schemas.microsoft.com/office/drawing/2014/main" id="{F6E5E3F9-4D0B-4D36-804D-1DC8C2C0433A}"/>
              </a:ext>
            </a:extLst>
          </p:cNvPr>
          <p:cNvSpPr/>
          <p:nvPr/>
        </p:nvSpPr>
        <p:spPr>
          <a:xfrm rot="3625346" flipH="1">
            <a:off x="2857394" y="5239738"/>
            <a:ext cx="105117" cy="204789"/>
          </a:xfrm>
          <a:prstGeom prst="corne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  <p:sp>
        <p:nvSpPr>
          <p:cNvPr id="22" name="Forma em L 21">
            <a:extLst>
              <a:ext uri="{FF2B5EF4-FFF2-40B4-BE49-F238E27FC236}">
                <a16:creationId xmlns:a16="http://schemas.microsoft.com/office/drawing/2014/main" id="{F6E5E3F9-4D0B-4D36-804D-1DC8C2C0433A}"/>
              </a:ext>
            </a:extLst>
          </p:cNvPr>
          <p:cNvSpPr/>
          <p:nvPr/>
        </p:nvSpPr>
        <p:spPr>
          <a:xfrm rot="3625346" flipH="1">
            <a:off x="11023494" y="3480216"/>
            <a:ext cx="105117" cy="204789"/>
          </a:xfrm>
          <a:prstGeom prst="corne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  <p:sp>
        <p:nvSpPr>
          <p:cNvPr id="23" name="Forma em L 22">
            <a:extLst>
              <a:ext uri="{FF2B5EF4-FFF2-40B4-BE49-F238E27FC236}">
                <a16:creationId xmlns:a16="http://schemas.microsoft.com/office/drawing/2014/main" id="{F6E5E3F9-4D0B-4D36-804D-1DC8C2C0433A}"/>
              </a:ext>
            </a:extLst>
          </p:cNvPr>
          <p:cNvSpPr/>
          <p:nvPr/>
        </p:nvSpPr>
        <p:spPr>
          <a:xfrm rot="3625346" flipH="1">
            <a:off x="11709294" y="4216816"/>
            <a:ext cx="105117" cy="204789"/>
          </a:xfrm>
          <a:prstGeom prst="corne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  <p:sp>
        <p:nvSpPr>
          <p:cNvPr id="24" name="Forma em L 23">
            <a:extLst>
              <a:ext uri="{FF2B5EF4-FFF2-40B4-BE49-F238E27FC236}">
                <a16:creationId xmlns:a16="http://schemas.microsoft.com/office/drawing/2014/main" id="{F6E5E3F9-4D0B-4D36-804D-1DC8C2C0433A}"/>
              </a:ext>
            </a:extLst>
          </p:cNvPr>
          <p:cNvSpPr/>
          <p:nvPr/>
        </p:nvSpPr>
        <p:spPr>
          <a:xfrm rot="3625346" flipH="1">
            <a:off x="8311186" y="4934144"/>
            <a:ext cx="105117" cy="204789"/>
          </a:xfrm>
          <a:prstGeom prst="corne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</p:spTree>
    <p:extLst>
      <p:ext uri="{BB962C8B-B14F-4D97-AF65-F5344CB8AC3E}">
        <p14:creationId xmlns:p14="http://schemas.microsoft.com/office/powerpoint/2010/main" val="2207133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4NAm_AOQDIcPDWPiTD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UUy5uY1pYaexS6Bka9z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2CMTC_BlankTitle">
  <a:themeElements>
    <a:clrScheme name="12CMTC_BlankTitl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12CMTC_BlankTitl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12CMTC_BlankTitl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TS">
    <a:dk1>
      <a:sysClr val="windowText" lastClr="000000"/>
    </a:dk1>
    <a:lt1>
      <a:sysClr val="window" lastClr="FFFFFF"/>
    </a:lt1>
    <a:dk2>
      <a:srgbClr val="6E7678"/>
    </a:dk2>
    <a:lt2>
      <a:srgbClr val="E7E6E6"/>
    </a:lt2>
    <a:accent1>
      <a:srgbClr val="003C5C"/>
    </a:accent1>
    <a:accent2>
      <a:srgbClr val="FF7A00"/>
    </a:accent2>
    <a:accent3>
      <a:srgbClr val="FFB400"/>
    </a:accent3>
    <a:accent4>
      <a:srgbClr val="404041"/>
    </a:accent4>
    <a:accent5>
      <a:srgbClr val="FF5027"/>
    </a:accent5>
    <a:accent6>
      <a:srgbClr val="7C3477"/>
    </a:accent6>
    <a:hlink>
      <a:srgbClr val="3265FF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NTS">
    <a:dk1>
      <a:sysClr val="windowText" lastClr="000000"/>
    </a:dk1>
    <a:lt1>
      <a:sysClr val="window" lastClr="FFFFFF"/>
    </a:lt1>
    <a:dk2>
      <a:srgbClr val="6E7678"/>
    </a:dk2>
    <a:lt2>
      <a:srgbClr val="E7E6E6"/>
    </a:lt2>
    <a:accent1>
      <a:srgbClr val="003C5C"/>
    </a:accent1>
    <a:accent2>
      <a:srgbClr val="FF7A00"/>
    </a:accent2>
    <a:accent3>
      <a:srgbClr val="FFB400"/>
    </a:accent3>
    <a:accent4>
      <a:srgbClr val="404041"/>
    </a:accent4>
    <a:accent5>
      <a:srgbClr val="FF5027"/>
    </a:accent5>
    <a:accent6>
      <a:srgbClr val="7C3477"/>
    </a:accent6>
    <a:hlink>
      <a:srgbClr val="3265FF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NTS">
    <a:dk1>
      <a:sysClr val="windowText" lastClr="000000"/>
    </a:dk1>
    <a:lt1>
      <a:sysClr val="window" lastClr="FFFFFF"/>
    </a:lt1>
    <a:dk2>
      <a:srgbClr val="6E7678"/>
    </a:dk2>
    <a:lt2>
      <a:srgbClr val="E7E6E6"/>
    </a:lt2>
    <a:accent1>
      <a:srgbClr val="003C5C"/>
    </a:accent1>
    <a:accent2>
      <a:srgbClr val="FF7A00"/>
    </a:accent2>
    <a:accent3>
      <a:srgbClr val="FFB400"/>
    </a:accent3>
    <a:accent4>
      <a:srgbClr val="404041"/>
    </a:accent4>
    <a:accent5>
      <a:srgbClr val="FF5027"/>
    </a:accent5>
    <a:accent6>
      <a:srgbClr val="7C3477"/>
    </a:accent6>
    <a:hlink>
      <a:srgbClr val="3265FF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NTS">
    <a:dk1>
      <a:sysClr val="windowText" lastClr="000000"/>
    </a:dk1>
    <a:lt1>
      <a:sysClr val="window" lastClr="FFFFFF"/>
    </a:lt1>
    <a:dk2>
      <a:srgbClr val="6E7678"/>
    </a:dk2>
    <a:lt2>
      <a:srgbClr val="E7E6E6"/>
    </a:lt2>
    <a:accent1>
      <a:srgbClr val="003C5C"/>
    </a:accent1>
    <a:accent2>
      <a:srgbClr val="FF7A00"/>
    </a:accent2>
    <a:accent3>
      <a:srgbClr val="FFB400"/>
    </a:accent3>
    <a:accent4>
      <a:srgbClr val="404041"/>
    </a:accent4>
    <a:accent5>
      <a:srgbClr val="FF5027"/>
    </a:accent5>
    <a:accent6>
      <a:srgbClr val="7C3477"/>
    </a:accent6>
    <a:hlink>
      <a:srgbClr val="3265FF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57</TotalTime>
  <Words>625</Words>
  <Application>Microsoft Office PowerPoint</Application>
  <PresentationFormat>Widescreen</PresentationFormat>
  <Paragraphs>113</Paragraphs>
  <Slides>7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18" baseType="lpstr">
      <vt:lpstr>Arial</vt:lpstr>
      <vt:lpstr>Calibri</vt:lpstr>
      <vt:lpstr>Calibri Light</vt:lpstr>
      <vt:lpstr>Petrobras Sans</vt:lpstr>
      <vt:lpstr>Trebuchet MeS</vt:lpstr>
      <vt:lpstr>Trebuchet MS</vt:lpstr>
      <vt:lpstr>Wingdings</vt:lpstr>
      <vt:lpstr>Tema do Office</vt:lpstr>
      <vt:lpstr>12CMTC_BlankTitle</vt:lpstr>
      <vt:lpstr>Personalizar design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Petrobr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Geraldo Cortegiano Junior</dc:creator>
  <cp:lastModifiedBy>Alvaro Ferreira Tupiassu</cp:lastModifiedBy>
  <cp:revision>60</cp:revision>
  <dcterms:created xsi:type="dcterms:W3CDTF">2020-08-25T11:41:22Z</dcterms:created>
  <dcterms:modified xsi:type="dcterms:W3CDTF">2020-08-28T20:5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e61996e-cafd-4c9a-8a94-2dc1b82131ae_Enabled">
    <vt:lpwstr>True</vt:lpwstr>
  </property>
  <property fmtid="{D5CDD505-2E9C-101B-9397-08002B2CF9AE}" pid="3" name="MSIP_Label_8e61996e-cafd-4c9a-8a94-2dc1b82131ae_SiteId">
    <vt:lpwstr>5b6f6241-9a57-4be4-8e50-1dfa72e79a57</vt:lpwstr>
  </property>
  <property fmtid="{D5CDD505-2E9C-101B-9397-08002B2CF9AE}" pid="4" name="MSIP_Label_8e61996e-cafd-4c9a-8a94-2dc1b82131ae_Owner">
    <vt:lpwstr>pertusier@petrobras.com.br</vt:lpwstr>
  </property>
  <property fmtid="{D5CDD505-2E9C-101B-9397-08002B2CF9AE}" pid="5" name="MSIP_Label_8e61996e-cafd-4c9a-8a94-2dc1b82131ae_SetDate">
    <vt:lpwstr>2020-08-26T16:09:27.8999315Z</vt:lpwstr>
  </property>
  <property fmtid="{D5CDD505-2E9C-101B-9397-08002B2CF9AE}" pid="6" name="MSIP_Label_8e61996e-cafd-4c9a-8a94-2dc1b82131ae_Name">
    <vt:lpwstr>NP-1</vt:lpwstr>
  </property>
  <property fmtid="{D5CDD505-2E9C-101B-9397-08002B2CF9AE}" pid="7" name="MSIP_Label_8e61996e-cafd-4c9a-8a94-2dc1b82131ae_Application">
    <vt:lpwstr>Microsoft Azure Information Protection</vt:lpwstr>
  </property>
  <property fmtid="{D5CDD505-2E9C-101B-9397-08002B2CF9AE}" pid="8" name="MSIP_Label_8e61996e-cafd-4c9a-8a94-2dc1b82131ae_ActionId">
    <vt:lpwstr>bdb0d29f-7bd0-4db7-8591-d193fd5b87c7</vt:lpwstr>
  </property>
  <property fmtid="{D5CDD505-2E9C-101B-9397-08002B2CF9AE}" pid="9" name="MSIP_Label_8e61996e-cafd-4c9a-8a94-2dc1b82131ae_Extended_MSFT_Method">
    <vt:lpwstr>Automatic</vt:lpwstr>
  </property>
  <property fmtid="{D5CDD505-2E9C-101B-9397-08002B2CF9AE}" pid="10" name="Sensitivity">
    <vt:lpwstr>NP-1</vt:lpwstr>
  </property>
</Properties>
</file>